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9" r:id="rId1"/>
    <p:sldMasterId id="2147483660" r:id="rId2"/>
  </p:sldMasterIdLst>
  <p:notesMasterIdLst>
    <p:notesMasterId r:id="rId29"/>
  </p:notesMasterIdLst>
  <p:sldIdLst>
    <p:sldId id="344" r:id="rId3"/>
    <p:sldId id="345" r:id="rId4"/>
    <p:sldId id="360" r:id="rId5"/>
    <p:sldId id="389" r:id="rId6"/>
    <p:sldId id="388" r:id="rId7"/>
    <p:sldId id="346" r:id="rId8"/>
    <p:sldId id="372" r:id="rId9"/>
    <p:sldId id="371" r:id="rId10"/>
    <p:sldId id="352" r:id="rId11"/>
    <p:sldId id="347" r:id="rId12"/>
    <p:sldId id="384" r:id="rId13"/>
    <p:sldId id="386" r:id="rId14"/>
    <p:sldId id="348" r:id="rId15"/>
    <p:sldId id="363" r:id="rId16"/>
    <p:sldId id="382" r:id="rId17"/>
    <p:sldId id="380" r:id="rId18"/>
    <p:sldId id="365" r:id="rId19"/>
    <p:sldId id="374" r:id="rId20"/>
    <p:sldId id="375" r:id="rId21"/>
    <p:sldId id="376" r:id="rId22"/>
    <p:sldId id="377" r:id="rId23"/>
    <p:sldId id="391" r:id="rId24"/>
    <p:sldId id="392" r:id="rId25"/>
    <p:sldId id="393" r:id="rId26"/>
    <p:sldId id="394" r:id="rId27"/>
    <p:sldId id="390" r:id="rId28"/>
  </p:sldIdLst>
  <p:sldSz cx="12192000" cy="6858000"/>
  <p:notesSz cx="6858000" cy="9144000"/>
  <p:embeddedFontLst>
    <p:embeddedFont>
      <p:font typeface="PF Din Text Cond Pro Medium" panose="02000500000000020004" pitchFamily="2" charset="0"/>
      <p:regular r:id="rId30"/>
      <p:italic r:id="rId31"/>
    </p:embeddedFont>
    <p:embeddedFont>
      <p:font typeface="Segoe UI Semibold" panose="020B0702040204020203" pitchFamily="34" charset="0"/>
      <p:regular r:id="rId32"/>
      <p:bold r:id="rId33"/>
      <p:italic r:id="rId34"/>
      <p:boldItalic r:id="rId35"/>
    </p:embeddedFont>
    <p:embeddedFont>
      <p:font typeface="PF Din Text Cond Pro Light" panose="02000000000000000000" pitchFamily="2" charset="0"/>
      <p:regular r:id="rId36"/>
      <p:italic r:id="rId37"/>
    </p:embeddedFont>
    <p:embeddedFont>
      <p:font typeface="PF Din Text Cond Pro" panose="02000000000000000000" pitchFamily="2" charset="0"/>
      <p:regular r:id="rId38"/>
      <p:bold r:id="rId39"/>
      <p:italic r:id="rId40"/>
      <p:boldItalic r:id="rId41"/>
    </p:embeddedFont>
    <p:embeddedFont>
      <p:font typeface="Open Sans" panose="020B0604020202020204" charset="0"/>
      <p:regular r:id="rId42"/>
      <p:bold r:id="rId43"/>
      <p:italic r:id="rId44"/>
      <p:boldItalic r:id="rId45"/>
    </p:embeddedFont>
    <p:embeddedFont>
      <p:font typeface="Calibri" panose="020F0502020204030204" pitchFamily="34" charset="0"/>
      <p:regular r:id="rId46"/>
      <p:bold r:id="rId47"/>
      <p:italic r:id="rId48"/>
      <p:boldItalic r:id="rId49"/>
    </p:embeddedFont>
    <p:embeddedFont>
      <p:font typeface="Segoe UI Light" panose="020B0502040204020203" pitchFamily="34" charset="0"/>
      <p:regular r:id="rId50"/>
      <p:italic r:id="rId51"/>
    </p:embeddedFont>
    <p:embeddedFont>
      <p:font typeface="Arial Narrow" panose="020B0606020202030204" pitchFamily="34" charset="0"/>
      <p:regular r:id="rId52"/>
      <p:bold r:id="rId53"/>
      <p:italic r:id="rId54"/>
      <p:boldItalic r:id="rId55"/>
    </p:embeddedFont>
  </p:embeddedFontLst>
  <p:custDataLst>
    <p:tags r:id="rId56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87" userDrawn="1">
          <p15:clr>
            <a:srgbClr val="A4A3A4"/>
          </p15:clr>
        </p15:guide>
        <p15:guide id="2" pos="325" userDrawn="1">
          <p15:clr>
            <a:srgbClr val="A4A3A4"/>
          </p15:clr>
        </p15:guide>
        <p15:guide id="3" pos="7514" userDrawn="1">
          <p15:clr>
            <a:srgbClr val="A4A3A4"/>
          </p15:clr>
        </p15:guide>
        <p15:guide id="4" orient="horz" pos="4133" userDrawn="1">
          <p15:clr>
            <a:srgbClr val="A4A3A4"/>
          </p15:clr>
        </p15:guide>
        <p15:guide id="5" orient="horz" pos="220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46F3"/>
    <a:srgbClr val="FFD44B"/>
    <a:srgbClr val="FF2649"/>
    <a:srgbClr val="5B9BD5"/>
    <a:srgbClr val="FE5757"/>
    <a:srgbClr val="212E3C"/>
    <a:srgbClr val="C830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0"/>
    <p:restoredTop sz="95220" autoAdjust="0"/>
  </p:normalViewPr>
  <p:slideViewPr>
    <p:cSldViewPr snapToGrid="0" snapToObjects="1">
      <p:cViewPr varScale="1">
        <p:scale>
          <a:sx n="115" d="100"/>
          <a:sy n="115" d="100"/>
        </p:scale>
        <p:origin x="396" y="108"/>
      </p:cViewPr>
      <p:guideLst>
        <p:guide orient="horz" pos="187"/>
        <p:guide pos="325"/>
        <p:guide pos="7514"/>
        <p:guide orient="horz" pos="4133"/>
        <p:guide orient="horz" pos="220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877"/>
    </p:cViewPr>
  </p:sorterViewPr>
  <p:notesViewPr>
    <p:cSldViewPr snapToGrid="0" snapToObjects="1" showGuides="1">
      <p:cViewPr varScale="1">
        <p:scale>
          <a:sx n="62" d="100"/>
          <a:sy n="62" d="100"/>
        </p:scale>
        <p:origin x="315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font" Target="fonts/font10.fntdata"/><Relationship Id="rId21" Type="http://schemas.openxmlformats.org/officeDocument/2006/relationships/slide" Target="slides/slide19.xml"/><Relationship Id="rId34" Type="http://schemas.openxmlformats.org/officeDocument/2006/relationships/font" Target="fonts/font5.fntdata"/><Relationship Id="rId42" Type="http://schemas.openxmlformats.org/officeDocument/2006/relationships/font" Target="fonts/font13.fntdata"/><Relationship Id="rId47" Type="http://schemas.openxmlformats.org/officeDocument/2006/relationships/font" Target="fonts/font18.fntdata"/><Relationship Id="rId50" Type="http://schemas.openxmlformats.org/officeDocument/2006/relationships/font" Target="fonts/font21.fntdata"/><Relationship Id="rId55" Type="http://schemas.openxmlformats.org/officeDocument/2006/relationships/font" Target="fonts/font26.fntdata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font" Target="fonts/font4.fntdata"/><Relationship Id="rId38" Type="http://schemas.openxmlformats.org/officeDocument/2006/relationships/font" Target="fonts/font9.fntdata"/><Relationship Id="rId46" Type="http://schemas.openxmlformats.org/officeDocument/2006/relationships/font" Target="fonts/font17.fntdata"/><Relationship Id="rId59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notesMaster" Target="notesMasters/notesMaster1.xml"/><Relationship Id="rId41" Type="http://schemas.openxmlformats.org/officeDocument/2006/relationships/font" Target="fonts/font12.fntdata"/><Relationship Id="rId54" Type="http://schemas.openxmlformats.org/officeDocument/2006/relationships/font" Target="fonts/font2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font" Target="fonts/font3.fntdata"/><Relationship Id="rId37" Type="http://schemas.openxmlformats.org/officeDocument/2006/relationships/font" Target="fonts/font8.fntdata"/><Relationship Id="rId40" Type="http://schemas.openxmlformats.org/officeDocument/2006/relationships/font" Target="fonts/font11.fntdata"/><Relationship Id="rId45" Type="http://schemas.openxmlformats.org/officeDocument/2006/relationships/font" Target="fonts/font16.fntdata"/><Relationship Id="rId53" Type="http://schemas.openxmlformats.org/officeDocument/2006/relationships/font" Target="fonts/font24.fntdata"/><Relationship Id="rId58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font" Target="fonts/font7.fntdata"/><Relationship Id="rId49" Type="http://schemas.openxmlformats.org/officeDocument/2006/relationships/font" Target="fonts/font20.fntdata"/><Relationship Id="rId57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font" Target="fonts/font2.fntdata"/><Relationship Id="rId44" Type="http://schemas.openxmlformats.org/officeDocument/2006/relationships/font" Target="fonts/font15.fntdata"/><Relationship Id="rId52" Type="http://schemas.openxmlformats.org/officeDocument/2006/relationships/font" Target="fonts/font23.fntdata"/><Relationship Id="rId6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font" Target="fonts/font1.fntdata"/><Relationship Id="rId35" Type="http://schemas.openxmlformats.org/officeDocument/2006/relationships/font" Target="fonts/font6.fntdata"/><Relationship Id="rId43" Type="http://schemas.openxmlformats.org/officeDocument/2006/relationships/font" Target="fonts/font14.fntdata"/><Relationship Id="rId48" Type="http://schemas.openxmlformats.org/officeDocument/2006/relationships/font" Target="fonts/font19.fntdata"/><Relationship Id="rId56" Type="http://schemas.openxmlformats.org/officeDocument/2006/relationships/tags" Target="tags/tag1.xml"/><Relationship Id="rId8" Type="http://schemas.openxmlformats.org/officeDocument/2006/relationships/slide" Target="slides/slide6.xml"/><Relationship Id="rId51" Type="http://schemas.openxmlformats.org/officeDocument/2006/relationships/font" Target="fonts/font22.fntdata"/><Relationship Id="rId3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53395858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390638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" name="Google Shape;9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7957562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98" name="Google Shape;9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1747007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98" name="Google Shape;9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5755723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" name="Google Shape;9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68161984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" name="Google Shape;9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9791649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" name="Google Shape;9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285998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gd34cbd2a91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7" name="Google Shape;127;gd34cbd2a91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65114942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" name="Google Shape;9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53031411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" name="Google Shape;9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8521571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" name="Google Shape;9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5290018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" name="Google Shape;9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50112781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" name="Google Shape;9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9394931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" name="Google Shape;9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34988914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58418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" name="Google Shape;9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803820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" name="Google Shape;9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3089875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" name="Google Shape;9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9670137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98" name="Google Shape;9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2540427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98" name="Google Shape;9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481419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98" name="Google Shape;9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9409368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8" name="Google Shape;98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1588032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итульный слайд" type="title">
  <p:cSld name="TITLE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" name="Google Shape;14;p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" name="Google Shape;15;p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" name="Google Shape;16;p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ный слайд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42339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36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Разделите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 23"/>
          <p:cNvSpPr/>
          <p:nvPr userDrawn="1"/>
        </p:nvSpPr>
        <p:spPr>
          <a:xfrm>
            <a:off x="3196958" y="0"/>
            <a:ext cx="1093407" cy="230213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4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459015" y="1772940"/>
            <a:ext cx="5093370" cy="1296020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24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Название раздела в одну</a:t>
            </a:r>
            <a:br>
              <a:rPr lang="ru-RU" dirty="0"/>
            </a:br>
            <a:r>
              <a:rPr lang="ru-RU" dirty="0"/>
              <a:t>или несколько строк</a:t>
            </a:r>
          </a:p>
        </p:txBody>
      </p:sp>
      <p:sp>
        <p:nvSpPr>
          <p:cNvPr id="6" name="Текст 3"/>
          <p:cNvSpPr>
            <a:spLocks noGrp="1"/>
          </p:cNvSpPr>
          <p:nvPr>
            <p:ph type="body" sz="quarter" idx="11" hasCustomPrompt="1"/>
          </p:nvPr>
        </p:nvSpPr>
        <p:spPr>
          <a:xfrm>
            <a:off x="3313355" y="1344876"/>
            <a:ext cx="838429" cy="871297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20</a:t>
            </a:r>
          </a:p>
        </p:txBody>
      </p:sp>
      <p:sp>
        <p:nvSpPr>
          <p:cNvPr id="2" name="Прямоугольник 1"/>
          <p:cNvSpPr/>
          <p:nvPr userDrawn="1"/>
        </p:nvSpPr>
        <p:spPr>
          <a:xfrm flipV="1">
            <a:off x="3196958" y="2302134"/>
            <a:ext cx="1093407" cy="455586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4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44" name="Группа 43"/>
          <p:cNvGrpSpPr/>
          <p:nvPr userDrawn="1"/>
        </p:nvGrpSpPr>
        <p:grpSpPr>
          <a:xfrm>
            <a:off x="603076" y="427175"/>
            <a:ext cx="1712192" cy="483160"/>
            <a:chOff x="0" y="687388"/>
            <a:chExt cx="1440180" cy="406401"/>
          </a:xfrm>
          <a:solidFill>
            <a:schemeClr val="accent1"/>
          </a:solidFill>
        </p:grpSpPr>
        <p:grpSp>
          <p:nvGrpSpPr>
            <p:cNvPr id="45" name="Группа 44"/>
            <p:cNvGrpSpPr/>
            <p:nvPr userDrawn="1"/>
          </p:nvGrpSpPr>
          <p:grpSpPr>
            <a:xfrm>
              <a:off x="493068" y="808707"/>
              <a:ext cx="947112" cy="176599"/>
              <a:chOff x="614988" y="259248"/>
              <a:chExt cx="1041891" cy="194272"/>
            </a:xfrm>
            <a:grpFill/>
          </p:grpSpPr>
          <p:sp>
            <p:nvSpPr>
              <p:cNvPr id="54" name="Freeform 5"/>
              <p:cNvSpPr>
                <a:spLocks noEditPoints="1"/>
              </p:cNvSpPr>
              <p:nvPr/>
            </p:nvSpPr>
            <p:spPr bwMode="auto">
              <a:xfrm>
                <a:off x="614988" y="260485"/>
                <a:ext cx="122502" cy="190560"/>
              </a:xfrm>
              <a:custGeom>
                <a:avLst/>
                <a:gdLst>
                  <a:gd name="T0" fmla="*/ 723 w 1181"/>
                  <a:gd name="T1" fmla="*/ 773 h 1846"/>
                  <a:gd name="T2" fmla="*/ 688 w 1181"/>
                  <a:gd name="T3" fmla="*/ 793 h 1846"/>
                  <a:gd name="T4" fmla="*/ 650 w 1181"/>
                  <a:gd name="T5" fmla="*/ 806 h 1846"/>
                  <a:gd name="T6" fmla="*/ 611 w 1181"/>
                  <a:gd name="T7" fmla="*/ 813 h 1846"/>
                  <a:gd name="T8" fmla="*/ 385 w 1181"/>
                  <a:gd name="T9" fmla="*/ 813 h 1846"/>
                  <a:gd name="T10" fmla="*/ 587 w 1181"/>
                  <a:gd name="T11" fmla="*/ 355 h 1846"/>
                  <a:gd name="T12" fmla="*/ 635 w 1181"/>
                  <a:gd name="T13" fmla="*/ 358 h 1846"/>
                  <a:gd name="T14" fmla="*/ 677 w 1181"/>
                  <a:gd name="T15" fmla="*/ 368 h 1846"/>
                  <a:gd name="T16" fmla="*/ 696 w 1181"/>
                  <a:gd name="T17" fmla="*/ 375 h 1846"/>
                  <a:gd name="T18" fmla="*/ 714 w 1181"/>
                  <a:gd name="T19" fmla="*/ 384 h 1846"/>
                  <a:gd name="T20" fmla="*/ 731 w 1181"/>
                  <a:gd name="T21" fmla="*/ 395 h 1846"/>
                  <a:gd name="T22" fmla="*/ 746 w 1181"/>
                  <a:gd name="T23" fmla="*/ 407 h 1846"/>
                  <a:gd name="T24" fmla="*/ 759 w 1181"/>
                  <a:gd name="T25" fmla="*/ 421 h 1846"/>
                  <a:gd name="T26" fmla="*/ 772 w 1181"/>
                  <a:gd name="T27" fmla="*/ 437 h 1846"/>
                  <a:gd name="T28" fmla="*/ 782 w 1181"/>
                  <a:gd name="T29" fmla="*/ 455 h 1846"/>
                  <a:gd name="T30" fmla="*/ 790 w 1181"/>
                  <a:gd name="T31" fmla="*/ 476 h 1846"/>
                  <a:gd name="T32" fmla="*/ 797 w 1181"/>
                  <a:gd name="T33" fmla="*/ 498 h 1846"/>
                  <a:gd name="T34" fmla="*/ 801 w 1181"/>
                  <a:gd name="T35" fmla="*/ 522 h 1846"/>
                  <a:gd name="T36" fmla="*/ 805 w 1181"/>
                  <a:gd name="T37" fmla="*/ 578 h 1846"/>
                  <a:gd name="T38" fmla="*/ 804 w 1181"/>
                  <a:gd name="T39" fmla="*/ 610 h 1846"/>
                  <a:gd name="T40" fmla="*/ 801 w 1181"/>
                  <a:gd name="T41" fmla="*/ 639 h 1846"/>
                  <a:gd name="T42" fmla="*/ 796 w 1181"/>
                  <a:gd name="T43" fmla="*/ 665 h 1846"/>
                  <a:gd name="T44" fmla="*/ 789 w 1181"/>
                  <a:gd name="T45" fmla="*/ 689 h 1846"/>
                  <a:gd name="T46" fmla="*/ 780 w 1181"/>
                  <a:gd name="T47" fmla="*/ 710 h 1846"/>
                  <a:gd name="T48" fmla="*/ 769 w 1181"/>
                  <a:gd name="T49" fmla="*/ 730 h 1846"/>
                  <a:gd name="T50" fmla="*/ 754 w 1181"/>
                  <a:gd name="T51" fmla="*/ 746 h 1846"/>
                  <a:gd name="T52" fmla="*/ 739 w 1181"/>
                  <a:gd name="T53" fmla="*/ 761 h 1846"/>
                  <a:gd name="T54" fmla="*/ 1151 w 1181"/>
                  <a:gd name="T55" fmla="*/ 797 h 1846"/>
                  <a:gd name="T56" fmla="*/ 1166 w 1181"/>
                  <a:gd name="T57" fmla="*/ 740 h 1846"/>
                  <a:gd name="T58" fmla="*/ 1176 w 1181"/>
                  <a:gd name="T59" fmla="*/ 680 h 1846"/>
                  <a:gd name="T60" fmla="*/ 1181 w 1181"/>
                  <a:gd name="T61" fmla="*/ 617 h 1846"/>
                  <a:gd name="T62" fmla="*/ 1181 w 1181"/>
                  <a:gd name="T63" fmla="*/ 546 h 1846"/>
                  <a:gd name="T64" fmla="*/ 1175 w 1181"/>
                  <a:gd name="T65" fmla="*/ 476 h 1846"/>
                  <a:gd name="T66" fmla="*/ 1164 w 1181"/>
                  <a:gd name="T67" fmla="*/ 411 h 1846"/>
                  <a:gd name="T68" fmla="*/ 1148 w 1181"/>
                  <a:gd name="T69" fmla="*/ 350 h 1846"/>
                  <a:gd name="T70" fmla="*/ 1127 w 1181"/>
                  <a:gd name="T71" fmla="*/ 295 h 1846"/>
                  <a:gd name="T72" fmla="*/ 1100 w 1181"/>
                  <a:gd name="T73" fmla="*/ 244 h 1846"/>
                  <a:gd name="T74" fmla="*/ 1070 w 1181"/>
                  <a:gd name="T75" fmla="*/ 199 h 1846"/>
                  <a:gd name="T76" fmla="*/ 1035 w 1181"/>
                  <a:gd name="T77" fmla="*/ 159 h 1846"/>
                  <a:gd name="T78" fmla="*/ 995 w 1181"/>
                  <a:gd name="T79" fmla="*/ 123 h 1846"/>
                  <a:gd name="T80" fmla="*/ 952 w 1181"/>
                  <a:gd name="T81" fmla="*/ 92 h 1846"/>
                  <a:gd name="T82" fmla="*/ 905 w 1181"/>
                  <a:gd name="T83" fmla="*/ 65 h 1846"/>
                  <a:gd name="T84" fmla="*/ 854 w 1181"/>
                  <a:gd name="T85" fmla="*/ 44 h 1846"/>
                  <a:gd name="T86" fmla="*/ 799 w 1181"/>
                  <a:gd name="T87" fmla="*/ 26 h 1846"/>
                  <a:gd name="T88" fmla="*/ 741 w 1181"/>
                  <a:gd name="T89" fmla="*/ 13 h 1846"/>
                  <a:gd name="T90" fmla="*/ 681 w 1181"/>
                  <a:gd name="T91" fmla="*/ 5 h 1846"/>
                  <a:gd name="T92" fmla="*/ 619 w 1181"/>
                  <a:gd name="T93" fmla="*/ 1 h 1846"/>
                  <a:gd name="T94" fmla="*/ 0 w 1181"/>
                  <a:gd name="T95" fmla="*/ 0 h 1846"/>
                  <a:gd name="T96" fmla="*/ 385 w 1181"/>
                  <a:gd name="T97" fmla="*/ 1846 h 1846"/>
                  <a:gd name="T98" fmla="*/ 608 w 1181"/>
                  <a:gd name="T99" fmla="*/ 1172 h 1846"/>
                  <a:gd name="T100" fmla="*/ 673 w 1181"/>
                  <a:gd name="T101" fmla="*/ 1169 h 1846"/>
                  <a:gd name="T102" fmla="*/ 734 w 1181"/>
                  <a:gd name="T103" fmla="*/ 1161 h 1846"/>
                  <a:gd name="T104" fmla="*/ 793 w 1181"/>
                  <a:gd name="T105" fmla="*/ 1148 h 1846"/>
                  <a:gd name="T106" fmla="*/ 847 w 1181"/>
                  <a:gd name="T107" fmla="*/ 1129 h 1846"/>
                  <a:gd name="T108" fmla="*/ 898 w 1181"/>
                  <a:gd name="T109" fmla="*/ 1106 h 1846"/>
                  <a:gd name="T110" fmla="*/ 945 w 1181"/>
                  <a:gd name="T111" fmla="*/ 1079 h 1846"/>
                  <a:gd name="T112" fmla="*/ 988 w 1181"/>
                  <a:gd name="T113" fmla="*/ 1047 h 1846"/>
                  <a:gd name="T114" fmla="*/ 1029 w 1181"/>
                  <a:gd name="T115" fmla="*/ 1011 h 1846"/>
                  <a:gd name="T116" fmla="*/ 1063 w 1181"/>
                  <a:gd name="T117" fmla="*/ 971 h 1846"/>
                  <a:gd name="T118" fmla="*/ 1093 w 1181"/>
                  <a:gd name="T119" fmla="*/ 925 h 1846"/>
                  <a:gd name="T120" fmla="*/ 1120 w 1181"/>
                  <a:gd name="T121" fmla="*/ 876 h 1846"/>
                  <a:gd name="T122" fmla="*/ 1142 w 1181"/>
                  <a:gd name="T123" fmla="*/ 824 h 18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81" h="1846">
                    <a:moveTo>
                      <a:pt x="739" y="761"/>
                    </a:moveTo>
                    <a:lnTo>
                      <a:pt x="723" y="773"/>
                    </a:lnTo>
                    <a:lnTo>
                      <a:pt x="706" y="784"/>
                    </a:lnTo>
                    <a:lnTo>
                      <a:pt x="688" y="793"/>
                    </a:lnTo>
                    <a:lnTo>
                      <a:pt x="669" y="801"/>
                    </a:lnTo>
                    <a:lnTo>
                      <a:pt x="650" y="806"/>
                    </a:lnTo>
                    <a:lnTo>
                      <a:pt x="631" y="810"/>
                    </a:lnTo>
                    <a:lnTo>
                      <a:pt x="611" y="813"/>
                    </a:lnTo>
                    <a:lnTo>
                      <a:pt x="590" y="813"/>
                    </a:lnTo>
                    <a:lnTo>
                      <a:pt x="385" y="813"/>
                    </a:lnTo>
                    <a:lnTo>
                      <a:pt x="385" y="355"/>
                    </a:lnTo>
                    <a:lnTo>
                      <a:pt x="587" y="355"/>
                    </a:lnTo>
                    <a:lnTo>
                      <a:pt x="611" y="356"/>
                    </a:lnTo>
                    <a:lnTo>
                      <a:pt x="635" y="358"/>
                    </a:lnTo>
                    <a:lnTo>
                      <a:pt x="657" y="362"/>
                    </a:lnTo>
                    <a:lnTo>
                      <a:pt x="677" y="368"/>
                    </a:lnTo>
                    <a:lnTo>
                      <a:pt x="687" y="372"/>
                    </a:lnTo>
                    <a:lnTo>
                      <a:pt x="696" y="375"/>
                    </a:lnTo>
                    <a:lnTo>
                      <a:pt x="705" y="380"/>
                    </a:lnTo>
                    <a:lnTo>
                      <a:pt x="714" y="384"/>
                    </a:lnTo>
                    <a:lnTo>
                      <a:pt x="723" y="389"/>
                    </a:lnTo>
                    <a:lnTo>
                      <a:pt x="731" y="395"/>
                    </a:lnTo>
                    <a:lnTo>
                      <a:pt x="738" y="401"/>
                    </a:lnTo>
                    <a:lnTo>
                      <a:pt x="746" y="407"/>
                    </a:lnTo>
                    <a:lnTo>
                      <a:pt x="753" y="414"/>
                    </a:lnTo>
                    <a:lnTo>
                      <a:pt x="759" y="421"/>
                    </a:lnTo>
                    <a:lnTo>
                      <a:pt x="767" y="429"/>
                    </a:lnTo>
                    <a:lnTo>
                      <a:pt x="772" y="437"/>
                    </a:lnTo>
                    <a:lnTo>
                      <a:pt x="777" y="446"/>
                    </a:lnTo>
                    <a:lnTo>
                      <a:pt x="782" y="455"/>
                    </a:lnTo>
                    <a:lnTo>
                      <a:pt x="786" y="465"/>
                    </a:lnTo>
                    <a:lnTo>
                      <a:pt x="790" y="476"/>
                    </a:lnTo>
                    <a:lnTo>
                      <a:pt x="794" y="486"/>
                    </a:lnTo>
                    <a:lnTo>
                      <a:pt x="797" y="498"/>
                    </a:lnTo>
                    <a:lnTo>
                      <a:pt x="799" y="510"/>
                    </a:lnTo>
                    <a:lnTo>
                      <a:pt x="801" y="522"/>
                    </a:lnTo>
                    <a:lnTo>
                      <a:pt x="804" y="549"/>
                    </a:lnTo>
                    <a:lnTo>
                      <a:pt x="805" y="578"/>
                    </a:lnTo>
                    <a:lnTo>
                      <a:pt x="805" y="594"/>
                    </a:lnTo>
                    <a:lnTo>
                      <a:pt x="804" y="610"/>
                    </a:lnTo>
                    <a:lnTo>
                      <a:pt x="803" y="625"/>
                    </a:lnTo>
                    <a:lnTo>
                      <a:pt x="801" y="639"/>
                    </a:lnTo>
                    <a:lnTo>
                      <a:pt x="799" y="652"/>
                    </a:lnTo>
                    <a:lnTo>
                      <a:pt x="796" y="665"/>
                    </a:lnTo>
                    <a:lnTo>
                      <a:pt x="793" y="677"/>
                    </a:lnTo>
                    <a:lnTo>
                      <a:pt x="789" y="689"/>
                    </a:lnTo>
                    <a:lnTo>
                      <a:pt x="785" y="700"/>
                    </a:lnTo>
                    <a:lnTo>
                      <a:pt x="780" y="710"/>
                    </a:lnTo>
                    <a:lnTo>
                      <a:pt x="774" y="720"/>
                    </a:lnTo>
                    <a:lnTo>
                      <a:pt x="769" y="730"/>
                    </a:lnTo>
                    <a:lnTo>
                      <a:pt x="761" y="738"/>
                    </a:lnTo>
                    <a:lnTo>
                      <a:pt x="754" y="746"/>
                    </a:lnTo>
                    <a:lnTo>
                      <a:pt x="747" y="754"/>
                    </a:lnTo>
                    <a:lnTo>
                      <a:pt x="739" y="761"/>
                    </a:lnTo>
                    <a:close/>
                    <a:moveTo>
                      <a:pt x="1142" y="824"/>
                    </a:moveTo>
                    <a:lnTo>
                      <a:pt x="1151" y="797"/>
                    </a:lnTo>
                    <a:lnTo>
                      <a:pt x="1159" y="768"/>
                    </a:lnTo>
                    <a:lnTo>
                      <a:pt x="1166" y="740"/>
                    </a:lnTo>
                    <a:lnTo>
                      <a:pt x="1171" y="710"/>
                    </a:lnTo>
                    <a:lnTo>
                      <a:pt x="1176" y="680"/>
                    </a:lnTo>
                    <a:lnTo>
                      <a:pt x="1179" y="649"/>
                    </a:lnTo>
                    <a:lnTo>
                      <a:pt x="1181" y="617"/>
                    </a:lnTo>
                    <a:lnTo>
                      <a:pt x="1181" y="583"/>
                    </a:lnTo>
                    <a:lnTo>
                      <a:pt x="1181" y="546"/>
                    </a:lnTo>
                    <a:lnTo>
                      <a:pt x="1179" y="510"/>
                    </a:lnTo>
                    <a:lnTo>
                      <a:pt x="1175" y="476"/>
                    </a:lnTo>
                    <a:lnTo>
                      <a:pt x="1170" y="442"/>
                    </a:lnTo>
                    <a:lnTo>
                      <a:pt x="1164" y="411"/>
                    </a:lnTo>
                    <a:lnTo>
                      <a:pt x="1157" y="380"/>
                    </a:lnTo>
                    <a:lnTo>
                      <a:pt x="1148" y="350"/>
                    </a:lnTo>
                    <a:lnTo>
                      <a:pt x="1138" y="322"/>
                    </a:lnTo>
                    <a:lnTo>
                      <a:pt x="1127" y="295"/>
                    </a:lnTo>
                    <a:lnTo>
                      <a:pt x="1114" y="269"/>
                    </a:lnTo>
                    <a:lnTo>
                      <a:pt x="1100" y="244"/>
                    </a:lnTo>
                    <a:lnTo>
                      <a:pt x="1086" y="221"/>
                    </a:lnTo>
                    <a:lnTo>
                      <a:pt x="1070" y="199"/>
                    </a:lnTo>
                    <a:lnTo>
                      <a:pt x="1053" y="178"/>
                    </a:lnTo>
                    <a:lnTo>
                      <a:pt x="1035" y="159"/>
                    </a:lnTo>
                    <a:lnTo>
                      <a:pt x="1016" y="140"/>
                    </a:lnTo>
                    <a:lnTo>
                      <a:pt x="995" y="123"/>
                    </a:lnTo>
                    <a:lnTo>
                      <a:pt x="974" y="107"/>
                    </a:lnTo>
                    <a:lnTo>
                      <a:pt x="952" y="92"/>
                    </a:lnTo>
                    <a:lnTo>
                      <a:pt x="929" y="78"/>
                    </a:lnTo>
                    <a:lnTo>
                      <a:pt x="905" y="65"/>
                    </a:lnTo>
                    <a:lnTo>
                      <a:pt x="880" y="54"/>
                    </a:lnTo>
                    <a:lnTo>
                      <a:pt x="854" y="44"/>
                    </a:lnTo>
                    <a:lnTo>
                      <a:pt x="827" y="34"/>
                    </a:lnTo>
                    <a:lnTo>
                      <a:pt x="799" y="26"/>
                    </a:lnTo>
                    <a:lnTo>
                      <a:pt x="771" y="19"/>
                    </a:lnTo>
                    <a:lnTo>
                      <a:pt x="741" y="13"/>
                    </a:lnTo>
                    <a:lnTo>
                      <a:pt x="711" y="8"/>
                    </a:lnTo>
                    <a:lnTo>
                      <a:pt x="681" y="5"/>
                    </a:lnTo>
                    <a:lnTo>
                      <a:pt x="650" y="2"/>
                    </a:lnTo>
                    <a:lnTo>
                      <a:pt x="619" y="1"/>
                    </a:lnTo>
                    <a:lnTo>
                      <a:pt x="587" y="0"/>
                    </a:lnTo>
                    <a:lnTo>
                      <a:pt x="0" y="0"/>
                    </a:lnTo>
                    <a:lnTo>
                      <a:pt x="0" y="1846"/>
                    </a:lnTo>
                    <a:lnTo>
                      <a:pt x="385" y="1846"/>
                    </a:lnTo>
                    <a:lnTo>
                      <a:pt x="385" y="1172"/>
                    </a:lnTo>
                    <a:lnTo>
                      <a:pt x="608" y="1172"/>
                    </a:lnTo>
                    <a:lnTo>
                      <a:pt x="641" y="1171"/>
                    </a:lnTo>
                    <a:lnTo>
                      <a:pt x="673" y="1169"/>
                    </a:lnTo>
                    <a:lnTo>
                      <a:pt x="704" y="1166"/>
                    </a:lnTo>
                    <a:lnTo>
                      <a:pt x="734" y="1161"/>
                    </a:lnTo>
                    <a:lnTo>
                      <a:pt x="763" y="1155"/>
                    </a:lnTo>
                    <a:lnTo>
                      <a:pt x="793" y="1148"/>
                    </a:lnTo>
                    <a:lnTo>
                      <a:pt x="820" y="1139"/>
                    </a:lnTo>
                    <a:lnTo>
                      <a:pt x="847" y="1129"/>
                    </a:lnTo>
                    <a:lnTo>
                      <a:pt x="873" y="1118"/>
                    </a:lnTo>
                    <a:lnTo>
                      <a:pt x="898" y="1106"/>
                    </a:lnTo>
                    <a:lnTo>
                      <a:pt x="922" y="1093"/>
                    </a:lnTo>
                    <a:lnTo>
                      <a:pt x="945" y="1079"/>
                    </a:lnTo>
                    <a:lnTo>
                      <a:pt x="967" y="1063"/>
                    </a:lnTo>
                    <a:lnTo>
                      <a:pt x="988" y="1047"/>
                    </a:lnTo>
                    <a:lnTo>
                      <a:pt x="1009" y="1030"/>
                    </a:lnTo>
                    <a:lnTo>
                      <a:pt x="1029" y="1011"/>
                    </a:lnTo>
                    <a:lnTo>
                      <a:pt x="1046" y="991"/>
                    </a:lnTo>
                    <a:lnTo>
                      <a:pt x="1063" y="971"/>
                    </a:lnTo>
                    <a:lnTo>
                      <a:pt x="1079" y="949"/>
                    </a:lnTo>
                    <a:lnTo>
                      <a:pt x="1093" y="925"/>
                    </a:lnTo>
                    <a:lnTo>
                      <a:pt x="1107" y="901"/>
                    </a:lnTo>
                    <a:lnTo>
                      <a:pt x="1120" y="876"/>
                    </a:lnTo>
                    <a:lnTo>
                      <a:pt x="1131" y="851"/>
                    </a:lnTo>
                    <a:lnTo>
                      <a:pt x="1142" y="8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55" name="Freeform 6"/>
              <p:cNvSpPr>
                <a:spLocks noEditPoints="1"/>
              </p:cNvSpPr>
              <p:nvPr/>
            </p:nvSpPr>
            <p:spPr bwMode="auto">
              <a:xfrm>
                <a:off x="765951" y="259248"/>
                <a:ext cx="122502" cy="194272"/>
              </a:xfrm>
              <a:custGeom>
                <a:avLst/>
                <a:gdLst>
                  <a:gd name="T0" fmla="*/ 386 w 1185"/>
                  <a:gd name="T1" fmla="*/ 542 h 1875"/>
                  <a:gd name="T2" fmla="*/ 410 w 1185"/>
                  <a:gd name="T3" fmla="*/ 473 h 1875"/>
                  <a:gd name="T4" fmla="*/ 446 w 1185"/>
                  <a:gd name="T5" fmla="*/ 427 h 1875"/>
                  <a:gd name="T6" fmla="*/ 478 w 1185"/>
                  <a:gd name="T7" fmla="*/ 402 h 1875"/>
                  <a:gd name="T8" fmla="*/ 519 w 1185"/>
                  <a:gd name="T9" fmla="*/ 382 h 1875"/>
                  <a:gd name="T10" fmla="*/ 568 w 1185"/>
                  <a:gd name="T11" fmla="*/ 372 h 1875"/>
                  <a:gd name="T12" fmla="*/ 624 w 1185"/>
                  <a:gd name="T13" fmla="*/ 372 h 1875"/>
                  <a:gd name="T14" fmla="*/ 672 w 1185"/>
                  <a:gd name="T15" fmla="*/ 384 h 1875"/>
                  <a:gd name="T16" fmla="*/ 728 w 1185"/>
                  <a:gd name="T17" fmla="*/ 418 h 1875"/>
                  <a:gd name="T18" fmla="*/ 756 w 1185"/>
                  <a:gd name="T19" fmla="*/ 447 h 1875"/>
                  <a:gd name="T20" fmla="*/ 789 w 1185"/>
                  <a:gd name="T21" fmla="*/ 514 h 1875"/>
                  <a:gd name="T22" fmla="*/ 797 w 1185"/>
                  <a:gd name="T23" fmla="*/ 575 h 1875"/>
                  <a:gd name="T24" fmla="*/ 792 w 1185"/>
                  <a:gd name="T25" fmla="*/ 1359 h 1875"/>
                  <a:gd name="T26" fmla="*/ 779 w 1185"/>
                  <a:gd name="T27" fmla="*/ 1396 h 1875"/>
                  <a:gd name="T28" fmla="*/ 759 w 1185"/>
                  <a:gd name="T29" fmla="*/ 1429 h 1875"/>
                  <a:gd name="T30" fmla="*/ 723 w 1185"/>
                  <a:gd name="T31" fmla="*/ 1463 h 1875"/>
                  <a:gd name="T32" fmla="*/ 654 w 1185"/>
                  <a:gd name="T33" fmla="*/ 1496 h 1875"/>
                  <a:gd name="T34" fmla="*/ 582 w 1185"/>
                  <a:gd name="T35" fmla="*/ 1503 h 1875"/>
                  <a:gd name="T36" fmla="*/ 531 w 1185"/>
                  <a:gd name="T37" fmla="*/ 1497 h 1875"/>
                  <a:gd name="T38" fmla="*/ 489 w 1185"/>
                  <a:gd name="T39" fmla="*/ 1482 h 1875"/>
                  <a:gd name="T40" fmla="*/ 453 w 1185"/>
                  <a:gd name="T41" fmla="*/ 1458 h 1875"/>
                  <a:gd name="T42" fmla="*/ 421 w 1185"/>
                  <a:gd name="T43" fmla="*/ 1417 h 1875"/>
                  <a:gd name="T44" fmla="*/ 390 w 1185"/>
                  <a:gd name="T45" fmla="*/ 1334 h 1875"/>
                  <a:gd name="T46" fmla="*/ 834 w 1185"/>
                  <a:gd name="T47" fmla="*/ 1834 h 1875"/>
                  <a:gd name="T48" fmla="*/ 934 w 1185"/>
                  <a:gd name="T49" fmla="*/ 1784 h 1875"/>
                  <a:gd name="T50" fmla="*/ 1019 w 1185"/>
                  <a:gd name="T51" fmla="*/ 1715 h 1875"/>
                  <a:gd name="T52" fmla="*/ 1089 w 1185"/>
                  <a:gd name="T53" fmla="*/ 1629 h 1875"/>
                  <a:gd name="T54" fmla="*/ 1141 w 1185"/>
                  <a:gd name="T55" fmla="*/ 1525 h 1875"/>
                  <a:gd name="T56" fmla="*/ 1174 w 1185"/>
                  <a:gd name="T57" fmla="*/ 1409 h 1875"/>
                  <a:gd name="T58" fmla="*/ 1185 w 1185"/>
                  <a:gd name="T59" fmla="*/ 1278 h 1875"/>
                  <a:gd name="T60" fmla="*/ 1180 w 1185"/>
                  <a:gd name="T61" fmla="*/ 510 h 1875"/>
                  <a:gd name="T62" fmla="*/ 1158 w 1185"/>
                  <a:gd name="T63" fmla="*/ 403 h 1875"/>
                  <a:gd name="T64" fmla="*/ 1118 w 1185"/>
                  <a:gd name="T65" fmla="*/ 300 h 1875"/>
                  <a:gd name="T66" fmla="*/ 1060 w 1185"/>
                  <a:gd name="T67" fmla="*/ 207 h 1875"/>
                  <a:gd name="T68" fmla="*/ 983 w 1185"/>
                  <a:gd name="T69" fmla="*/ 128 h 1875"/>
                  <a:gd name="T70" fmla="*/ 886 w 1185"/>
                  <a:gd name="T71" fmla="*/ 65 h 1875"/>
                  <a:gd name="T72" fmla="*/ 770 w 1185"/>
                  <a:gd name="T73" fmla="*/ 20 h 1875"/>
                  <a:gd name="T74" fmla="*/ 633 w 1185"/>
                  <a:gd name="T75" fmla="*/ 1 h 1875"/>
                  <a:gd name="T76" fmla="*/ 481 w 1185"/>
                  <a:gd name="T77" fmla="*/ 7 h 1875"/>
                  <a:gd name="T78" fmla="*/ 396 w 1185"/>
                  <a:gd name="T79" fmla="*/ 25 h 1875"/>
                  <a:gd name="T80" fmla="*/ 335 w 1185"/>
                  <a:gd name="T81" fmla="*/ 47 h 1875"/>
                  <a:gd name="T82" fmla="*/ 242 w 1185"/>
                  <a:gd name="T83" fmla="*/ 99 h 1875"/>
                  <a:gd name="T84" fmla="*/ 155 w 1185"/>
                  <a:gd name="T85" fmla="*/ 172 h 1875"/>
                  <a:gd name="T86" fmla="*/ 88 w 1185"/>
                  <a:gd name="T87" fmla="*/ 259 h 1875"/>
                  <a:gd name="T88" fmla="*/ 41 w 1185"/>
                  <a:gd name="T89" fmla="*/ 357 h 1875"/>
                  <a:gd name="T90" fmla="*/ 14 w 1185"/>
                  <a:gd name="T91" fmla="*/ 461 h 1875"/>
                  <a:gd name="T92" fmla="*/ 0 w 1185"/>
                  <a:gd name="T93" fmla="*/ 565 h 1875"/>
                  <a:gd name="T94" fmla="*/ 2 w 1185"/>
                  <a:gd name="T95" fmla="*/ 1311 h 1875"/>
                  <a:gd name="T96" fmla="*/ 20 w 1185"/>
                  <a:gd name="T97" fmla="*/ 1430 h 1875"/>
                  <a:gd name="T98" fmla="*/ 54 w 1185"/>
                  <a:gd name="T99" fmla="*/ 1543 h 1875"/>
                  <a:gd name="T100" fmla="*/ 106 w 1185"/>
                  <a:gd name="T101" fmla="*/ 1643 h 1875"/>
                  <a:gd name="T102" fmla="*/ 177 w 1185"/>
                  <a:gd name="T103" fmla="*/ 1729 h 1875"/>
                  <a:gd name="T104" fmla="*/ 270 w 1185"/>
                  <a:gd name="T105" fmla="*/ 1797 h 1875"/>
                  <a:gd name="T106" fmla="*/ 353 w 1185"/>
                  <a:gd name="T107" fmla="*/ 1836 h 1875"/>
                  <a:gd name="T108" fmla="*/ 448 w 1185"/>
                  <a:gd name="T109" fmla="*/ 1862 h 1875"/>
                  <a:gd name="T110" fmla="*/ 596 w 1185"/>
                  <a:gd name="T111" fmla="*/ 1875 h 1875"/>
                  <a:gd name="T112" fmla="*/ 721 w 1185"/>
                  <a:gd name="T113" fmla="*/ 1864 h 1875"/>
                  <a:gd name="T114" fmla="*/ 834 w 1185"/>
                  <a:gd name="T115" fmla="*/ 1834 h 1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85" h="1875">
                    <a:moveTo>
                      <a:pt x="383" y="1259"/>
                    </a:moveTo>
                    <a:lnTo>
                      <a:pt x="383" y="575"/>
                    </a:lnTo>
                    <a:lnTo>
                      <a:pt x="384" y="559"/>
                    </a:lnTo>
                    <a:lnTo>
                      <a:pt x="386" y="542"/>
                    </a:lnTo>
                    <a:lnTo>
                      <a:pt x="390" y="525"/>
                    </a:lnTo>
                    <a:lnTo>
                      <a:pt x="395" y="507"/>
                    </a:lnTo>
                    <a:lnTo>
                      <a:pt x="402" y="490"/>
                    </a:lnTo>
                    <a:lnTo>
                      <a:pt x="410" y="473"/>
                    </a:lnTo>
                    <a:lnTo>
                      <a:pt x="420" y="456"/>
                    </a:lnTo>
                    <a:lnTo>
                      <a:pt x="432" y="441"/>
                    </a:lnTo>
                    <a:lnTo>
                      <a:pt x="439" y="434"/>
                    </a:lnTo>
                    <a:lnTo>
                      <a:pt x="446" y="427"/>
                    </a:lnTo>
                    <a:lnTo>
                      <a:pt x="453" y="420"/>
                    </a:lnTo>
                    <a:lnTo>
                      <a:pt x="461" y="414"/>
                    </a:lnTo>
                    <a:lnTo>
                      <a:pt x="469" y="407"/>
                    </a:lnTo>
                    <a:lnTo>
                      <a:pt x="478" y="402"/>
                    </a:lnTo>
                    <a:lnTo>
                      <a:pt x="488" y="396"/>
                    </a:lnTo>
                    <a:lnTo>
                      <a:pt x="498" y="391"/>
                    </a:lnTo>
                    <a:lnTo>
                      <a:pt x="508" y="386"/>
                    </a:lnTo>
                    <a:lnTo>
                      <a:pt x="519" y="382"/>
                    </a:lnTo>
                    <a:lnTo>
                      <a:pt x="531" y="379"/>
                    </a:lnTo>
                    <a:lnTo>
                      <a:pt x="543" y="376"/>
                    </a:lnTo>
                    <a:lnTo>
                      <a:pt x="555" y="374"/>
                    </a:lnTo>
                    <a:lnTo>
                      <a:pt x="568" y="372"/>
                    </a:lnTo>
                    <a:lnTo>
                      <a:pt x="582" y="371"/>
                    </a:lnTo>
                    <a:lnTo>
                      <a:pt x="596" y="371"/>
                    </a:lnTo>
                    <a:lnTo>
                      <a:pt x="610" y="371"/>
                    </a:lnTo>
                    <a:lnTo>
                      <a:pt x="624" y="372"/>
                    </a:lnTo>
                    <a:lnTo>
                      <a:pt x="637" y="374"/>
                    </a:lnTo>
                    <a:lnTo>
                      <a:pt x="649" y="377"/>
                    </a:lnTo>
                    <a:lnTo>
                      <a:pt x="661" y="380"/>
                    </a:lnTo>
                    <a:lnTo>
                      <a:pt x="672" y="384"/>
                    </a:lnTo>
                    <a:lnTo>
                      <a:pt x="682" y="388"/>
                    </a:lnTo>
                    <a:lnTo>
                      <a:pt x="692" y="393"/>
                    </a:lnTo>
                    <a:lnTo>
                      <a:pt x="711" y="405"/>
                    </a:lnTo>
                    <a:lnTo>
                      <a:pt x="728" y="418"/>
                    </a:lnTo>
                    <a:lnTo>
                      <a:pt x="736" y="425"/>
                    </a:lnTo>
                    <a:lnTo>
                      <a:pt x="743" y="432"/>
                    </a:lnTo>
                    <a:lnTo>
                      <a:pt x="750" y="440"/>
                    </a:lnTo>
                    <a:lnTo>
                      <a:pt x="756" y="447"/>
                    </a:lnTo>
                    <a:lnTo>
                      <a:pt x="766" y="464"/>
                    </a:lnTo>
                    <a:lnTo>
                      <a:pt x="776" y="480"/>
                    </a:lnTo>
                    <a:lnTo>
                      <a:pt x="783" y="497"/>
                    </a:lnTo>
                    <a:lnTo>
                      <a:pt x="789" y="514"/>
                    </a:lnTo>
                    <a:lnTo>
                      <a:pt x="793" y="531"/>
                    </a:lnTo>
                    <a:lnTo>
                      <a:pt x="795" y="546"/>
                    </a:lnTo>
                    <a:lnTo>
                      <a:pt x="797" y="561"/>
                    </a:lnTo>
                    <a:lnTo>
                      <a:pt x="797" y="575"/>
                    </a:lnTo>
                    <a:lnTo>
                      <a:pt x="797" y="1305"/>
                    </a:lnTo>
                    <a:lnTo>
                      <a:pt x="797" y="1327"/>
                    </a:lnTo>
                    <a:lnTo>
                      <a:pt x="794" y="1349"/>
                    </a:lnTo>
                    <a:lnTo>
                      <a:pt x="792" y="1359"/>
                    </a:lnTo>
                    <a:lnTo>
                      <a:pt x="789" y="1369"/>
                    </a:lnTo>
                    <a:lnTo>
                      <a:pt x="786" y="1378"/>
                    </a:lnTo>
                    <a:lnTo>
                      <a:pt x="783" y="1388"/>
                    </a:lnTo>
                    <a:lnTo>
                      <a:pt x="779" y="1396"/>
                    </a:lnTo>
                    <a:lnTo>
                      <a:pt x="775" y="1405"/>
                    </a:lnTo>
                    <a:lnTo>
                      <a:pt x="770" y="1413"/>
                    </a:lnTo>
                    <a:lnTo>
                      <a:pt x="764" y="1421"/>
                    </a:lnTo>
                    <a:lnTo>
                      <a:pt x="759" y="1429"/>
                    </a:lnTo>
                    <a:lnTo>
                      <a:pt x="752" y="1436"/>
                    </a:lnTo>
                    <a:lnTo>
                      <a:pt x="745" y="1443"/>
                    </a:lnTo>
                    <a:lnTo>
                      <a:pt x="738" y="1450"/>
                    </a:lnTo>
                    <a:lnTo>
                      <a:pt x="723" y="1463"/>
                    </a:lnTo>
                    <a:lnTo>
                      <a:pt x="706" y="1473"/>
                    </a:lnTo>
                    <a:lnTo>
                      <a:pt x="689" y="1483"/>
                    </a:lnTo>
                    <a:lnTo>
                      <a:pt x="672" y="1490"/>
                    </a:lnTo>
                    <a:lnTo>
                      <a:pt x="654" y="1496"/>
                    </a:lnTo>
                    <a:lnTo>
                      <a:pt x="635" y="1500"/>
                    </a:lnTo>
                    <a:lnTo>
                      <a:pt x="616" y="1502"/>
                    </a:lnTo>
                    <a:lnTo>
                      <a:pt x="596" y="1503"/>
                    </a:lnTo>
                    <a:lnTo>
                      <a:pt x="582" y="1503"/>
                    </a:lnTo>
                    <a:lnTo>
                      <a:pt x="569" y="1502"/>
                    </a:lnTo>
                    <a:lnTo>
                      <a:pt x="556" y="1501"/>
                    </a:lnTo>
                    <a:lnTo>
                      <a:pt x="543" y="1499"/>
                    </a:lnTo>
                    <a:lnTo>
                      <a:pt x="531" y="1497"/>
                    </a:lnTo>
                    <a:lnTo>
                      <a:pt x="520" y="1494"/>
                    </a:lnTo>
                    <a:lnTo>
                      <a:pt x="509" y="1490"/>
                    </a:lnTo>
                    <a:lnTo>
                      <a:pt x="498" y="1486"/>
                    </a:lnTo>
                    <a:lnTo>
                      <a:pt x="489" y="1482"/>
                    </a:lnTo>
                    <a:lnTo>
                      <a:pt x="478" y="1477"/>
                    </a:lnTo>
                    <a:lnTo>
                      <a:pt x="469" y="1471"/>
                    </a:lnTo>
                    <a:lnTo>
                      <a:pt x="461" y="1465"/>
                    </a:lnTo>
                    <a:lnTo>
                      <a:pt x="453" y="1458"/>
                    </a:lnTo>
                    <a:lnTo>
                      <a:pt x="446" y="1451"/>
                    </a:lnTo>
                    <a:lnTo>
                      <a:pt x="439" y="1443"/>
                    </a:lnTo>
                    <a:lnTo>
                      <a:pt x="432" y="1435"/>
                    </a:lnTo>
                    <a:lnTo>
                      <a:pt x="421" y="1417"/>
                    </a:lnTo>
                    <a:lnTo>
                      <a:pt x="411" y="1398"/>
                    </a:lnTo>
                    <a:lnTo>
                      <a:pt x="402" y="1378"/>
                    </a:lnTo>
                    <a:lnTo>
                      <a:pt x="395" y="1357"/>
                    </a:lnTo>
                    <a:lnTo>
                      <a:pt x="390" y="1334"/>
                    </a:lnTo>
                    <a:lnTo>
                      <a:pt x="386" y="1311"/>
                    </a:lnTo>
                    <a:lnTo>
                      <a:pt x="384" y="1285"/>
                    </a:lnTo>
                    <a:lnTo>
                      <a:pt x="383" y="1259"/>
                    </a:lnTo>
                    <a:close/>
                    <a:moveTo>
                      <a:pt x="834" y="1834"/>
                    </a:moveTo>
                    <a:lnTo>
                      <a:pt x="860" y="1823"/>
                    </a:lnTo>
                    <a:lnTo>
                      <a:pt x="886" y="1811"/>
                    </a:lnTo>
                    <a:lnTo>
                      <a:pt x="910" y="1798"/>
                    </a:lnTo>
                    <a:lnTo>
                      <a:pt x="934" y="1784"/>
                    </a:lnTo>
                    <a:lnTo>
                      <a:pt x="957" y="1768"/>
                    </a:lnTo>
                    <a:lnTo>
                      <a:pt x="979" y="1752"/>
                    </a:lnTo>
                    <a:lnTo>
                      <a:pt x="1000" y="1734"/>
                    </a:lnTo>
                    <a:lnTo>
                      <a:pt x="1019" y="1715"/>
                    </a:lnTo>
                    <a:lnTo>
                      <a:pt x="1039" y="1695"/>
                    </a:lnTo>
                    <a:lnTo>
                      <a:pt x="1057" y="1674"/>
                    </a:lnTo>
                    <a:lnTo>
                      <a:pt x="1073" y="1652"/>
                    </a:lnTo>
                    <a:lnTo>
                      <a:pt x="1089" y="1629"/>
                    </a:lnTo>
                    <a:lnTo>
                      <a:pt x="1104" y="1604"/>
                    </a:lnTo>
                    <a:lnTo>
                      <a:pt x="1117" y="1579"/>
                    </a:lnTo>
                    <a:lnTo>
                      <a:pt x="1130" y="1553"/>
                    </a:lnTo>
                    <a:lnTo>
                      <a:pt x="1141" y="1525"/>
                    </a:lnTo>
                    <a:lnTo>
                      <a:pt x="1151" y="1498"/>
                    </a:lnTo>
                    <a:lnTo>
                      <a:pt x="1160" y="1469"/>
                    </a:lnTo>
                    <a:lnTo>
                      <a:pt x="1168" y="1439"/>
                    </a:lnTo>
                    <a:lnTo>
                      <a:pt x="1174" y="1409"/>
                    </a:lnTo>
                    <a:lnTo>
                      <a:pt x="1179" y="1378"/>
                    </a:lnTo>
                    <a:lnTo>
                      <a:pt x="1182" y="1346"/>
                    </a:lnTo>
                    <a:lnTo>
                      <a:pt x="1184" y="1313"/>
                    </a:lnTo>
                    <a:lnTo>
                      <a:pt x="1185" y="1278"/>
                    </a:lnTo>
                    <a:lnTo>
                      <a:pt x="1185" y="591"/>
                    </a:lnTo>
                    <a:lnTo>
                      <a:pt x="1185" y="564"/>
                    </a:lnTo>
                    <a:lnTo>
                      <a:pt x="1183" y="536"/>
                    </a:lnTo>
                    <a:lnTo>
                      <a:pt x="1180" y="510"/>
                    </a:lnTo>
                    <a:lnTo>
                      <a:pt x="1176" y="483"/>
                    </a:lnTo>
                    <a:lnTo>
                      <a:pt x="1171" y="456"/>
                    </a:lnTo>
                    <a:lnTo>
                      <a:pt x="1165" y="429"/>
                    </a:lnTo>
                    <a:lnTo>
                      <a:pt x="1158" y="403"/>
                    </a:lnTo>
                    <a:lnTo>
                      <a:pt x="1149" y="376"/>
                    </a:lnTo>
                    <a:lnTo>
                      <a:pt x="1140" y="350"/>
                    </a:lnTo>
                    <a:lnTo>
                      <a:pt x="1129" y="325"/>
                    </a:lnTo>
                    <a:lnTo>
                      <a:pt x="1118" y="300"/>
                    </a:lnTo>
                    <a:lnTo>
                      <a:pt x="1105" y="275"/>
                    </a:lnTo>
                    <a:lnTo>
                      <a:pt x="1091" y="252"/>
                    </a:lnTo>
                    <a:lnTo>
                      <a:pt x="1076" y="229"/>
                    </a:lnTo>
                    <a:lnTo>
                      <a:pt x="1060" y="207"/>
                    </a:lnTo>
                    <a:lnTo>
                      <a:pt x="1042" y="186"/>
                    </a:lnTo>
                    <a:lnTo>
                      <a:pt x="1024" y="166"/>
                    </a:lnTo>
                    <a:lnTo>
                      <a:pt x="1004" y="147"/>
                    </a:lnTo>
                    <a:lnTo>
                      <a:pt x="983" y="128"/>
                    </a:lnTo>
                    <a:lnTo>
                      <a:pt x="961" y="111"/>
                    </a:lnTo>
                    <a:lnTo>
                      <a:pt x="937" y="95"/>
                    </a:lnTo>
                    <a:lnTo>
                      <a:pt x="912" y="79"/>
                    </a:lnTo>
                    <a:lnTo>
                      <a:pt x="886" y="65"/>
                    </a:lnTo>
                    <a:lnTo>
                      <a:pt x="859" y="52"/>
                    </a:lnTo>
                    <a:lnTo>
                      <a:pt x="830" y="39"/>
                    </a:lnTo>
                    <a:lnTo>
                      <a:pt x="801" y="29"/>
                    </a:lnTo>
                    <a:lnTo>
                      <a:pt x="770" y="20"/>
                    </a:lnTo>
                    <a:lnTo>
                      <a:pt x="738" y="13"/>
                    </a:lnTo>
                    <a:lnTo>
                      <a:pt x="703" y="7"/>
                    </a:lnTo>
                    <a:lnTo>
                      <a:pt x="669" y="3"/>
                    </a:lnTo>
                    <a:lnTo>
                      <a:pt x="633" y="1"/>
                    </a:lnTo>
                    <a:lnTo>
                      <a:pt x="596" y="0"/>
                    </a:lnTo>
                    <a:lnTo>
                      <a:pt x="556" y="1"/>
                    </a:lnTo>
                    <a:lnTo>
                      <a:pt x="518" y="3"/>
                    </a:lnTo>
                    <a:lnTo>
                      <a:pt x="481" y="7"/>
                    </a:lnTo>
                    <a:lnTo>
                      <a:pt x="446" y="13"/>
                    </a:lnTo>
                    <a:lnTo>
                      <a:pt x="429" y="17"/>
                    </a:lnTo>
                    <a:lnTo>
                      <a:pt x="412" y="21"/>
                    </a:lnTo>
                    <a:lnTo>
                      <a:pt x="396" y="25"/>
                    </a:lnTo>
                    <a:lnTo>
                      <a:pt x="380" y="30"/>
                    </a:lnTo>
                    <a:lnTo>
                      <a:pt x="365" y="35"/>
                    </a:lnTo>
                    <a:lnTo>
                      <a:pt x="350" y="41"/>
                    </a:lnTo>
                    <a:lnTo>
                      <a:pt x="335" y="47"/>
                    </a:lnTo>
                    <a:lnTo>
                      <a:pt x="321" y="54"/>
                    </a:lnTo>
                    <a:lnTo>
                      <a:pt x="294" y="68"/>
                    </a:lnTo>
                    <a:lnTo>
                      <a:pt x="268" y="83"/>
                    </a:lnTo>
                    <a:lnTo>
                      <a:pt x="242" y="99"/>
                    </a:lnTo>
                    <a:lnTo>
                      <a:pt x="218" y="116"/>
                    </a:lnTo>
                    <a:lnTo>
                      <a:pt x="196" y="134"/>
                    </a:lnTo>
                    <a:lnTo>
                      <a:pt x="175" y="152"/>
                    </a:lnTo>
                    <a:lnTo>
                      <a:pt x="155" y="172"/>
                    </a:lnTo>
                    <a:lnTo>
                      <a:pt x="137" y="193"/>
                    </a:lnTo>
                    <a:lnTo>
                      <a:pt x="120" y="214"/>
                    </a:lnTo>
                    <a:lnTo>
                      <a:pt x="103" y="236"/>
                    </a:lnTo>
                    <a:lnTo>
                      <a:pt x="88" y="259"/>
                    </a:lnTo>
                    <a:lnTo>
                      <a:pt x="75" y="282"/>
                    </a:lnTo>
                    <a:lnTo>
                      <a:pt x="62" y="307"/>
                    </a:lnTo>
                    <a:lnTo>
                      <a:pt x="51" y="332"/>
                    </a:lnTo>
                    <a:lnTo>
                      <a:pt x="41" y="357"/>
                    </a:lnTo>
                    <a:lnTo>
                      <a:pt x="33" y="383"/>
                    </a:lnTo>
                    <a:lnTo>
                      <a:pt x="26" y="409"/>
                    </a:lnTo>
                    <a:lnTo>
                      <a:pt x="19" y="435"/>
                    </a:lnTo>
                    <a:lnTo>
                      <a:pt x="14" y="461"/>
                    </a:lnTo>
                    <a:lnTo>
                      <a:pt x="8" y="487"/>
                    </a:lnTo>
                    <a:lnTo>
                      <a:pt x="4" y="513"/>
                    </a:lnTo>
                    <a:lnTo>
                      <a:pt x="2" y="539"/>
                    </a:lnTo>
                    <a:lnTo>
                      <a:pt x="0" y="565"/>
                    </a:lnTo>
                    <a:lnTo>
                      <a:pt x="0" y="591"/>
                    </a:lnTo>
                    <a:lnTo>
                      <a:pt x="0" y="1248"/>
                    </a:lnTo>
                    <a:lnTo>
                      <a:pt x="0" y="1279"/>
                    </a:lnTo>
                    <a:lnTo>
                      <a:pt x="2" y="1311"/>
                    </a:lnTo>
                    <a:lnTo>
                      <a:pt x="4" y="1341"/>
                    </a:lnTo>
                    <a:lnTo>
                      <a:pt x="8" y="1371"/>
                    </a:lnTo>
                    <a:lnTo>
                      <a:pt x="14" y="1401"/>
                    </a:lnTo>
                    <a:lnTo>
                      <a:pt x="20" y="1430"/>
                    </a:lnTo>
                    <a:lnTo>
                      <a:pt x="27" y="1459"/>
                    </a:lnTo>
                    <a:lnTo>
                      <a:pt x="34" y="1487"/>
                    </a:lnTo>
                    <a:lnTo>
                      <a:pt x="43" y="1515"/>
                    </a:lnTo>
                    <a:lnTo>
                      <a:pt x="54" y="1543"/>
                    </a:lnTo>
                    <a:lnTo>
                      <a:pt x="65" y="1569"/>
                    </a:lnTo>
                    <a:lnTo>
                      <a:pt x="77" y="1594"/>
                    </a:lnTo>
                    <a:lnTo>
                      <a:pt x="91" y="1619"/>
                    </a:lnTo>
                    <a:lnTo>
                      <a:pt x="106" y="1643"/>
                    </a:lnTo>
                    <a:lnTo>
                      <a:pt x="122" y="1666"/>
                    </a:lnTo>
                    <a:lnTo>
                      <a:pt x="139" y="1688"/>
                    </a:lnTo>
                    <a:lnTo>
                      <a:pt x="157" y="1709"/>
                    </a:lnTo>
                    <a:lnTo>
                      <a:pt x="177" y="1729"/>
                    </a:lnTo>
                    <a:lnTo>
                      <a:pt x="198" y="1747"/>
                    </a:lnTo>
                    <a:lnTo>
                      <a:pt x="221" y="1765"/>
                    </a:lnTo>
                    <a:lnTo>
                      <a:pt x="244" y="1782"/>
                    </a:lnTo>
                    <a:lnTo>
                      <a:pt x="270" y="1797"/>
                    </a:lnTo>
                    <a:lnTo>
                      <a:pt x="296" y="1811"/>
                    </a:lnTo>
                    <a:lnTo>
                      <a:pt x="324" y="1824"/>
                    </a:lnTo>
                    <a:lnTo>
                      <a:pt x="338" y="1830"/>
                    </a:lnTo>
                    <a:lnTo>
                      <a:pt x="353" y="1836"/>
                    </a:lnTo>
                    <a:lnTo>
                      <a:pt x="368" y="1841"/>
                    </a:lnTo>
                    <a:lnTo>
                      <a:pt x="383" y="1846"/>
                    </a:lnTo>
                    <a:lnTo>
                      <a:pt x="415" y="1855"/>
                    </a:lnTo>
                    <a:lnTo>
                      <a:pt x="448" y="1862"/>
                    </a:lnTo>
                    <a:lnTo>
                      <a:pt x="484" y="1868"/>
                    </a:lnTo>
                    <a:lnTo>
                      <a:pt x="520" y="1871"/>
                    </a:lnTo>
                    <a:lnTo>
                      <a:pt x="557" y="1874"/>
                    </a:lnTo>
                    <a:lnTo>
                      <a:pt x="596" y="1875"/>
                    </a:lnTo>
                    <a:lnTo>
                      <a:pt x="628" y="1874"/>
                    </a:lnTo>
                    <a:lnTo>
                      <a:pt x="659" y="1872"/>
                    </a:lnTo>
                    <a:lnTo>
                      <a:pt x="690" y="1869"/>
                    </a:lnTo>
                    <a:lnTo>
                      <a:pt x="721" y="1864"/>
                    </a:lnTo>
                    <a:lnTo>
                      <a:pt x="750" y="1859"/>
                    </a:lnTo>
                    <a:lnTo>
                      <a:pt x="779" y="1852"/>
                    </a:lnTo>
                    <a:lnTo>
                      <a:pt x="806" y="1843"/>
                    </a:lnTo>
                    <a:lnTo>
                      <a:pt x="834" y="18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56" name="Freeform 7"/>
              <p:cNvSpPr>
                <a:spLocks/>
              </p:cNvSpPr>
              <p:nvPr/>
            </p:nvSpPr>
            <p:spPr bwMode="auto">
              <a:xfrm>
                <a:off x="926813" y="259248"/>
                <a:ext cx="121265" cy="194272"/>
              </a:xfrm>
              <a:custGeom>
                <a:avLst/>
                <a:gdLst>
                  <a:gd name="T0" fmla="*/ 197 w 1175"/>
                  <a:gd name="T1" fmla="*/ 1747 h 1875"/>
                  <a:gd name="T2" fmla="*/ 294 w 1175"/>
                  <a:gd name="T3" fmla="*/ 1811 h 1875"/>
                  <a:gd name="T4" fmla="*/ 366 w 1175"/>
                  <a:gd name="T5" fmla="*/ 1841 h 1875"/>
                  <a:gd name="T6" fmla="*/ 481 w 1175"/>
                  <a:gd name="T7" fmla="*/ 1868 h 1875"/>
                  <a:gd name="T8" fmla="*/ 622 w 1175"/>
                  <a:gd name="T9" fmla="*/ 1874 h 1875"/>
                  <a:gd name="T10" fmla="*/ 728 w 1175"/>
                  <a:gd name="T11" fmla="*/ 1863 h 1875"/>
                  <a:gd name="T12" fmla="*/ 826 w 1175"/>
                  <a:gd name="T13" fmla="*/ 1836 h 1875"/>
                  <a:gd name="T14" fmla="*/ 915 w 1175"/>
                  <a:gd name="T15" fmla="*/ 1794 h 1875"/>
                  <a:gd name="T16" fmla="*/ 995 w 1175"/>
                  <a:gd name="T17" fmla="*/ 1737 h 1875"/>
                  <a:gd name="T18" fmla="*/ 1063 w 1175"/>
                  <a:gd name="T19" fmla="*/ 1668 h 1875"/>
                  <a:gd name="T20" fmla="*/ 1116 w 1175"/>
                  <a:gd name="T21" fmla="*/ 1586 h 1875"/>
                  <a:gd name="T22" fmla="*/ 1154 w 1175"/>
                  <a:gd name="T23" fmla="*/ 1493 h 1875"/>
                  <a:gd name="T24" fmla="*/ 806 w 1175"/>
                  <a:gd name="T25" fmla="*/ 1310 h 1875"/>
                  <a:gd name="T26" fmla="*/ 782 w 1175"/>
                  <a:gd name="T27" fmla="*/ 1391 h 1875"/>
                  <a:gd name="T28" fmla="*/ 734 w 1175"/>
                  <a:gd name="T29" fmla="*/ 1452 h 1875"/>
                  <a:gd name="T30" fmla="*/ 669 w 1175"/>
                  <a:gd name="T31" fmla="*/ 1490 h 1875"/>
                  <a:gd name="T32" fmla="*/ 595 w 1175"/>
                  <a:gd name="T33" fmla="*/ 1503 h 1875"/>
                  <a:gd name="T34" fmla="*/ 540 w 1175"/>
                  <a:gd name="T35" fmla="*/ 1499 h 1875"/>
                  <a:gd name="T36" fmla="*/ 496 w 1175"/>
                  <a:gd name="T37" fmla="*/ 1486 h 1875"/>
                  <a:gd name="T38" fmla="*/ 460 w 1175"/>
                  <a:gd name="T39" fmla="*/ 1465 h 1875"/>
                  <a:gd name="T40" fmla="*/ 433 w 1175"/>
                  <a:gd name="T41" fmla="*/ 1435 h 1875"/>
                  <a:gd name="T42" fmla="*/ 398 w 1175"/>
                  <a:gd name="T43" fmla="*/ 1357 h 1875"/>
                  <a:gd name="T44" fmla="*/ 387 w 1175"/>
                  <a:gd name="T45" fmla="*/ 1259 h 1875"/>
                  <a:gd name="T46" fmla="*/ 393 w 1175"/>
                  <a:gd name="T47" fmla="*/ 525 h 1875"/>
                  <a:gd name="T48" fmla="*/ 421 w 1175"/>
                  <a:gd name="T49" fmla="*/ 457 h 1875"/>
                  <a:gd name="T50" fmla="*/ 452 w 1175"/>
                  <a:gd name="T51" fmla="*/ 420 h 1875"/>
                  <a:gd name="T52" fmla="*/ 485 w 1175"/>
                  <a:gd name="T53" fmla="*/ 396 h 1875"/>
                  <a:gd name="T54" fmla="*/ 527 w 1175"/>
                  <a:gd name="T55" fmla="*/ 379 h 1875"/>
                  <a:gd name="T56" fmla="*/ 579 w 1175"/>
                  <a:gd name="T57" fmla="*/ 371 h 1875"/>
                  <a:gd name="T58" fmla="*/ 634 w 1175"/>
                  <a:gd name="T59" fmla="*/ 374 h 1875"/>
                  <a:gd name="T60" fmla="*/ 679 w 1175"/>
                  <a:gd name="T61" fmla="*/ 387 h 1875"/>
                  <a:gd name="T62" fmla="*/ 741 w 1175"/>
                  <a:gd name="T63" fmla="*/ 428 h 1875"/>
                  <a:gd name="T64" fmla="*/ 787 w 1175"/>
                  <a:gd name="T65" fmla="*/ 490 h 1875"/>
                  <a:gd name="T66" fmla="*/ 808 w 1175"/>
                  <a:gd name="T67" fmla="*/ 556 h 1875"/>
                  <a:gd name="T68" fmla="*/ 1165 w 1175"/>
                  <a:gd name="T69" fmla="*/ 417 h 1875"/>
                  <a:gd name="T70" fmla="*/ 1133 w 1175"/>
                  <a:gd name="T71" fmla="*/ 330 h 1875"/>
                  <a:gd name="T72" fmla="*/ 1087 w 1175"/>
                  <a:gd name="T73" fmla="*/ 246 h 1875"/>
                  <a:gd name="T74" fmla="*/ 1028 w 1175"/>
                  <a:gd name="T75" fmla="*/ 173 h 1875"/>
                  <a:gd name="T76" fmla="*/ 957 w 1175"/>
                  <a:gd name="T77" fmla="*/ 110 h 1875"/>
                  <a:gd name="T78" fmla="*/ 871 w 1175"/>
                  <a:gd name="T79" fmla="*/ 59 h 1875"/>
                  <a:gd name="T80" fmla="*/ 770 w 1175"/>
                  <a:gd name="T81" fmla="*/ 21 h 1875"/>
                  <a:gd name="T82" fmla="*/ 656 w 1175"/>
                  <a:gd name="T83" fmla="*/ 2 h 1875"/>
                  <a:gd name="T84" fmla="*/ 516 w 1175"/>
                  <a:gd name="T85" fmla="*/ 3 h 1875"/>
                  <a:gd name="T86" fmla="*/ 410 w 1175"/>
                  <a:gd name="T87" fmla="*/ 21 h 1875"/>
                  <a:gd name="T88" fmla="*/ 348 w 1175"/>
                  <a:gd name="T89" fmla="*/ 41 h 1875"/>
                  <a:gd name="T90" fmla="*/ 265 w 1175"/>
                  <a:gd name="T91" fmla="*/ 83 h 1875"/>
                  <a:gd name="T92" fmla="*/ 174 w 1175"/>
                  <a:gd name="T93" fmla="*/ 152 h 1875"/>
                  <a:gd name="T94" fmla="*/ 102 w 1175"/>
                  <a:gd name="T95" fmla="*/ 236 h 1875"/>
                  <a:gd name="T96" fmla="*/ 51 w 1175"/>
                  <a:gd name="T97" fmla="*/ 332 h 1875"/>
                  <a:gd name="T98" fmla="*/ 19 w 1175"/>
                  <a:gd name="T99" fmla="*/ 435 h 1875"/>
                  <a:gd name="T100" fmla="*/ 2 w 1175"/>
                  <a:gd name="T101" fmla="*/ 539 h 1875"/>
                  <a:gd name="T102" fmla="*/ 1 w 1175"/>
                  <a:gd name="T103" fmla="*/ 1279 h 1875"/>
                  <a:gd name="T104" fmla="*/ 14 w 1175"/>
                  <a:gd name="T105" fmla="*/ 1401 h 1875"/>
                  <a:gd name="T106" fmla="*/ 43 w 1175"/>
                  <a:gd name="T107" fmla="*/ 1515 h 1875"/>
                  <a:gd name="T108" fmla="*/ 90 w 1175"/>
                  <a:gd name="T109" fmla="*/ 1619 h 1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75" h="1875">
                    <a:moveTo>
                      <a:pt x="138" y="1688"/>
                    </a:moveTo>
                    <a:lnTo>
                      <a:pt x="157" y="1709"/>
                    </a:lnTo>
                    <a:lnTo>
                      <a:pt x="176" y="1729"/>
                    </a:lnTo>
                    <a:lnTo>
                      <a:pt x="197" y="1747"/>
                    </a:lnTo>
                    <a:lnTo>
                      <a:pt x="219" y="1765"/>
                    </a:lnTo>
                    <a:lnTo>
                      <a:pt x="243" y="1781"/>
                    </a:lnTo>
                    <a:lnTo>
                      <a:pt x="268" y="1797"/>
                    </a:lnTo>
                    <a:lnTo>
                      <a:pt x="294" y="1811"/>
                    </a:lnTo>
                    <a:lnTo>
                      <a:pt x="321" y="1824"/>
                    </a:lnTo>
                    <a:lnTo>
                      <a:pt x="335" y="1830"/>
                    </a:lnTo>
                    <a:lnTo>
                      <a:pt x="351" y="1836"/>
                    </a:lnTo>
                    <a:lnTo>
                      <a:pt x="366" y="1841"/>
                    </a:lnTo>
                    <a:lnTo>
                      <a:pt x="381" y="1846"/>
                    </a:lnTo>
                    <a:lnTo>
                      <a:pt x="413" y="1855"/>
                    </a:lnTo>
                    <a:lnTo>
                      <a:pt x="446" y="1862"/>
                    </a:lnTo>
                    <a:lnTo>
                      <a:pt x="481" y="1868"/>
                    </a:lnTo>
                    <a:lnTo>
                      <a:pt x="517" y="1872"/>
                    </a:lnTo>
                    <a:lnTo>
                      <a:pt x="555" y="1874"/>
                    </a:lnTo>
                    <a:lnTo>
                      <a:pt x="595" y="1875"/>
                    </a:lnTo>
                    <a:lnTo>
                      <a:pt x="622" y="1874"/>
                    </a:lnTo>
                    <a:lnTo>
                      <a:pt x="650" y="1873"/>
                    </a:lnTo>
                    <a:lnTo>
                      <a:pt x="676" y="1871"/>
                    </a:lnTo>
                    <a:lnTo>
                      <a:pt x="702" y="1867"/>
                    </a:lnTo>
                    <a:lnTo>
                      <a:pt x="728" y="1863"/>
                    </a:lnTo>
                    <a:lnTo>
                      <a:pt x="753" y="1858"/>
                    </a:lnTo>
                    <a:lnTo>
                      <a:pt x="778" y="1851"/>
                    </a:lnTo>
                    <a:lnTo>
                      <a:pt x="802" y="1844"/>
                    </a:lnTo>
                    <a:lnTo>
                      <a:pt x="826" y="1836"/>
                    </a:lnTo>
                    <a:lnTo>
                      <a:pt x="849" y="1827"/>
                    </a:lnTo>
                    <a:lnTo>
                      <a:pt x="872" y="1817"/>
                    </a:lnTo>
                    <a:lnTo>
                      <a:pt x="894" y="1806"/>
                    </a:lnTo>
                    <a:lnTo>
                      <a:pt x="915" y="1794"/>
                    </a:lnTo>
                    <a:lnTo>
                      <a:pt x="936" y="1782"/>
                    </a:lnTo>
                    <a:lnTo>
                      <a:pt x="956" y="1768"/>
                    </a:lnTo>
                    <a:lnTo>
                      <a:pt x="976" y="1753"/>
                    </a:lnTo>
                    <a:lnTo>
                      <a:pt x="995" y="1737"/>
                    </a:lnTo>
                    <a:lnTo>
                      <a:pt x="1013" y="1721"/>
                    </a:lnTo>
                    <a:lnTo>
                      <a:pt x="1030" y="1704"/>
                    </a:lnTo>
                    <a:lnTo>
                      <a:pt x="1046" y="1686"/>
                    </a:lnTo>
                    <a:lnTo>
                      <a:pt x="1063" y="1668"/>
                    </a:lnTo>
                    <a:lnTo>
                      <a:pt x="1077" y="1649"/>
                    </a:lnTo>
                    <a:lnTo>
                      <a:pt x="1091" y="1629"/>
                    </a:lnTo>
                    <a:lnTo>
                      <a:pt x="1104" y="1607"/>
                    </a:lnTo>
                    <a:lnTo>
                      <a:pt x="1116" y="1586"/>
                    </a:lnTo>
                    <a:lnTo>
                      <a:pt x="1127" y="1564"/>
                    </a:lnTo>
                    <a:lnTo>
                      <a:pt x="1137" y="1541"/>
                    </a:lnTo>
                    <a:lnTo>
                      <a:pt x="1146" y="1517"/>
                    </a:lnTo>
                    <a:lnTo>
                      <a:pt x="1154" y="1493"/>
                    </a:lnTo>
                    <a:lnTo>
                      <a:pt x="1161" y="1468"/>
                    </a:lnTo>
                    <a:lnTo>
                      <a:pt x="1167" y="1442"/>
                    </a:lnTo>
                    <a:lnTo>
                      <a:pt x="1173" y="1416"/>
                    </a:lnTo>
                    <a:lnTo>
                      <a:pt x="806" y="1310"/>
                    </a:lnTo>
                    <a:lnTo>
                      <a:pt x="802" y="1332"/>
                    </a:lnTo>
                    <a:lnTo>
                      <a:pt x="797" y="1353"/>
                    </a:lnTo>
                    <a:lnTo>
                      <a:pt x="791" y="1372"/>
                    </a:lnTo>
                    <a:lnTo>
                      <a:pt x="782" y="1391"/>
                    </a:lnTo>
                    <a:lnTo>
                      <a:pt x="773" y="1408"/>
                    </a:lnTo>
                    <a:lnTo>
                      <a:pt x="761" y="1423"/>
                    </a:lnTo>
                    <a:lnTo>
                      <a:pt x="749" y="1438"/>
                    </a:lnTo>
                    <a:lnTo>
                      <a:pt x="734" y="1452"/>
                    </a:lnTo>
                    <a:lnTo>
                      <a:pt x="719" y="1464"/>
                    </a:lnTo>
                    <a:lnTo>
                      <a:pt x="703" y="1474"/>
                    </a:lnTo>
                    <a:lnTo>
                      <a:pt x="686" y="1483"/>
                    </a:lnTo>
                    <a:lnTo>
                      <a:pt x="669" y="1490"/>
                    </a:lnTo>
                    <a:lnTo>
                      <a:pt x="651" y="1496"/>
                    </a:lnTo>
                    <a:lnTo>
                      <a:pt x="633" y="1500"/>
                    </a:lnTo>
                    <a:lnTo>
                      <a:pt x="614" y="1502"/>
                    </a:lnTo>
                    <a:lnTo>
                      <a:pt x="595" y="1503"/>
                    </a:lnTo>
                    <a:lnTo>
                      <a:pt x="580" y="1503"/>
                    </a:lnTo>
                    <a:lnTo>
                      <a:pt x="566" y="1502"/>
                    </a:lnTo>
                    <a:lnTo>
                      <a:pt x="553" y="1501"/>
                    </a:lnTo>
                    <a:lnTo>
                      <a:pt x="540" y="1499"/>
                    </a:lnTo>
                    <a:lnTo>
                      <a:pt x="529" y="1497"/>
                    </a:lnTo>
                    <a:lnTo>
                      <a:pt x="517" y="1494"/>
                    </a:lnTo>
                    <a:lnTo>
                      <a:pt x="506" y="1490"/>
                    </a:lnTo>
                    <a:lnTo>
                      <a:pt x="496" y="1486"/>
                    </a:lnTo>
                    <a:lnTo>
                      <a:pt x="486" y="1482"/>
                    </a:lnTo>
                    <a:lnTo>
                      <a:pt x="477" y="1477"/>
                    </a:lnTo>
                    <a:lnTo>
                      <a:pt x="468" y="1471"/>
                    </a:lnTo>
                    <a:lnTo>
                      <a:pt x="460" y="1465"/>
                    </a:lnTo>
                    <a:lnTo>
                      <a:pt x="453" y="1458"/>
                    </a:lnTo>
                    <a:lnTo>
                      <a:pt x="446" y="1451"/>
                    </a:lnTo>
                    <a:lnTo>
                      <a:pt x="439" y="1443"/>
                    </a:lnTo>
                    <a:lnTo>
                      <a:pt x="433" y="1435"/>
                    </a:lnTo>
                    <a:lnTo>
                      <a:pt x="422" y="1417"/>
                    </a:lnTo>
                    <a:lnTo>
                      <a:pt x="413" y="1398"/>
                    </a:lnTo>
                    <a:lnTo>
                      <a:pt x="405" y="1378"/>
                    </a:lnTo>
                    <a:lnTo>
                      <a:pt x="398" y="1357"/>
                    </a:lnTo>
                    <a:lnTo>
                      <a:pt x="393" y="1334"/>
                    </a:lnTo>
                    <a:lnTo>
                      <a:pt x="390" y="1311"/>
                    </a:lnTo>
                    <a:lnTo>
                      <a:pt x="387" y="1285"/>
                    </a:lnTo>
                    <a:lnTo>
                      <a:pt x="387" y="1259"/>
                    </a:lnTo>
                    <a:lnTo>
                      <a:pt x="387" y="575"/>
                    </a:lnTo>
                    <a:lnTo>
                      <a:pt x="387" y="558"/>
                    </a:lnTo>
                    <a:lnTo>
                      <a:pt x="389" y="542"/>
                    </a:lnTo>
                    <a:lnTo>
                      <a:pt x="393" y="525"/>
                    </a:lnTo>
                    <a:lnTo>
                      <a:pt x="398" y="507"/>
                    </a:lnTo>
                    <a:lnTo>
                      <a:pt x="404" y="490"/>
                    </a:lnTo>
                    <a:lnTo>
                      <a:pt x="411" y="473"/>
                    </a:lnTo>
                    <a:lnTo>
                      <a:pt x="421" y="457"/>
                    </a:lnTo>
                    <a:lnTo>
                      <a:pt x="432" y="441"/>
                    </a:lnTo>
                    <a:lnTo>
                      <a:pt x="438" y="434"/>
                    </a:lnTo>
                    <a:lnTo>
                      <a:pt x="445" y="427"/>
                    </a:lnTo>
                    <a:lnTo>
                      <a:pt x="452" y="420"/>
                    </a:lnTo>
                    <a:lnTo>
                      <a:pt x="460" y="413"/>
                    </a:lnTo>
                    <a:lnTo>
                      <a:pt x="468" y="407"/>
                    </a:lnTo>
                    <a:lnTo>
                      <a:pt x="476" y="401"/>
                    </a:lnTo>
                    <a:lnTo>
                      <a:pt x="485" y="396"/>
                    </a:lnTo>
                    <a:lnTo>
                      <a:pt x="495" y="391"/>
                    </a:lnTo>
                    <a:lnTo>
                      <a:pt x="505" y="386"/>
                    </a:lnTo>
                    <a:lnTo>
                      <a:pt x="516" y="382"/>
                    </a:lnTo>
                    <a:lnTo>
                      <a:pt x="527" y="379"/>
                    </a:lnTo>
                    <a:lnTo>
                      <a:pt x="539" y="376"/>
                    </a:lnTo>
                    <a:lnTo>
                      <a:pt x="552" y="374"/>
                    </a:lnTo>
                    <a:lnTo>
                      <a:pt x="565" y="372"/>
                    </a:lnTo>
                    <a:lnTo>
                      <a:pt x="579" y="371"/>
                    </a:lnTo>
                    <a:lnTo>
                      <a:pt x="595" y="371"/>
                    </a:lnTo>
                    <a:lnTo>
                      <a:pt x="608" y="371"/>
                    </a:lnTo>
                    <a:lnTo>
                      <a:pt x="621" y="372"/>
                    </a:lnTo>
                    <a:lnTo>
                      <a:pt x="634" y="374"/>
                    </a:lnTo>
                    <a:lnTo>
                      <a:pt x="646" y="376"/>
                    </a:lnTo>
                    <a:lnTo>
                      <a:pt x="657" y="379"/>
                    </a:lnTo>
                    <a:lnTo>
                      <a:pt x="668" y="383"/>
                    </a:lnTo>
                    <a:lnTo>
                      <a:pt x="679" y="387"/>
                    </a:lnTo>
                    <a:lnTo>
                      <a:pt x="689" y="392"/>
                    </a:lnTo>
                    <a:lnTo>
                      <a:pt x="708" y="403"/>
                    </a:lnTo>
                    <a:lnTo>
                      <a:pt x="725" y="415"/>
                    </a:lnTo>
                    <a:lnTo>
                      <a:pt x="741" y="428"/>
                    </a:lnTo>
                    <a:lnTo>
                      <a:pt x="755" y="442"/>
                    </a:lnTo>
                    <a:lnTo>
                      <a:pt x="767" y="457"/>
                    </a:lnTo>
                    <a:lnTo>
                      <a:pt x="778" y="473"/>
                    </a:lnTo>
                    <a:lnTo>
                      <a:pt x="787" y="490"/>
                    </a:lnTo>
                    <a:lnTo>
                      <a:pt x="794" y="507"/>
                    </a:lnTo>
                    <a:lnTo>
                      <a:pt x="799" y="524"/>
                    </a:lnTo>
                    <a:lnTo>
                      <a:pt x="804" y="541"/>
                    </a:lnTo>
                    <a:lnTo>
                      <a:pt x="808" y="556"/>
                    </a:lnTo>
                    <a:lnTo>
                      <a:pt x="811" y="569"/>
                    </a:lnTo>
                    <a:lnTo>
                      <a:pt x="1175" y="461"/>
                    </a:lnTo>
                    <a:lnTo>
                      <a:pt x="1170" y="439"/>
                    </a:lnTo>
                    <a:lnTo>
                      <a:pt x="1165" y="417"/>
                    </a:lnTo>
                    <a:lnTo>
                      <a:pt x="1158" y="395"/>
                    </a:lnTo>
                    <a:lnTo>
                      <a:pt x="1150" y="373"/>
                    </a:lnTo>
                    <a:lnTo>
                      <a:pt x="1142" y="351"/>
                    </a:lnTo>
                    <a:lnTo>
                      <a:pt x="1133" y="330"/>
                    </a:lnTo>
                    <a:lnTo>
                      <a:pt x="1123" y="309"/>
                    </a:lnTo>
                    <a:lnTo>
                      <a:pt x="1112" y="288"/>
                    </a:lnTo>
                    <a:lnTo>
                      <a:pt x="1100" y="266"/>
                    </a:lnTo>
                    <a:lnTo>
                      <a:pt x="1087" y="246"/>
                    </a:lnTo>
                    <a:lnTo>
                      <a:pt x="1074" y="227"/>
                    </a:lnTo>
                    <a:lnTo>
                      <a:pt x="1060" y="208"/>
                    </a:lnTo>
                    <a:lnTo>
                      <a:pt x="1044" y="190"/>
                    </a:lnTo>
                    <a:lnTo>
                      <a:pt x="1028" y="173"/>
                    </a:lnTo>
                    <a:lnTo>
                      <a:pt x="1011" y="156"/>
                    </a:lnTo>
                    <a:lnTo>
                      <a:pt x="994" y="140"/>
                    </a:lnTo>
                    <a:lnTo>
                      <a:pt x="976" y="125"/>
                    </a:lnTo>
                    <a:lnTo>
                      <a:pt x="957" y="110"/>
                    </a:lnTo>
                    <a:lnTo>
                      <a:pt x="937" y="96"/>
                    </a:lnTo>
                    <a:lnTo>
                      <a:pt x="916" y="82"/>
                    </a:lnTo>
                    <a:lnTo>
                      <a:pt x="894" y="70"/>
                    </a:lnTo>
                    <a:lnTo>
                      <a:pt x="871" y="59"/>
                    </a:lnTo>
                    <a:lnTo>
                      <a:pt x="847" y="48"/>
                    </a:lnTo>
                    <a:lnTo>
                      <a:pt x="822" y="38"/>
                    </a:lnTo>
                    <a:lnTo>
                      <a:pt x="796" y="29"/>
                    </a:lnTo>
                    <a:lnTo>
                      <a:pt x="770" y="21"/>
                    </a:lnTo>
                    <a:lnTo>
                      <a:pt x="742" y="15"/>
                    </a:lnTo>
                    <a:lnTo>
                      <a:pt x="714" y="9"/>
                    </a:lnTo>
                    <a:lnTo>
                      <a:pt x="686" y="5"/>
                    </a:lnTo>
                    <a:lnTo>
                      <a:pt x="656" y="2"/>
                    </a:lnTo>
                    <a:lnTo>
                      <a:pt x="626" y="1"/>
                    </a:lnTo>
                    <a:lnTo>
                      <a:pt x="595" y="0"/>
                    </a:lnTo>
                    <a:lnTo>
                      <a:pt x="554" y="1"/>
                    </a:lnTo>
                    <a:lnTo>
                      <a:pt x="516" y="3"/>
                    </a:lnTo>
                    <a:lnTo>
                      <a:pt x="479" y="7"/>
                    </a:lnTo>
                    <a:lnTo>
                      <a:pt x="444" y="13"/>
                    </a:lnTo>
                    <a:lnTo>
                      <a:pt x="427" y="17"/>
                    </a:lnTo>
                    <a:lnTo>
                      <a:pt x="410" y="21"/>
                    </a:lnTo>
                    <a:lnTo>
                      <a:pt x="394" y="25"/>
                    </a:lnTo>
                    <a:lnTo>
                      <a:pt x="378" y="30"/>
                    </a:lnTo>
                    <a:lnTo>
                      <a:pt x="363" y="35"/>
                    </a:lnTo>
                    <a:lnTo>
                      <a:pt x="348" y="41"/>
                    </a:lnTo>
                    <a:lnTo>
                      <a:pt x="332" y="47"/>
                    </a:lnTo>
                    <a:lnTo>
                      <a:pt x="318" y="54"/>
                    </a:lnTo>
                    <a:lnTo>
                      <a:pt x="291" y="68"/>
                    </a:lnTo>
                    <a:lnTo>
                      <a:pt x="265" y="83"/>
                    </a:lnTo>
                    <a:lnTo>
                      <a:pt x="240" y="99"/>
                    </a:lnTo>
                    <a:lnTo>
                      <a:pt x="217" y="116"/>
                    </a:lnTo>
                    <a:lnTo>
                      <a:pt x="194" y="134"/>
                    </a:lnTo>
                    <a:lnTo>
                      <a:pt x="174" y="152"/>
                    </a:lnTo>
                    <a:lnTo>
                      <a:pt x="154" y="172"/>
                    </a:lnTo>
                    <a:lnTo>
                      <a:pt x="136" y="193"/>
                    </a:lnTo>
                    <a:lnTo>
                      <a:pt x="119" y="214"/>
                    </a:lnTo>
                    <a:lnTo>
                      <a:pt x="102" y="236"/>
                    </a:lnTo>
                    <a:lnTo>
                      <a:pt x="88" y="259"/>
                    </a:lnTo>
                    <a:lnTo>
                      <a:pt x="74" y="282"/>
                    </a:lnTo>
                    <a:lnTo>
                      <a:pt x="62" y="307"/>
                    </a:lnTo>
                    <a:lnTo>
                      <a:pt x="51" y="332"/>
                    </a:lnTo>
                    <a:lnTo>
                      <a:pt x="41" y="357"/>
                    </a:lnTo>
                    <a:lnTo>
                      <a:pt x="33" y="383"/>
                    </a:lnTo>
                    <a:lnTo>
                      <a:pt x="25" y="409"/>
                    </a:lnTo>
                    <a:lnTo>
                      <a:pt x="19" y="435"/>
                    </a:lnTo>
                    <a:lnTo>
                      <a:pt x="13" y="461"/>
                    </a:lnTo>
                    <a:lnTo>
                      <a:pt x="9" y="487"/>
                    </a:lnTo>
                    <a:lnTo>
                      <a:pt x="5" y="513"/>
                    </a:lnTo>
                    <a:lnTo>
                      <a:pt x="2" y="539"/>
                    </a:lnTo>
                    <a:lnTo>
                      <a:pt x="1" y="565"/>
                    </a:lnTo>
                    <a:lnTo>
                      <a:pt x="0" y="591"/>
                    </a:lnTo>
                    <a:lnTo>
                      <a:pt x="0" y="1248"/>
                    </a:lnTo>
                    <a:lnTo>
                      <a:pt x="1" y="1279"/>
                    </a:lnTo>
                    <a:lnTo>
                      <a:pt x="3" y="1311"/>
                    </a:lnTo>
                    <a:lnTo>
                      <a:pt x="5" y="1341"/>
                    </a:lnTo>
                    <a:lnTo>
                      <a:pt x="9" y="1371"/>
                    </a:lnTo>
                    <a:lnTo>
                      <a:pt x="14" y="1401"/>
                    </a:lnTo>
                    <a:lnTo>
                      <a:pt x="20" y="1430"/>
                    </a:lnTo>
                    <a:lnTo>
                      <a:pt x="27" y="1459"/>
                    </a:lnTo>
                    <a:lnTo>
                      <a:pt x="34" y="1487"/>
                    </a:lnTo>
                    <a:lnTo>
                      <a:pt x="43" y="1515"/>
                    </a:lnTo>
                    <a:lnTo>
                      <a:pt x="53" y="1543"/>
                    </a:lnTo>
                    <a:lnTo>
                      <a:pt x="64" y="1569"/>
                    </a:lnTo>
                    <a:lnTo>
                      <a:pt x="77" y="1594"/>
                    </a:lnTo>
                    <a:lnTo>
                      <a:pt x="90" y="1619"/>
                    </a:lnTo>
                    <a:lnTo>
                      <a:pt x="105" y="1643"/>
                    </a:lnTo>
                    <a:lnTo>
                      <a:pt x="121" y="1666"/>
                    </a:lnTo>
                    <a:lnTo>
                      <a:pt x="138" y="16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57" name="Freeform 8"/>
              <p:cNvSpPr>
                <a:spLocks/>
              </p:cNvSpPr>
              <p:nvPr/>
            </p:nvSpPr>
            <p:spPr bwMode="auto">
              <a:xfrm>
                <a:off x="1081488" y="259248"/>
                <a:ext cx="121265" cy="194272"/>
              </a:xfrm>
              <a:custGeom>
                <a:avLst/>
                <a:gdLst>
                  <a:gd name="T0" fmla="*/ 419 w 1174"/>
                  <a:gd name="T1" fmla="*/ 457 h 1875"/>
                  <a:gd name="T2" fmla="*/ 450 w 1174"/>
                  <a:gd name="T3" fmla="*/ 420 h 1875"/>
                  <a:gd name="T4" fmla="*/ 484 w 1174"/>
                  <a:gd name="T5" fmla="*/ 396 h 1875"/>
                  <a:gd name="T6" fmla="*/ 527 w 1174"/>
                  <a:gd name="T7" fmla="*/ 379 h 1875"/>
                  <a:gd name="T8" fmla="*/ 579 w 1174"/>
                  <a:gd name="T9" fmla="*/ 371 h 1875"/>
                  <a:gd name="T10" fmla="*/ 632 w 1174"/>
                  <a:gd name="T11" fmla="*/ 374 h 1875"/>
                  <a:gd name="T12" fmla="*/ 677 w 1174"/>
                  <a:gd name="T13" fmla="*/ 387 h 1875"/>
                  <a:gd name="T14" fmla="*/ 741 w 1174"/>
                  <a:gd name="T15" fmla="*/ 428 h 1875"/>
                  <a:gd name="T16" fmla="*/ 782 w 1174"/>
                  <a:gd name="T17" fmla="*/ 481 h 1875"/>
                  <a:gd name="T18" fmla="*/ 798 w 1174"/>
                  <a:gd name="T19" fmla="*/ 524 h 1875"/>
                  <a:gd name="T20" fmla="*/ 1174 w 1174"/>
                  <a:gd name="T21" fmla="*/ 461 h 1875"/>
                  <a:gd name="T22" fmla="*/ 1149 w 1174"/>
                  <a:gd name="T23" fmla="*/ 373 h 1875"/>
                  <a:gd name="T24" fmla="*/ 1110 w 1174"/>
                  <a:gd name="T25" fmla="*/ 288 h 1875"/>
                  <a:gd name="T26" fmla="*/ 1059 w 1174"/>
                  <a:gd name="T27" fmla="*/ 208 h 1875"/>
                  <a:gd name="T28" fmla="*/ 994 w 1174"/>
                  <a:gd name="T29" fmla="*/ 140 h 1875"/>
                  <a:gd name="T30" fmla="*/ 914 w 1174"/>
                  <a:gd name="T31" fmla="*/ 83 h 1875"/>
                  <a:gd name="T32" fmla="*/ 821 w 1174"/>
                  <a:gd name="T33" fmla="*/ 38 h 1875"/>
                  <a:gd name="T34" fmla="*/ 713 w 1174"/>
                  <a:gd name="T35" fmla="*/ 9 h 1875"/>
                  <a:gd name="T36" fmla="*/ 593 w 1174"/>
                  <a:gd name="T37" fmla="*/ 0 h 1875"/>
                  <a:gd name="T38" fmla="*/ 443 w 1174"/>
                  <a:gd name="T39" fmla="*/ 13 h 1875"/>
                  <a:gd name="T40" fmla="*/ 377 w 1174"/>
                  <a:gd name="T41" fmla="*/ 30 h 1875"/>
                  <a:gd name="T42" fmla="*/ 318 w 1174"/>
                  <a:gd name="T43" fmla="*/ 54 h 1875"/>
                  <a:gd name="T44" fmla="*/ 215 w 1174"/>
                  <a:gd name="T45" fmla="*/ 116 h 1875"/>
                  <a:gd name="T46" fmla="*/ 134 w 1174"/>
                  <a:gd name="T47" fmla="*/ 193 h 1875"/>
                  <a:gd name="T48" fmla="*/ 74 w 1174"/>
                  <a:gd name="T49" fmla="*/ 282 h 1875"/>
                  <a:gd name="T50" fmla="*/ 33 w 1174"/>
                  <a:gd name="T51" fmla="*/ 383 h 1875"/>
                  <a:gd name="T52" fmla="*/ 8 w 1174"/>
                  <a:gd name="T53" fmla="*/ 487 h 1875"/>
                  <a:gd name="T54" fmla="*/ 0 w 1174"/>
                  <a:gd name="T55" fmla="*/ 591 h 1875"/>
                  <a:gd name="T56" fmla="*/ 5 w 1174"/>
                  <a:gd name="T57" fmla="*/ 1341 h 1875"/>
                  <a:gd name="T58" fmla="*/ 25 w 1174"/>
                  <a:gd name="T59" fmla="*/ 1459 h 1875"/>
                  <a:gd name="T60" fmla="*/ 64 w 1174"/>
                  <a:gd name="T61" fmla="*/ 1569 h 1875"/>
                  <a:gd name="T62" fmla="*/ 120 w 1174"/>
                  <a:gd name="T63" fmla="*/ 1666 h 1875"/>
                  <a:gd name="T64" fmla="*/ 196 w 1174"/>
                  <a:gd name="T65" fmla="*/ 1747 h 1875"/>
                  <a:gd name="T66" fmla="*/ 293 w 1174"/>
                  <a:gd name="T67" fmla="*/ 1811 h 1875"/>
                  <a:gd name="T68" fmla="*/ 364 w 1174"/>
                  <a:gd name="T69" fmla="*/ 1841 h 1875"/>
                  <a:gd name="T70" fmla="*/ 479 w 1174"/>
                  <a:gd name="T71" fmla="*/ 1868 h 1875"/>
                  <a:gd name="T72" fmla="*/ 621 w 1174"/>
                  <a:gd name="T73" fmla="*/ 1874 h 1875"/>
                  <a:gd name="T74" fmla="*/ 726 w 1174"/>
                  <a:gd name="T75" fmla="*/ 1863 h 1875"/>
                  <a:gd name="T76" fmla="*/ 825 w 1174"/>
                  <a:gd name="T77" fmla="*/ 1836 h 1875"/>
                  <a:gd name="T78" fmla="*/ 913 w 1174"/>
                  <a:gd name="T79" fmla="*/ 1794 h 1875"/>
                  <a:gd name="T80" fmla="*/ 994 w 1174"/>
                  <a:gd name="T81" fmla="*/ 1737 h 1875"/>
                  <a:gd name="T82" fmla="*/ 1061 w 1174"/>
                  <a:gd name="T83" fmla="*/ 1668 h 1875"/>
                  <a:gd name="T84" fmla="*/ 1114 w 1174"/>
                  <a:gd name="T85" fmla="*/ 1586 h 1875"/>
                  <a:gd name="T86" fmla="*/ 1152 w 1174"/>
                  <a:gd name="T87" fmla="*/ 1493 h 1875"/>
                  <a:gd name="T88" fmla="*/ 806 w 1174"/>
                  <a:gd name="T89" fmla="*/ 1310 h 1875"/>
                  <a:gd name="T90" fmla="*/ 782 w 1174"/>
                  <a:gd name="T91" fmla="*/ 1390 h 1875"/>
                  <a:gd name="T92" fmla="*/ 733 w 1174"/>
                  <a:gd name="T93" fmla="*/ 1452 h 1875"/>
                  <a:gd name="T94" fmla="*/ 667 w 1174"/>
                  <a:gd name="T95" fmla="*/ 1490 h 1875"/>
                  <a:gd name="T96" fmla="*/ 593 w 1174"/>
                  <a:gd name="T97" fmla="*/ 1503 h 1875"/>
                  <a:gd name="T98" fmla="*/ 540 w 1174"/>
                  <a:gd name="T99" fmla="*/ 1499 h 1875"/>
                  <a:gd name="T100" fmla="*/ 495 w 1174"/>
                  <a:gd name="T101" fmla="*/ 1486 h 1875"/>
                  <a:gd name="T102" fmla="*/ 459 w 1174"/>
                  <a:gd name="T103" fmla="*/ 1465 h 1875"/>
                  <a:gd name="T104" fmla="*/ 432 w 1174"/>
                  <a:gd name="T105" fmla="*/ 1435 h 1875"/>
                  <a:gd name="T106" fmla="*/ 397 w 1174"/>
                  <a:gd name="T107" fmla="*/ 1357 h 1875"/>
                  <a:gd name="T108" fmla="*/ 385 w 1174"/>
                  <a:gd name="T109" fmla="*/ 1259 h 1875"/>
                  <a:gd name="T110" fmla="*/ 391 w 1174"/>
                  <a:gd name="T111" fmla="*/ 525 h 1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74" h="1875">
                    <a:moveTo>
                      <a:pt x="396" y="507"/>
                    </a:moveTo>
                    <a:lnTo>
                      <a:pt x="402" y="490"/>
                    </a:lnTo>
                    <a:lnTo>
                      <a:pt x="410" y="473"/>
                    </a:lnTo>
                    <a:lnTo>
                      <a:pt x="419" y="457"/>
                    </a:lnTo>
                    <a:lnTo>
                      <a:pt x="430" y="441"/>
                    </a:lnTo>
                    <a:lnTo>
                      <a:pt x="436" y="434"/>
                    </a:lnTo>
                    <a:lnTo>
                      <a:pt x="443" y="427"/>
                    </a:lnTo>
                    <a:lnTo>
                      <a:pt x="450" y="420"/>
                    </a:lnTo>
                    <a:lnTo>
                      <a:pt x="458" y="413"/>
                    </a:lnTo>
                    <a:lnTo>
                      <a:pt x="466" y="407"/>
                    </a:lnTo>
                    <a:lnTo>
                      <a:pt x="475" y="401"/>
                    </a:lnTo>
                    <a:lnTo>
                      <a:pt x="484" y="396"/>
                    </a:lnTo>
                    <a:lnTo>
                      <a:pt x="494" y="391"/>
                    </a:lnTo>
                    <a:lnTo>
                      <a:pt x="505" y="386"/>
                    </a:lnTo>
                    <a:lnTo>
                      <a:pt x="516" y="382"/>
                    </a:lnTo>
                    <a:lnTo>
                      <a:pt x="527" y="379"/>
                    </a:lnTo>
                    <a:lnTo>
                      <a:pt x="539" y="376"/>
                    </a:lnTo>
                    <a:lnTo>
                      <a:pt x="552" y="374"/>
                    </a:lnTo>
                    <a:lnTo>
                      <a:pt x="565" y="372"/>
                    </a:lnTo>
                    <a:lnTo>
                      <a:pt x="579" y="371"/>
                    </a:lnTo>
                    <a:lnTo>
                      <a:pt x="593" y="371"/>
                    </a:lnTo>
                    <a:lnTo>
                      <a:pt x="606" y="371"/>
                    </a:lnTo>
                    <a:lnTo>
                      <a:pt x="619" y="372"/>
                    </a:lnTo>
                    <a:lnTo>
                      <a:pt x="632" y="374"/>
                    </a:lnTo>
                    <a:lnTo>
                      <a:pt x="644" y="376"/>
                    </a:lnTo>
                    <a:lnTo>
                      <a:pt x="656" y="379"/>
                    </a:lnTo>
                    <a:lnTo>
                      <a:pt x="667" y="383"/>
                    </a:lnTo>
                    <a:lnTo>
                      <a:pt x="677" y="387"/>
                    </a:lnTo>
                    <a:lnTo>
                      <a:pt x="688" y="392"/>
                    </a:lnTo>
                    <a:lnTo>
                      <a:pt x="707" y="403"/>
                    </a:lnTo>
                    <a:lnTo>
                      <a:pt x="724" y="415"/>
                    </a:lnTo>
                    <a:lnTo>
                      <a:pt x="741" y="428"/>
                    </a:lnTo>
                    <a:lnTo>
                      <a:pt x="755" y="442"/>
                    </a:lnTo>
                    <a:lnTo>
                      <a:pt x="767" y="457"/>
                    </a:lnTo>
                    <a:lnTo>
                      <a:pt x="778" y="473"/>
                    </a:lnTo>
                    <a:lnTo>
                      <a:pt x="782" y="481"/>
                    </a:lnTo>
                    <a:lnTo>
                      <a:pt x="786" y="490"/>
                    </a:lnTo>
                    <a:lnTo>
                      <a:pt x="790" y="498"/>
                    </a:lnTo>
                    <a:lnTo>
                      <a:pt x="793" y="507"/>
                    </a:lnTo>
                    <a:lnTo>
                      <a:pt x="798" y="524"/>
                    </a:lnTo>
                    <a:lnTo>
                      <a:pt x="803" y="541"/>
                    </a:lnTo>
                    <a:lnTo>
                      <a:pt x="807" y="556"/>
                    </a:lnTo>
                    <a:lnTo>
                      <a:pt x="810" y="569"/>
                    </a:lnTo>
                    <a:lnTo>
                      <a:pt x="1174" y="461"/>
                    </a:lnTo>
                    <a:lnTo>
                      <a:pt x="1169" y="439"/>
                    </a:lnTo>
                    <a:lnTo>
                      <a:pt x="1163" y="416"/>
                    </a:lnTo>
                    <a:lnTo>
                      <a:pt x="1156" y="395"/>
                    </a:lnTo>
                    <a:lnTo>
                      <a:pt x="1149" y="373"/>
                    </a:lnTo>
                    <a:lnTo>
                      <a:pt x="1140" y="351"/>
                    </a:lnTo>
                    <a:lnTo>
                      <a:pt x="1131" y="330"/>
                    </a:lnTo>
                    <a:lnTo>
                      <a:pt x="1121" y="309"/>
                    </a:lnTo>
                    <a:lnTo>
                      <a:pt x="1110" y="288"/>
                    </a:lnTo>
                    <a:lnTo>
                      <a:pt x="1099" y="266"/>
                    </a:lnTo>
                    <a:lnTo>
                      <a:pt x="1086" y="246"/>
                    </a:lnTo>
                    <a:lnTo>
                      <a:pt x="1073" y="227"/>
                    </a:lnTo>
                    <a:lnTo>
                      <a:pt x="1059" y="208"/>
                    </a:lnTo>
                    <a:lnTo>
                      <a:pt x="1044" y="190"/>
                    </a:lnTo>
                    <a:lnTo>
                      <a:pt x="1028" y="173"/>
                    </a:lnTo>
                    <a:lnTo>
                      <a:pt x="1011" y="156"/>
                    </a:lnTo>
                    <a:lnTo>
                      <a:pt x="994" y="140"/>
                    </a:lnTo>
                    <a:lnTo>
                      <a:pt x="975" y="125"/>
                    </a:lnTo>
                    <a:lnTo>
                      <a:pt x="955" y="110"/>
                    </a:lnTo>
                    <a:lnTo>
                      <a:pt x="935" y="96"/>
                    </a:lnTo>
                    <a:lnTo>
                      <a:pt x="914" y="83"/>
                    </a:lnTo>
                    <a:lnTo>
                      <a:pt x="892" y="70"/>
                    </a:lnTo>
                    <a:lnTo>
                      <a:pt x="869" y="59"/>
                    </a:lnTo>
                    <a:lnTo>
                      <a:pt x="846" y="48"/>
                    </a:lnTo>
                    <a:lnTo>
                      <a:pt x="821" y="38"/>
                    </a:lnTo>
                    <a:lnTo>
                      <a:pt x="796" y="29"/>
                    </a:lnTo>
                    <a:lnTo>
                      <a:pt x="769" y="21"/>
                    </a:lnTo>
                    <a:lnTo>
                      <a:pt x="742" y="15"/>
                    </a:lnTo>
                    <a:lnTo>
                      <a:pt x="713" y="9"/>
                    </a:lnTo>
                    <a:lnTo>
                      <a:pt x="684" y="5"/>
                    </a:lnTo>
                    <a:lnTo>
                      <a:pt x="654" y="2"/>
                    </a:lnTo>
                    <a:lnTo>
                      <a:pt x="624" y="1"/>
                    </a:lnTo>
                    <a:lnTo>
                      <a:pt x="593" y="0"/>
                    </a:lnTo>
                    <a:lnTo>
                      <a:pt x="553" y="1"/>
                    </a:lnTo>
                    <a:lnTo>
                      <a:pt x="515" y="3"/>
                    </a:lnTo>
                    <a:lnTo>
                      <a:pt x="478" y="7"/>
                    </a:lnTo>
                    <a:lnTo>
                      <a:pt x="443" y="13"/>
                    </a:lnTo>
                    <a:lnTo>
                      <a:pt x="426" y="17"/>
                    </a:lnTo>
                    <a:lnTo>
                      <a:pt x="409" y="21"/>
                    </a:lnTo>
                    <a:lnTo>
                      <a:pt x="393" y="25"/>
                    </a:lnTo>
                    <a:lnTo>
                      <a:pt x="377" y="30"/>
                    </a:lnTo>
                    <a:lnTo>
                      <a:pt x="362" y="35"/>
                    </a:lnTo>
                    <a:lnTo>
                      <a:pt x="347" y="41"/>
                    </a:lnTo>
                    <a:lnTo>
                      <a:pt x="332" y="47"/>
                    </a:lnTo>
                    <a:lnTo>
                      <a:pt x="318" y="54"/>
                    </a:lnTo>
                    <a:lnTo>
                      <a:pt x="291" y="68"/>
                    </a:lnTo>
                    <a:lnTo>
                      <a:pt x="264" y="83"/>
                    </a:lnTo>
                    <a:lnTo>
                      <a:pt x="238" y="99"/>
                    </a:lnTo>
                    <a:lnTo>
                      <a:pt x="215" y="116"/>
                    </a:lnTo>
                    <a:lnTo>
                      <a:pt x="193" y="134"/>
                    </a:lnTo>
                    <a:lnTo>
                      <a:pt x="172" y="152"/>
                    </a:lnTo>
                    <a:lnTo>
                      <a:pt x="153" y="172"/>
                    </a:lnTo>
                    <a:lnTo>
                      <a:pt x="134" y="193"/>
                    </a:lnTo>
                    <a:lnTo>
                      <a:pt x="118" y="214"/>
                    </a:lnTo>
                    <a:lnTo>
                      <a:pt x="102" y="236"/>
                    </a:lnTo>
                    <a:lnTo>
                      <a:pt x="87" y="259"/>
                    </a:lnTo>
                    <a:lnTo>
                      <a:pt x="74" y="282"/>
                    </a:lnTo>
                    <a:lnTo>
                      <a:pt x="62" y="307"/>
                    </a:lnTo>
                    <a:lnTo>
                      <a:pt x="51" y="332"/>
                    </a:lnTo>
                    <a:lnTo>
                      <a:pt x="41" y="357"/>
                    </a:lnTo>
                    <a:lnTo>
                      <a:pt x="33" y="383"/>
                    </a:lnTo>
                    <a:lnTo>
                      <a:pt x="24" y="409"/>
                    </a:lnTo>
                    <a:lnTo>
                      <a:pt x="18" y="435"/>
                    </a:lnTo>
                    <a:lnTo>
                      <a:pt x="12" y="461"/>
                    </a:lnTo>
                    <a:lnTo>
                      <a:pt x="8" y="487"/>
                    </a:lnTo>
                    <a:lnTo>
                      <a:pt x="5" y="513"/>
                    </a:lnTo>
                    <a:lnTo>
                      <a:pt x="2" y="539"/>
                    </a:lnTo>
                    <a:lnTo>
                      <a:pt x="1" y="565"/>
                    </a:lnTo>
                    <a:lnTo>
                      <a:pt x="0" y="591"/>
                    </a:lnTo>
                    <a:lnTo>
                      <a:pt x="0" y="1248"/>
                    </a:lnTo>
                    <a:lnTo>
                      <a:pt x="1" y="1279"/>
                    </a:lnTo>
                    <a:lnTo>
                      <a:pt x="2" y="1311"/>
                    </a:lnTo>
                    <a:lnTo>
                      <a:pt x="5" y="1341"/>
                    </a:lnTo>
                    <a:lnTo>
                      <a:pt x="8" y="1371"/>
                    </a:lnTo>
                    <a:lnTo>
                      <a:pt x="13" y="1401"/>
                    </a:lnTo>
                    <a:lnTo>
                      <a:pt x="18" y="1430"/>
                    </a:lnTo>
                    <a:lnTo>
                      <a:pt x="25" y="1459"/>
                    </a:lnTo>
                    <a:lnTo>
                      <a:pt x="34" y="1487"/>
                    </a:lnTo>
                    <a:lnTo>
                      <a:pt x="43" y="1515"/>
                    </a:lnTo>
                    <a:lnTo>
                      <a:pt x="53" y="1543"/>
                    </a:lnTo>
                    <a:lnTo>
                      <a:pt x="64" y="1569"/>
                    </a:lnTo>
                    <a:lnTo>
                      <a:pt x="76" y="1594"/>
                    </a:lnTo>
                    <a:lnTo>
                      <a:pt x="89" y="1619"/>
                    </a:lnTo>
                    <a:lnTo>
                      <a:pt x="104" y="1643"/>
                    </a:lnTo>
                    <a:lnTo>
                      <a:pt x="120" y="1666"/>
                    </a:lnTo>
                    <a:lnTo>
                      <a:pt x="137" y="1688"/>
                    </a:lnTo>
                    <a:lnTo>
                      <a:pt x="155" y="1709"/>
                    </a:lnTo>
                    <a:lnTo>
                      <a:pt x="175" y="1729"/>
                    </a:lnTo>
                    <a:lnTo>
                      <a:pt x="196" y="1747"/>
                    </a:lnTo>
                    <a:lnTo>
                      <a:pt x="218" y="1765"/>
                    </a:lnTo>
                    <a:lnTo>
                      <a:pt x="241" y="1781"/>
                    </a:lnTo>
                    <a:lnTo>
                      <a:pt x="267" y="1797"/>
                    </a:lnTo>
                    <a:lnTo>
                      <a:pt x="293" y="1811"/>
                    </a:lnTo>
                    <a:lnTo>
                      <a:pt x="321" y="1824"/>
                    </a:lnTo>
                    <a:lnTo>
                      <a:pt x="335" y="1830"/>
                    </a:lnTo>
                    <a:lnTo>
                      <a:pt x="349" y="1836"/>
                    </a:lnTo>
                    <a:lnTo>
                      <a:pt x="364" y="1841"/>
                    </a:lnTo>
                    <a:lnTo>
                      <a:pt x="379" y="1846"/>
                    </a:lnTo>
                    <a:lnTo>
                      <a:pt x="411" y="1855"/>
                    </a:lnTo>
                    <a:lnTo>
                      <a:pt x="444" y="1862"/>
                    </a:lnTo>
                    <a:lnTo>
                      <a:pt x="479" y="1868"/>
                    </a:lnTo>
                    <a:lnTo>
                      <a:pt x="516" y="1872"/>
                    </a:lnTo>
                    <a:lnTo>
                      <a:pt x="554" y="1874"/>
                    </a:lnTo>
                    <a:lnTo>
                      <a:pt x="593" y="1875"/>
                    </a:lnTo>
                    <a:lnTo>
                      <a:pt x="621" y="1874"/>
                    </a:lnTo>
                    <a:lnTo>
                      <a:pt x="648" y="1873"/>
                    </a:lnTo>
                    <a:lnTo>
                      <a:pt x="675" y="1871"/>
                    </a:lnTo>
                    <a:lnTo>
                      <a:pt x="701" y="1867"/>
                    </a:lnTo>
                    <a:lnTo>
                      <a:pt x="726" y="1863"/>
                    </a:lnTo>
                    <a:lnTo>
                      <a:pt x="753" y="1858"/>
                    </a:lnTo>
                    <a:lnTo>
                      <a:pt x="777" y="1851"/>
                    </a:lnTo>
                    <a:lnTo>
                      <a:pt x="801" y="1844"/>
                    </a:lnTo>
                    <a:lnTo>
                      <a:pt x="825" y="1836"/>
                    </a:lnTo>
                    <a:lnTo>
                      <a:pt x="848" y="1827"/>
                    </a:lnTo>
                    <a:lnTo>
                      <a:pt x="870" y="1817"/>
                    </a:lnTo>
                    <a:lnTo>
                      <a:pt x="892" y="1806"/>
                    </a:lnTo>
                    <a:lnTo>
                      <a:pt x="913" y="1794"/>
                    </a:lnTo>
                    <a:lnTo>
                      <a:pt x="934" y="1782"/>
                    </a:lnTo>
                    <a:lnTo>
                      <a:pt x="954" y="1768"/>
                    </a:lnTo>
                    <a:lnTo>
                      <a:pt x="975" y="1753"/>
                    </a:lnTo>
                    <a:lnTo>
                      <a:pt x="994" y="1737"/>
                    </a:lnTo>
                    <a:lnTo>
                      <a:pt x="1012" y="1721"/>
                    </a:lnTo>
                    <a:lnTo>
                      <a:pt x="1030" y="1704"/>
                    </a:lnTo>
                    <a:lnTo>
                      <a:pt x="1046" y="1686"/>
                    </a:lnTo>
                    <a:lnTo>
                      <a:pt x="1061" y="1668"/>
                    </a:lnTo>
                    <a:lnTo>
                      <a:pt x="1076" y="1649"/>
                    </a:lnTo>
                    <a:lnTo>
                      <a:pt x="1089" y="1629"/>
                    </a:lnTo>
                    <a:lnTo>
                      <a:pt x="1102" y="1607"/>
                    </a:lnTo>
                    <a:lnTo>
                      <a:pt x="1114" y="1586"/>
                    </a:lnTo>
                    <a:lnTo>
                      <a:pt x="1125" y="1564"/>
                    </a:lnTo>
                    <a:lnTo>
                      <a:pt x="1135" y="1541"/>
                    </a:lnTo>
                    <a:lnTo>
                      <a:pt x="1144" y="1517"/>
                    </a:lnTo>
                    <a:lnTo>
                      <a:pt x="1152" y="1493"/>
                    </a:lnTo>
                    <a:lnTo>
                      <a:pt x="1159" y="1468"/>
                    </a:lnTo>
                    <a:lnTo>
                      <a:pt x="1165" y="1442"/>
                    </a:lnTo>
                    <a:lnTo>
                      <a:pt x="1171" y="1416"/>
                    </a:lnTo>
                    <a:lnTo>
                      <a:pt x="806" y="1310"/>
                    </a:lnTo>
                    <a:lnTo>
                      <a:pt x="802" y="1332"/>
                    </a:lnTo>
                    <a:lnTo>
                      <a:pt x="797" y="1353"/>
                    </a:lnTo>
                    <a:lnTo>
                      <a:pt x="790" y="1372"/>
                    </a:lnTo>
                    <a:lnTo>
                      <a:pt x="782" y="1390"/>
                    </a:lnTo>
                    <a:lnTo>
                      <a:pt x="772" y="1408"/>
                    </a:lnTo>
                    <a:lnTo>
                      <a:pt x="761" y="1423"/>
                    </a:lnTo>
                    <a:lnTo>
                      <a:pt x="748" y="1438"/>
                    </a:lnTo>
                    <a:lnTo>
                      <a:pt x="733" y="1452"/>
                    </a:lnTo>
                    <a:lnTo>
                      <a:pt x="717" y="1464"/>
                    </a:lnTo>
                    <a:lnTo>
                      <a:pt x="701" y="1474"/>
                    </a:lnTo>
                    <a:lnTo>
                      <a:pt x="685" y="1483"/>
                    </a:lnTo>
                    <a:lnTo>
                      <a:pt x="667" y="1490"/>
                    </a:lnTo>
                    <a:lnTo>
                      <a:pt x="650" y="1496"/>
                    </a:lnTo>
                    <a:lnTo>
                      <a:pt x="631" y="1500"/>
                    </a:lnTo>
                    <a:lnTo>
                      <a:pt x="612" y="1502"/>
                    </a:lnTo>
                    <a:lnTo>
                      <a:pt x="593" y="1503"/>
                    </a:lnTo>
                    <a:lnTo>
                      <a:pt x="579" y="1503"/>
                    </a:lnTo>
                    <a:lnTo>
                      <a:pt x="565" y="1502"/>
                    </a:lnTo>
                    <a:lnTo>
                      <a:pt x="552" y="1501"/>
                    </a:lnTo>
                    <a:lnTo>
                      <a:pt x="540" y="1499"/>
                    </a:lnTo>
                    <a:lnTo>
                      <a:pt x="528" y="1497"/>
                    </a:lnTo>
                    <a:lnTo>
                      <a:pt x="517" y="1494"/>
                    </a:lnTo>
                    <a:lnTo>
                      <a:pt x="506" y="1490"/>
                    </a:lnTo>
                    <a:lnTo>
                      <a:pt x="495" y="1486"/>
                    </a:lnTo>
                    <a:lnTo>
                      <a:pt x="485" y="1482"/>
                    </a:lnTo>
                    <a:lnTo>
                      <a:pt x="476" y="1477"/>
                    </a:lnTo>
                    <a:lnTo>
                      <a:pt x="467" y="1471"/>
                    </a:lnTo>
                    <a:lnTo>
                      <a:pt x="459" y="1465"/>
                    </a:lnTo>
                    <a:lnTo>
                      <a:pt x="451" y="1458"/>
                    </a:lnTo>
                    <a:lnTo>
                      <a:pt x="444" y="1451"/>
                    </a:lnTo>
                    <a:lnTo>
                      <a:pt x="438" y="1443"/>
                    </a:lnTo>
                    <a:lnTo>
                      <a:pt x="432" y="1435"/>
                    </a:lnTo>
                    <a:lnTo>
                      <a:pt x="421" y="1417"/>
                    </a:lnTo>
                    <a:lnTo>
                      <a:pt x="411" y="1398"/>
                    </a:lnTo>
                    <a:lnTo>
                      <a:pt x="403" y="1378"/>
                    </a:lnTo>
                    <a:lnTo>
                      <a:pt x="397" y="1357"/>
                    </a:lnTo>
                    <a:lnTo>
                      <a:pt x="392" y="1334"/>
                    </a:lnTo>
                    <a:lnTo>
                      <a:pt x="388" y="1311"/>
                    </a:lnTo>
                    <a:lnTo>
                      <a:pt x="386" y="1285"/>
                    </a:lnTo>
                    <a:lnTo>
                      <a:pt x="385" y="1259"/>
                    </a:lnTo>
                    <a:lnTo>
                      <a:pt x="385" y="575"/>
                    </a:lnTo>
                    <a:lnTo>
                      <a:pt x="386" y="558"/>
                    </a:lnTo>
                    <a:lnTo>
                      <a:pt x="388" y="542"/>
                    </a:lnTo>
                    <a:lnTo>
                      <a:pt x="391" y="525"/>
                    </a:lnTo>
                    <a:lnTo>
                      <a:pt x="396" y="50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58" name="Freeform 9"/>
              <p:cNvSpPr>
                <a:spLocks/>
              </p:cNvSpPr>
              <p:nvPr/>
            </p:nvSpPr>
            <p:spPr bwMode="auto">
              <a:xfrm>
                <a:off x="1239875" y="260485"/>
                <a:ext cx="111366" cy="190560"/>
              </a:xfrm>
              <a:custGeom>
                <a:avLst/>
                <a:gdLst>
                  <a:gd name="T0" fmla="*/ 0 w 1075"/>
                  <a:gd name="T1" fmla="*/ 1845 h 1845"/>
                  <a:gd name="T2" fmla="*/ 1075 w 1075"/>
                  <a:gd name="T3" fmla="*/ 1845 h 1845"/>
                  <a:gd name="T4" fmla="*/ 1075 w 1075"/>
                  <a:gd name="T5" fmla="*/ 1482 h 1845"/>
                  <a:gd name="T6" fmla="*/ 385 w 1075"/>
                  <a:gd name="T7" fmla="*/ 1482 h 1845"/>
                  <a:gd name="T8" fmla="*/ 385 w 1075"/>
                  <a:gd name="T9" fmla="*/ 1090 h 1845"/>
                  <a:gd name="T10" fmla="*/ 979 w 1075"/>
                  <a:gd name="T11" fmla="*/ 1090 h 1845"/>
                  <a:gd name="T12" fmla="*/ 979 w 1075"/>
                  <a:gd name="T13" fmla="*/ 737 h 1845"/>
                  <a:gd name="T14" fmla="*/ 385 w 1075"/>
                  <a:gd name="T15" fmla="*/ 737 h 1845"/>
                  <a:gd name="T16" fmla="*/ 385 w 1075"/>
                  <a:gd name="T17" fmla="*/ 355 h 1845"/>
                  <a:gd name="T18" fmla="*/ 1075 w 1075"/>
                  <a:gd name="T19" fmla="*/ 355 h 1845"/>
                  <a:gd name="T20" fmla="*/ 1075 w 1075"/>
                  <a:gd name="T21" fmla="*/ 0 h 1845"/>
                  <a:gd name="T22" fmla="*/ 0 w 1075"/>
                  <a:gd name="T23" fmla="*/ 0 h 1845"/>
                  <a:gd name="T24" fmla="*/ 0 w 1075"/>
                  <a:gd name="T25" fmla="*/ 1845 h 1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75" h="1845">
                    <a:moveTo>
                      <a:pt x="0" y="1845"/>
                    </a:moveTo>
                    <a:lnTo>
                      <a:pt x="1075" y="1845"/>
                    </a:lnTo>
                    <a:lnTo>
                      <a:pt x="1075" y="1482"/>
                    </a:lnTo>
                    <a:lnTo>
                      <a:pt x="385" y="1482"/>
                    </a:lnTo>
                    <a:lnTo>
                      <a:pt x="385" y="1090"/>
                    </a:lnTo>
                    <a:lnTo>
                      <a:pt x="979" y="1090"/>
                    </a:lnTo>
                    <a:lnTo>
                      <a:pt x="979" y="737"/>
                    </a:lnTo>
                    <a:lnTo>
                      <a:pt x="385" y="737"/>
                    </a:lnTo>
                    <a:lnTo>
                      <a:pt x="385" y="355"/>
                    </a:lnTo>
                    <a:lnTo>
                      <a:pt x="1075" y="355"/>
                    </a:lnTo>
                    <a:lnTo>
                      <a:pt x="1075" y="0"/>
                    </a:lnTo>
                    <a:lnTo>
                      <a:pt x="0" y="0"/>
                    </a:lnTo>
                    <a:lnTo>
                      <a:pt x="0" y="18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59" name="Freeform 10"/>
              <p:cNvSpPr>
                <a:spLocks/>
              </p:cNvSpPr>
              <p:nvPr/>
            </p:nvSpPr>
            <p:spPr bwMode="auto">
              <a:xfrm>
                <a:off x="1373515" y="260485"/>
                <a:ext cx="121265" cy="190560"/>
              </a:xfrm>
              <a:custGeom>
                <a:avLst/>
                <a:gdLst>
                  <a:gd name="T0" fmla="*/ 0 w 1174"/>
                  <a:gd name="T1" fmla="*/ 350 h 1845"/>
                  <a:gd name="T2" fmla="*/ 396 w 1174"/>
                  <a:gd name="T3" fmla="*/ 350 h 1845"/>
                  <a:gd name="T4" fmla="*/ 396 w 1174"/>
                  <a:gd name="T5" fmla="*/ 1845 h 1845"/>
                  <a:gd name="T6" fmla="*/ 779 w 1174"/>
                  <a:gd name="T7" fmla="*/ 1845 h 1845"/>
                  <a:gd name="T8" fmla="*/ 779 w 1174"/>
                  <a:gd name="T9" fmla="*/ 350 h 1845"/>
                  <a:gd name="T10" fmla="*/ 1174 w 1174"/>
                  <a:gd name="T11" fmla="*/ 350 h 1845"/>
                  <a:gd name="T12" fmla="*/ 1174 w 1174"/>
                  <a:gd name="T13" fmla="*/ 0 h 1845"/>
                  <a:gd name="T14" fmla="*/ 0 w 1174"/>
                  <a:gd name="T15" fmla="*/ 0 h 1845"/>
                  <a:gd name="T16" fmla="*/ 0 w 1174"/>
                  <a:gd name="T17" fmla="*/ 350 h 1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74" h="1845">
                    <a:moveTo>
                      <a:pt x="0" y="350"/>
                    </a:moveTo>
                    <a:lnTo>
                      <a:pt x="396" y="350"/>
                    </a:lnTo>
                    <a:lnTo>
                      <a:pt x="396" y="1845"/>
                    </a:lnTo>
                    <a:lnTo>
                      <a:pt x="779" y="1845"/>
                    </a:lnTo>
                    <a:lnTo>
                      <a:pt x="779" y="350"/>
                    </a:lnTo>
                    <a:lnTo>
                      <a:pt x="1174" y="350"/>
                    </a:lnTo>
                    <a:lnTo>
                      <a:pt x="1174" y="0"/>
                    </a:lnTo>
                    <a:lnTo>
                      <a:pt x="0" y="0"/>
                    </a:lnTo>
                    <a:lnTo>
                      <a:pt x="0" y="3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60" name="Freeform 11"/>
              <p:cNvSpPr>
                <a:spLocks/>
              </p:cNvSpPr>
              <p:nvPr/>
            </p:nvSpPr>
            <p:spPr bwMode="auto">
              <a:xfrm>
                <a:off x="1526952" y="260485"/>
                <a:ext cx="129927" cy="190560"/>
              </a:xfrm>
              <a:custGeom>
                <a:avLst/>
                <a:gdLst>
                  <a:gd name="T0" fmla="*/ 917 w 1264"/>
                  <a:gd name="T1" fmla="*/ 0 h 1845"/>
                  <a:gd name="T2" fmla="*/ 388 w 1264"/>
                  <a:gd name="T3" fmla="*/ 1072 h 1845"/>
                  <a:gd name="T4" fmla="*/ 382 w 1264"/>
                  <a:gd name="T5" fmla="*/ 1072 h 1845"/>
                  <a:gd name="T6" fmla="*/ 382 w 1264"/>
                  <a:gd name="T7" fmla="*/ 0 h 1845"/>
                  <a:gd name="T8" fmla="*/ 0 w 1264"/>
                  <a:gd name="T9" fmla="*/ 0 h 1845"/>
                  <a:gd name="T10" fmla="*/ 0 w 1264"/>
                  <a:gd name="T11" fmla="*/ 1845 h 1845"/>
                  <a:gd name="T12" fmla="*/ 361 w 1264"/>
                  <a:gd name="T13" fmla="*/ 1845 h 1845"/>
                  <a:gd name="T14" fmla="*/ 876 w 1264"/>
                  <a:gd name="T15" fmla="*/ 841 h 1845"/>
                  <a:gd name="T16" fmla="*/ 878 w 1264"/>
                  <a:gd name="T17" fmla="*/ 841 h 1845"/>
                  <a:gd name="T18" fmla="*/ 878 w 1264"/>
                  <a:gd name="T19" fmla="*/ 1845 h 1845"/>
                  <a:gd name="T20" fmla="*/ 1264 w 1264"/>
                  <a:gd name="T21" fmla="*/ 1845 h 1845"/>
                  <a:gd name="T22" fmla="*/ 1264 w 1264"/>
                  <a:gd name="T23" fmla="*/ 0 h 1845"/>
                  <a:gd name="T24" fmla="*/ 917 w 1264"/>
                  <a:gd name="T25" fmla="*/ 0 h 1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64" h="1845">
                    <a:moveTo>
                      <a:pt x="917" y="0"/>
                    </a:moveTo>
                    <a:lnTo>
                      <a:pt x="388" y="1072"/>
                    </a:lnTo>
                    <a:lnTo>
                      <a:pt x="382" y="1072"/>
                    </a:lnTo>
                    <a:lnTo>
                      <a:pt x="382" y="0"/>
                    </a:lnTo>
                    <a:lnTo>
                      <a:pt x="0" y="0"/>
                    </a:lnTo>
                    <a:lnTo>
                      <a:pt x="0" y="1845"/>
                    </a:lnTo>
                    <a:lnTo>
                      <a:pt x="361" y="1845"/>
                    </a:lnTo>
                    <a:lnTo>
                      <a:pt x="876" y="841"/>
                    </a:lnTo>
                    <a:lnTo>
                      <a:pt x="878" y="841"/>
                    </a:lnTo>
                    <a:lnTo>
                      <a:pt x="878" y="1845"/>
                    </a:lnTo>
                    <a:lnTo>
                      <a:pt x="1264" y="1845"/>
                    </a:lnTo>
                    <a:lnTo>
                      <a:pt x="1264" y="0"/>
                    </a:lnTo>
                    <a:lnTo>
                      <a:pt x="9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  <p:grpSp>
          <p:nvGrpSpPr>
            <p:cNvPr id="46" name="Группа 45"/>
            <p:cNvGrpSpPr/>
            <p:nvPr userDrawn="1"/>
          </p:nvGrpSpPr>
          <p:grpSpPr>
            <a:xfrm>
              <a:off x="0" y="687388"/>
              <a:ext cx="407368" cy="406401"/>
              <a:chOff x="0" y="167680"/>
              <a:chExt cx="520945" cy="519708"/>
            </a:xfrm>
            <a:grpFill/>
          </p:grpSpPr>
          <p:sp>
            <p:nvSpPr>
              <p:cNvPr id="47" name="Freeform 12"/>
              <p:cNvSpPr>
                <a:spLocks/>
              </p:cNvSpPr>
              <p:nvPr/>
            </p:nvSpPr>
            <p:spPr bwMode="auto">
              <a:xfrm>
                <a:off x="160862" y="323592"/>
                <a:ext cx="196746" cy="363796"/>
              </a:xfrm>
              <a:custGeom>
                <a:avLst/>
                <a:gdLst>
                  <a:gd name="T0" fmla="*/ 1471 w 1903"/>
                  <a:gd name="T1" fmla="*/ 0 h 3523"/>
                  <a:gd name="T2" fmla="*/ 0 w 1903"/>
                  <a:gd name="T3" fmla="*/ 3334 h 3523"/>
                  <a:gd name="T4" fmla="*/ 56 w 1903"/>
                  <a:gd name="T5" fmla="*/ 3357 h 3523"/>
                  <a:gd name="T6" fmla="*/ 112 w 1903"/>
                  <a:gd name="T7" fmla="*/ 3377 h 3523"/>
                  <a:gd name="T8" fmla="*/ 169 w 1903"/>
                  <a:gd name="T9" fmla="*/ 3397 h 3523"/>
                  <a:gd name="T10" fmla="*/ 227 w 1903"/>
                  <a:gd name="T11" fmla="*/ 3415 h 3523"/>
                  <a:gd name="T12" fmla="*/ 286 w 1903"/>
                  <a:gd name="T13" fmla="*/ 3432 h 3523"/>
                  <a:gd name="T14" fmla="*/ 344 w 1903"/>
                  <a:gd name="T15" fmla="*/ 3447 h 3523"/>
                  <a:gd name="T16" fmla="*/ 403 w 1903"/>
                  <a:gd name="T17" fmla="*/ 3461 h 3523"/>
                  <a:gd name="T18" fmla="*/ 464 w 1903"/>
                  <a:gd name="T19" fmla="*/ 3474 h 3523"/>
                  <a:gd name="T20" fmla="*/ 524 w 1903"/>
                  <a:gd name="T21" fmla="*/ 3485 h 3523"/>
                  <a:gd name="T22" fmla="*/ 585 w 1903"/>
                  <a:gd name="T23" fmla="*/ 3495 h 3523"/>
                  <a:gd name="T24" fmla="*/ 646 w 1903"/>
                  <a:gd name="T25" fmla="*/ 3504 h 3523"/>
                  <a:gd name="T26" fmla="*/ 709 w 1903"/>
                  <a:gd name="T27" fmla="*/ 3511 h 3523"/>
                  <a:gd name="T28" fmla="*/ 771 w 1903"/>
                  <a:gd name="T29" fmla="*/ 3516 h 3523"/>
                  <a:gd name="T30" fmla="*/ 834 w 1903"/>
                  <a:gd name="T31" fmla="*/ 3520 h 3523"/>
                  <a:gd name="T32" fmla="*/ 897 w 1903"/>
                  <a:gd name="T33" fmla="*/ 3522 h 3523"/>
                  <a:gd name="T34" fmla="*/ 962 w 1903"/>
                  <a:gd name="T35" fmla="*/ 3523 h 3523"/>
                  <a:gd name="T36" fmla="*/ 1024 w 1903"/>
                  <a:gd name="T37" fmla="*/ 3522 h 3523"/>
                  <a:gd name="T38" fmla="*/ 1085 w 1903"/>
                  <a:gd name="T39" fmla="*/ 3520 h 3523"/>
                  <a:gd name="T40" fmla="*/ 1146 w 1903"/>
                  <a:gd name="T41" fmla="*/ 3516 h 3523"/>
                  <a:gd name="T42" fmla="*/ 1208 w 1903"/>
                  <a:gd name="T43" fmla="*/ 3511 h 3523"/>
                  <a:gd name="T44" fmla="*/ 1268 w 1903"/>
                  <a:gd name="T45" fmla="*/ 3504 h 3523"/>
                  <a:gd name="T46" fmla="*/ 1328 w 1903"/>
                  <a:gd name="T47" fmla="*/ 3496 h 3523"/>
                  <a:gd name="T48" fmla="*/ 1388 w 1903"/>
                  <a:gd name="T49" fmla="*/ 3487 h 3523"/>
                  <a:gd name="T50" fmla="*/ 1448 w 1903"/>
                  <a:gd name="T51" fmla="*/ 3476 h 3523"/>
                  <a:gd name="T52" fmla="*/ 1506 w 1903"/>
                  <a:gd name="T53" fmla="*/ 3464 h 3523"/>
                  <a:gd name="T54" fmla="*/ 1564 w 1903"/>
                  <a:gd name="T55" fmla="*/ 3450 h 3523"/>
                  <a:gd name="T56" fmla="*/ 1622 w 1903"/>
                  <a:gd name="T57" fmla="*/ 3435 h 3523"/>
                  <a:gd name="T58" fmla="*/ 1680 w 1903"/>
                  <a:gd name="T59" fmla="*/ 3419 h 3523"/>
                  <a:gd name="T60" fmla="*/ 1736 w 1903"/>
                  <a:gd name="T61" fmla="*/ 3402 h 3523"/>
                  <a:gd name="T62" fmla="*/ 1792 w 1903"/>
                  <a:gd name="T63" fmla="*/ 3383 h 3523"/>
                  <a:gd name="T64" fmla="*/ 1847 w 1903"/>
                  <a:gd name="T65" fmla="*/ 3363 h 3523"/>
                  <a:gd name="T66" fmla="*/ 1903 w 1903"/>
                  <a:gd name="T67" fmla="*/ 3340 h 3523"/>
                  <a:gd name="T68" fmla="*/ 1537 w 1903"/>
                  <a:gd name="T69" fmla="*/ 10 h 3523"/>
                  <a:gd name="T70" fmla="*/ 1520 w 1903"/>
                  <a:gd name="T71" fmla="*/ 8 h 3523"/>
                  <a:gd name="T72" fmla="*/ 1503 w 1903"/>
                  <a:gd name="T73" fmla="*/ 6 h 3523"/>
                  <a:gd name="T74" fmla="*/ 1487 w 1903"/>
                  <a:gd name="T75" fmla="*/ 4 h 3523"/>
                  <a:gd name="T76" fmla="*/ 1471 w 1903"/>
                  <a:gd name="T77" fmla="*/ 0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903" h="3523">
                    <a:moveTo>
                      <a:pt x="1471" y="0"/>
                    </a:moveTo>
                    <a:lnTo>
                      <a:pt x="0" y="3334"/>
                    </a:lnTo>
                    <a:lnTo>
                      <a:pt x="56" y="3357"/>
                    </a:lnTo>
                    <a:lnTo>
                      <a:pt x="112" y="3377"/>
                    </a:lnTo>
                    <a:lnTo>
                      <a:pt x="169" y="3397"/>
                    </a:lnTo>
                    <a:lnTo>
                      <a:pt x="227" y="3415"/>
                    </a:lnTo>
                    <a:lnTo>
                      <a:pt x="286" y="3432"/>
                    </a:lnTo>
                    <a:lnTo>
                      <a:pt x="344" y="3447"/>
                    </a:lnTo>
                    <a:lnTo>
                      <a:pt x="403" y="3461"/>
                    </a:lnTo>
                    <a:lnTo>
                      <a:pt x="464" y="3474"/>
                    </a:lnTo>
                    <a:lnTo>
                      <a:pt x="524" y="3485"/>
                    </a:lnTo>
                    <a:lnTo>
                      <a:pt x="585" y="3495"/>
                    </a:lnTo>
                    <a:lnTo>
                      <a:pt x="646" y="3504"/>
                    </a:lnTo>
                    <a:lnTo>
                      <a:pt x="709" y="3511"/>
                    </a:lnTo>
                    <a:lnTo>
                      <a:pt x="771" y="3516"/>
                    </a:lnTo>
                    <a:lnTo>
                      <a:pt x="834" y="3520"/>
                    </a:lnTo>
                    <a:lnTo>
                      <a:pt x="897" y="3522"/>
                    </a:lnTo>
                    <a:lnTo>
                      <a:pt x="962" y="3523"/>
                    </a:lnTo>
                    <a:lnTo>
                      <a:pt x="1024" y="3522"/>
                    </a:lnTo>
                    <a:lnTo>
                      <a:pt x="1085" y="3520"/>
                    </a:lnTo>
                    <a:lnTo>
                      <a:pt x="1146" y="3516"/>
                    </a:lnTo>
                    <a:lnTo>
                      <a:pt x="1208" y="3511"/>
                    </a:lnTo>
                    <a:lnTo>
                      <a:pt x="1268" y="3504"/>
                    </a:lnTo>
                    <a:lnTo>
                      <a:pt x="1328" y="3496"/>
                    </a:lnTo>
                    <a:lnTo>
                      <a:pt x="1388" y="3487"/>
                    </a:lnTo>
                    <a:lnTo>
                      <a:pt x="1448" y="3476"/>
                    </a:lnTo>
                    <a:lnTo>
                      <a:pt x="1506" y="3464"/>
                    </a:lnTo>
                    <a:lnTo>
                      <a:pt x="1564" y="3450"/>
                    </a:lnTo>
                    <a:lnTo>
                      <a:pt x="1622" y="3435"/>
                    </a:lnTo>
                    <a:lnTo>
                      <a:pt x="1680" y="3419"/>
                    </a:lnTo>
                    <a:lnTo>
                      <a:pt x="1736" y="3402"/>
                    </a:lnTo>
                    <a:lnTo>
                      <a:pt x="1792" y="3383"/>
                    </a:lnTo>
                    <a:lnTo>
                      <a:pt x="1847" y="3363"/>
                    </a:lnTo>
                    <a:lnTo>
                      <a:pt x="1903" y="3340"/>
                    </a:lnTo>
                    <a:lnTo>
                      <a:pt x="1537" y="10"/>
                    </a:lnTo>
                    <a:lnTo>
                      <a:pt x="1520" y="8"/>
                    </a:lnTo>
                    <a:lnTo>
                      <a:pt x="1503" y="6"/>
                    </a:lnTo>
                    <a:lnTo>
                      <a:pt x="1487" y="4"/>
                    </a:lnTo>
                    <a:lnTo>
                      <a:pt x="147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8" name="Freeform 13"/>
              <p:cNvSpPr>
                <a:spLocks/>
              </p:cNvSpPr>
              <p:nvPr/>
            </p:nvSpPr>
            <p:spPr bwMode="auto">
              <a:xfrm>
                <a:off x="11136" y="313693"/>
                <a:ext cx="289552" cy="341522"/>
              </a:xfrm>
              <a:custGeom>
                <a:avLst/>
                <a:gdLst>
                  <a:gd name="T0" fmla="*/ 2765 w 2816"/>
                  <a:gd name="T1" fmla="*/ 0 h 3305"/>
                  <a:gd name="T2" fmla="*/ 0 w 2816"/>
                  <a:gd name="T3" fmla="*/ 1820 h 3305"/>
                  <a:gd name="T4" fmla="*/ 19 w 2816"/>
                  <a:gd name="T5" fmla="*/ 1879 h 3305"/>
                  <a:gd name="T6" fmla="*/ 39 w 2816"/>
                  <a:gd name="T7" fmla="*/ 1938 h 3305"/>
                  <a:gd name="T8" fmla="*/ 60 w 2816"/>
                  <a:gd name="T9" fmla="*/ 1996 h 3305"/>
                  <a:gd name="T10" fmla="*/ 83 w 2816"/>
                  <a:gd name="T11" fmla="*/ 2053 h 3305"/>
                  <a:gd name="T12" fmla="*/ 107 w 2816"/>
                  <a:gd name="T13" fmla="*/ 2109 h 3305"/>
                  <a:gd name="T14" fmla="*/ 132 w 2816"/>
                  <a:gd name="T15" fmla="*/ 2166 h 3305"/>
                  <a:gd name="T16" fmla="*/ 159 w 2816"/>
                  <a:gd name="T17" fmla="*/ 2221 h 3305"/>
                  <a:gd name="T18" fmla="*/ 186 w 2816"/>
                  <a:gd name="T19" fmla="*/ 2276 h 3305"/>
                  <a:gd name="T20" fmla="*/ 215 w 2816"/>
                  <a:gd name="T21" fmla="*/ 2329 h 3305"/>
                  <a:gd name="T22" fmla="*/ 246 w 2816"/>
                  <a:gd name="T23" fmla="*/ 2382 h 3305"/>
                  <a:gd name="T24" fmla="*/ 278 w 2816"/>
                  <a:gd name="T25" fmla="*/ 2434 h 3305"/>
                  <a:gd name="T26" fmla="*/ 311 w 2816"/>
                  <a:gd name="T27" fmla="*/ 2486 h 3305"/>
                  <a:gd name="T28" fmla="*/ 345 w 2816"/>
                  <a:gd name="T29" fmla="*/ 2536 h 3305"/>
                  <a:gd name="T30" fmla="*/ 380 w 2816"/>
                  <a:gd name="T31" fmla="*/ 2586 h 3305"/>
                  <a:gd name="T32" fmla="*/ 417 w 2816"/>
                  <a:gd name="T33" fmla="*/ 2634 h 3305"/>
                  <a:gd name="T34" fmla="*/ 454 w 2816"/>
                  <a:gd name="T35" fmla="*/ 2682 h 3305"/>
                  <a:gd name="T36" fmla="*/ 494 w 2816"/>
                  <a:gd name="T37" fmla="*/ 2728 h 3305"/>
                  <a:gd name="T38" fmla="*/ 533 w 2816"/>
                  <a:gd name="T39" fmla="*/ 2774 h 3305"/>
                  <a:gd name="T40" fmla="*/ 574 w 2816"/>
                  <a:gd name="T41" fmla="*/ 2820 h 3305"/>
                  <a:gd name="T42" fmla="*/ 616 w 2816"/>
                  <a:gd name="T43" fmla="*/ 2864 h 3305"/>
                  <a:gd name="T44" fmla="*/ 658 w 2816"/>
                  <a:gd name="T45" fmla="*/ 2906 h 3305"/>
                  <a:gd name="T46" fmla="*/ 702 w 2816"/>
                  <a:gd name="T47" fmla="*/ 2948 h 3305"/>
                  <a:gd name="T48" fmla="*/ 748 w 2816"/>
                  <a:gd name="T49" fmla="*/ 2989 h 3305"/>
                  <a:gd name="T50" fmla="*/ 794 w 2816"/>
                  <a:gd name="T51" fmla="*/ 3028 h 3305"/>
                  <a:gd name="T52" fmla="*/ 840 w 2816"/>
                  <a:gd name="T53" fmla="*/ 3067 h 3305"/>
                  <a:gd name="T54" fmla="*/ 888 w 2816"/>
                  <a:gd name="T55" fmla="*/ 3104 h 3305"/>
                  <a:gd name="T56" fmla="*/ 936 w 2816"/>
                  <a:gd name="T57" fmla="*/ 3141 h 3305"/>
                  <a:gd name="T58" fmla="*/ 987 w 2816"/>
                  <a:gd name="T59" fmla="*/ 3176 h 3305"/>
                  <a:gd name="T60" fmla="*/ 1037 w 2816"/>
                  <a:gd name="T61" fmla="*/ 3210 h 3305"/>
                  <a:gd name="T62" fmla="*/ 1088 w 2816"/>
                  <a:gd name="T63" fmla="*/ 3243 h 3305"/>
                  <a:gd name="T64" fmla="*/ 1140 w 2816"/>
                  <a:gd name="T65" fmla="*/ 3274 h 3305"/>
                  <a:gd name="T66" fmla="*/ 1193 w 2816"/>
                  <a:gd name="T67" fmla="*/ 3305 h 3305"/>
                  <a:gd name="T68" fmla="*/ 2816 w 2816"/>
                  <a:gd name="T69" fmla="*/ 46 h 3305"/>
                  <a:gd name="T70" fmla="*/ 2802 w 2816"/>
                  <a:gd name="T71" fmla="*/ 35 h 3305"/>
                  <a:gd name="T72" fmla="*/ 2789 w 2816"/>
                  <a:gd name="T73" fmla="*/ 24 h 3305"/>
                  <a:gd name="T74" fmla="*/ 2777 w 2816"/>
                  <a:gd name="T75" fmla="*/ 12 h 3305"/>
                  <a:gd name="T76" fmla="*/ 2765 w 2816"/>
                  <a:gd name="T77" fmla="*/ 0 h 3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16" h="3305">
                    <a:moveTo>
                      <a:pt x="2765" y="0"/>
                    </a:moveTo>
                    <a:lnTo>
                      <a:pt x="0" y="1820"/>
                    </a:lnTo>
                    <a:lnTo>
                      <a:pt x="19" y="1879"/>
                    </a:lnTo>
                    <a:lnTo>
                      <a:pt x="39" y="1938"/>
                    </a:lnTo>
                    <a:lnTo>
                      <a:pt x="60" y="1996"/>
                    </a:lnTo>
                    <a:lnTo>
                      <a:pt x="83" y="2053"/>
                    </a:lnTo>
                    <a:lnTo>
                      <a:pt x="107" y="2109"/>
                    </a:lnTo>
                    <a:lnTo>
                      <a:pt x="132" y="2166"/>
                    </a:lnTo>
                    <a:lnTo>
                      <a:pt x="159" y="2221"/>
                    </a:lnTo>
                    <a:lnTo>
                      <a:pt x="186" y="2276"/>
                    </a:lnTo>
                    <a:lnTo>
                      <a:pt x="215" y="2329"/>
                    </a:lnTo>
                    <a:lnTo>
                      <a:pt x="246" y="2382"/>
                    </a:lnTo>
                    <a:lnTo>
                      <a:pt x="278" y="2434"/>
                    </a:lnTo>
                    <a:lnTo>
                      <a:pt x="311" y="2486"/>
                    </a:lnTo>
                    <a:lnTo>
                      <a:pt x="345" y="2536"/>
                    </a:lnTo>
                    <a:lnTo>
                      <a:pt x="380" y="2586"/>
                    </a:lnTo>
                    <a:lnTo>
                      <a:pt x="417" y="2634"/>
                    </a:lnTo>
                    <a:lnTo>
                      <a:pt x="454" y="2682"/>
                    </a:lnTo>
                    <a:lnTo>
                      <a:pt x="494" y="2728"/>
                    </a:lnTo>
                    <a:lnTo>
                      <a:pt x="533" y="2774"/>
                    </a:lnTo>
                    <a:lnTo>
                      <a:pt x="574" y="2820"/>
                    </a:lnTo>
                    <a:lnTo>
                      <a:pt x="616" y="2864"/>
                    </a:lnTo>
                    <a:lnTo>
                      <a:pt x="658" y="2906"/>
                    </a:lnTo>
                    <a:lnTo>
                      <a:pt x="702" y="2948"/>
                    </a:lnTo>
                    <a:lnTo>
                      <a:pt x="748" y="2989"/>
                    </a:lnTo>
                    <a:lnTo>
                      <a:pt x="794" y="3028"/>
                    </a:lnTo>
                    <a:lnTo>
                      <a:pt x="840" y="3067"/>
                    </a:lnTo>
                    <a:lnTo>
                      <a:pt x="888" y="3104"/>
                    </a:lnTo>
                    <a:lnTo>
                      <a:pt x="936" y="3141"/>
                    </a:lnTo>
                    <a:lnTo>
                      <a:pt x="987" y="3176"/>
                    </a:lnTo>
                    <a:lnTo>
                      <a:pt x="1037" y="3210"/>
                    </a:lnTo>
                    <a:lnTo>
                      <a:pt x="1088" y="3243"/>
                    </a:lnTo>
                    <a:lnTo>
                      <a:pt x="1140" y="3274"/>
                    </a:lnTo>
                    <a:lnTo>
                      <a:pt x="1193" y="3305"/>
                    </a:lnTo>
                    <a:lnTo>
                      <a:pt x="2816" y="46"/>
                    </a:lnTo>
                    <a:lnTo>
                      <a:pt x="2802" y="35"/>
                    </a:lnTo>
                    <a:lnTo>
                      <a:pt x="2789" y="24"/>
                    </a:lnTo>
                    <a:lnTo>
                      <a:pt x="2777" y="12"/>
                    </a:lnTo>
                    <a:lnTo>
                      <a:pt x="276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9" name="Freeform 14"/>
              <p:cNvSpPr>
                <a:spLocks/>
              </p:cNvSpPr>
              <p:nvPr/>
            </p:nvSpPr>
            <p:spPr bwMode="auto">
              <a:xfrm>
                <a:off x="332860" y="319881"/>
                <a:ext cx="176948" cy="335336"/>
              </a:xfrm>
              <a:custGeom>
                <a:avLst/>
                <a:gdLst>
                  <a:gd name="T0" fmla="*/ 0 w 1719"/>
                  <a:gd name="T1" fmla="*/ 38 h 3256"/>
                  <a:gd name="T2" fmla="*/ 517 w 1719"/>
                  <a:gd name="T3" fmla="*/ 3256 h 3256"/>
                  <a:gd name="T4" fmla="*/ 571 w 1719"/>
                  <a:gd name="T5" fmla="*/ 3226 h 3256"/>
                  <a:gd name="T6" fmla="*/ 623 w 1719"/>
                  <a:gd name="T7" fmla="*/ 3194 h 3256"/>
                  <a:gd name="T8" fmla="*/ 676 w 1719"/>
                  <a:gd name="T9" fmla="*/ 3161 h 3256"/>
                  <a:gd name="T10" fmla="*/ 726 w 1719"/>
                  <a:gd name="T11" fmla="*/ 3127 h 3256"/>
                  <a:gd name="T12" fmla="*/ 776 w 1719"/>
                  <a:gd name="T13" fmla="*/ 3092 h 3256"/>
                  <a:gd name="T14" fmla="*/ 825 w 1719"/>
                  <a:gd name="T15" fmla="*/ 3054 h 3256"/>
                  <a:gd name="T16" fmla="*/ 873 w 1719"/>
                  <a:gd name="T17" fmla="*/ 3017 h 3256"/>
                  <a:gd name="T18" fmla="*/ 921 w 1719"/>
                  <a:gd name="T19" fmla="*/ 2978 h 3256"/>
                  <a:gd name="T20" fmla="*/ 967 w 1719"/>
                  <a:gd name="T21" fmla="*/ 2938 h 3256"/>
                  <a:gd name="T22" fmla="*/ 1013 w 1719"/>
                  <a:gd name="T23" fmla="*/ 2898 h 3256"/>
                  <a:gd name="T24" fmla="*/ 1057 w 1719"/>
                  <a:gd name="T25" fmla="*/ 2856 h 3256"/>
                  <a:gd name="T26" fmla="*/ 1100 w 1719"/>
                  <a:gd name="T27" fmla="*/ 2813 h 3256"/>
                  <a:gd name="T28" fmla="*/ 1142 w 1719"/>
                  <a:gd name="T29" fmla="*/ 2769 h 3256"/>
                  <a:gd name="T30" fmla="*/ 1184 w 1719"/>
                  <a:gd name="T31" fmla="*/ 2723 h 3256"/>
                  <a:gd name="T32" fmla="*/ 1224 w 1719"/>
                  <a:gd name="T33" fmla="*/ 2676 h 3256"/>
                  <a:gd name="T34" fmla="*/ 1263 w 1719"/>
                  <a:gd name="T35" fmla="*/ 2630 h 3256"/>
                  <a:gd name="T36" fmla="*/ 1300 w 1719"/>
                  <a:gd name="T37" fmla="*/ 2582 h 3256"/>
                  <a:gd name="T38" fmla="*/ 1337 w 1719"/>
                  <a:gd name="T39" fmla="*/ 2533 h 3256"/>
                  <a:gd name="T40" fmla="*/ 1372 w 1719"/>
                  <a:gd name="T41" fmla="*/ 2483 h 3256"/>
                  <a:gd name="T42" fmla="*/ 1408 w 1719"/>
                  <a:gd name="T43" fmla="*/ 2432 h 3256"/>
                  <a:gd name="T44" fmla="*/ 1441 w 1719"/>
                  <a:gd name="T45" fmla="*/ 2380 h 3256"/>
                  <a:gd name="T46" fmla="*/ 1472 w 1719"/>
                  <a:gd name="T47" fmla="*/ 2327 h 3256"/>
                  <a:gd name="T48" fmla="*/ 1503 w 1719"/>
                  <a:gd name="T49" fmla="*/ 2274 h 3256"/>
                  <a:gd name="T50" fmla="*/ 1532 w 1719"/>
                  <a:gd name="T51" fmla="*/ 2220 h 3256"/>
                  <a:gd name="T52" fmla="*/ 1560 w 1719"/>
                  <a:gd name="T53" fmla="*/ 2165 h 3256"/>
                  <a:gd name="T54" fmla="*/ 1587 w 1719"/>
                  <a:gd name="T55" fmla="*/ 2110 h 3256"/>
                  <a:gd name="T56" fmla="*/ 1612 w 1719"/>
                  <a:gd name="T57" fmla="*/ 2052 h 3256"/>
                  <a:gd name="T58" fmla="*/ 1637 w 1719"/>
                  <a:gd name="T59" fmla="*/ 1995 h 3256"/>
                  <a:gd name="T60" fmla="*/ 1659 w 1719"/>
                  <a:gd name="T61" fmla="*/ 1938 h 3256"/>
                  <a:gd name="T62" fmla="*/ 1681 w 1719"/>
                  <a:gd name="T63" fmla="*/ 1879 h 3256"/>
                  <a:gd name="T64" fmla="*/ 1700 w 1719"/>
                  <a:gd name="T65" fmla="*/ 1820 h 3256"/>
                  <a:gd name="T66" fmla="*/ 1719 w 1719"/>
                  <a:gd name="T67" fmla="*/ 1760 h 3256"/>
                  <a:gd name="T68" fmla="*/ 81 w 1719"/>
                  <a:gd name="T69" fmla="*/ 0 h 3256"/>
                  <a:gd name="T70" fmla="*/ 62 w 1719"/>
                  <a:gd name="T71" fmla="*/ 11 h 3256"/>
                  <a:gd name="T72" fmla="*/ 42 w 1719"/>
                  <a:gd name="T73" fmla="*/ 22 h 3256"/>
                  <a:gd name="T74" fmla="*/ 21 w 1719"/>
                  <a:gd name="T75" fmla="*/ 31 h 3256"/>
                  <a:gd name="T76" fmla="*/ 0 w 1719"/>
                  <a:gd name="T77" fmla="*/ 38 h 3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719" h="3256">
                    <a:moveTo>
                      <a:pt x="0" y="38"/>
                    </a:moveTo>
                    <a:lnTo>
                      <a:pt x="517" y="3256"/>
                    </a:lnTo>
                    <a:lnTo>
                      <a:pt x="571" y="3226"/>
                    </a:lnTo>
                    <a:lnTo>
                      <a:pt x="623" y="3194"/>
                    </a:lnTo>
                    <a:lnTo>
                      <a:pt x="676" y="3161"/>
                    </a:lnTo>
                    <a:lnTo>
                      <a:pt x="726" y="3127"/>
                    </a:lnTo>
                    <a:lnTo>
                      <a:pt x="776" y="3092"/>
                    </a:lnTo>
                    <a:lnTo>
                      <a:pt x="825" y="3054"/>
                    </a:lnTo>
                    <a:lnTo>
                      <a:pt x="873" y="3017"/>
                    </a:lnTo>
                    <a:lnTo>
                      <a:pt x="921" y="2978"/>
                    </a:lnTo>
                    <a:lnTo>
                      <a:pt x="967" y="2938"/>
                    </a:lnTo>
                    <a:lnTo>
                      <a:pt x="1013" y="2898"/>
                    </a:lnTo>
                    <a:lnTo>
                      <a:pt x="1057" y="2856"/>
                    </a:lnTo>
                    <a:lnTo>
                      <a:pt x="1100" y="2813"/>
                    </a:lnTo>
                    <a:lnTo>
                      <a:pt x="1142" y="2769"/>
                    </a:lnTo>
                    <a:lnTo>
                      <a:pt x="1184" y="2723"/>
                    </a:lnTo>
                    <a:lnTo>
                      <a:pt x="1224" y="2676"/>
                    </a:lnTo>
                    <a:lnTo>
                      <a:pt x="1263" y="2630"/>
                    </a:lnTo>
                    <a:lnTo>
                      <a:pt x="1300" y="2582"/>
                    </a:lnTo>
                    <a:lnTo>
                      <a:pt x="1337" y="2533"/>
                    </a:lnTo>
                    <a:lnTo>
                      <a:pt x="1372" y="2483"/>
                    </a:lnTo>
                    <a:lnTo>
                      <a:pt x="1408" y="2432"/>
                    </a:lnTo>
                    <a:lnTo>
                      <a:pt x="1441" y="2380"/>
                    </a:lnTo>
                    <a:lnTo>
                      <a:pt x="1472" y="2327"/>
                    </a:lnTo>
                    <a:lnTo>
                      <a:pt x="1503" y="2274"/>
                    </a:lnTo>
                    <a:lnTo>
                      <a:pt x="1532" y="2220"/>
                    </a:lnTo>
                    <a:lnTo>
                      <a:pt x="1560" y="2165"/>
                    </a:lnTo>
                    <a:lnTo>
                      <a:pt x="1587" y="2110"/>
                    </a:lnTo>
                    <a:lnTo>
                      <a:pt x="1612" y="2052"/>
                    </a:lnTo>
                    <a:lnTo>
                      <a:pt x="1637" y="1995"/>
                    </a:lnTo>
                    <a:lnTo>
                      <a:pt x="1659" y="1938"/>
                    </a:lnTo>
                    <a:lnTo>
                      <a:pt x="1681" y="1879"/>
                    </a:lnTo>
                    <a:lnTo>
                      <a:pt x="1700" y="1820"/>
                    </a:lnTo>
                    <a:lnTo>
                      <a:pt x="1719" y="1760"/>
                    </a:lnTo>
                    <a:lnTo>
                      <a:pt x="81" y="0"/>
                    </a:lnTo>
                    <a:lnTo>
                      <a:pt x="62" y="11"/>
                    </a:lnTo>
                    <a:lnTo>
                      <a:pt x="42" y="22"/>
                    </a:lnTo>
                    <a:lnTo>
                      <a:pt x="21" y="31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50" name="Freeform 15"/>
              <p:cNvSpPr>
                <a:spLocks/>
              </p:cNvSpPr>
              <p:nvPr/>
            </p:nvSpPr>
            <p:spPr bwMode="auto">
              <a:xfrm>
                <a:off x="66820" y="167680"/>
                <a:ext cx="232631" cy="112604"/>
              </a:xfrm>
              <a:custGeom>
                <a:avLst/>
                <a:gdLst>
                  <a:gd name="T0" fmla="*/ 2261 w 2261"/>
                  <a:gd name="T1" fmla="*/ 923 h 1092"/>
                  <a:gd name="T2" fmla="*/ 1733 w 2261"/>
                  <a:gd name="T3" fmla="*/ 0 h 1092"/>
                  <a:gd name="T4" fmla="*/ 1669 w 2261"/>
                  <a:gd name="T5" fmla="*/ 5 h 1092"/>
                  <a:gd name="T6" fmla="*/ 1605 w 2261"/>
                  <a:gd name="T7" fmla="*/ 11 h 1092"/>
                  <a:gd name="T8" fmla="*/ 1541 w 2261"/>
                  <a:gd name="T9" fmla="*/ 18 h 1092"/>
                  <a:gd name="T10" fmla="*/ 1479 w 2261"/>
                  <a:gd name="T11" fmla="*/ 27 h 1092"/>
                  <a:gd name="T12" fmla="*/ 1417 w 2261"/>
                  <a:gd name="T13" fmla="*/ 38 h 1092"/>
                  <a:gd name="T14" fmla="*/ 1354 w 2261"/>
                  <a:gd name="T15" fmla="*/ 50 h 1092"/>
                  <a:gd name="T16" fmla="*/ 1293 w 2261"/>
                  <a:gd name="T17" fmla="*/ 64 h 1092"/>
                  <a:gd name="T18" fmla="*/ 1233 w 2261"/>
                  <a:gd name="T19" fmla="*/ 79 h 1092"/>
                  <a:gd name="T20" fmla="*/ 1173 w 2261"/>
                  <a:gd name="T21" fmla="*/ 96 h 1092"/>
                  <a:gd name="T22" fmla="*/ 1113 w 2261"/>
                  <a:gd name="T23" fmla="*/ 114 h 1092"/>
                  <a:gd name="T24" fmla="*/ 1054 w 2261"/>
                  <a:gd name="T25" fmla="*/ 133 h 1092"/>
                  <a:gd name="T26" fmla="*/ 996 w 2261"/>
                  <a:gd name="T27" fmla="*/ 154 h 1092"/>
                  <a:gd name="T28" fmla="*/ 939 w 2261"/>
                  <a:gd name="T29" fmla="*/ 177 h 1092"/>
                  <a:gd name="T30" fmla="*/ 881 w 2261"/>
                  <a:gd name="T31" fmla="*/ 201 h 1092"/>
                  <a:gd name="T32" fmla="*/ 826 w 2261"/>
                  <a:gd name="T33" fmla="*/ 226 h 1092"/>
                  <a:gd name="T34" fmla="*/ 770 w 2261"/>
                  <a:gd name="T35" fmla="*/ 252 h 1092"/>
                  <a:gd name="T36" fmla="*/ 716 w 2261"/>
                  <a:gd name="T37" fmla="*/ 280 h 1092"/>
                  <a:gd name="T38" fmla="*/ 662 w 2261"/>
                  <a:gd name="T39" fmla="*/ 308 h 1092"/>
                  <a:gd name="T40" fmla="*/ 609 w 2261"/>
                  <a:gd name="T41" fmla="*/ 338 h 1092"/>
                  <a:gd name="T42" fmla="*/ 557 w 2261"/>
                  <a:gd name="T43" fmla="*/ 370 h 1092"/>
                  <a:gd name="T44" fmla="*/ 505 w 2261"/>
                  <a:gd name="T45" fmla="*/ 402 h 1092"/>
                  <a:gd name="T46" fmla="*/ 455 w 2261"/>
                  <a:gd name="T47" fmla="*/ 436 h 1092"/>
                  <a:gd name="T48" fmla="*/ 405 w 2261"/>
                  <a:gd name="T49" fmla="*/ 471 h 1092"/>
                  <a:gd name="T50" fmla="*/ 356 w 2261"/>
                  <a:gd name="T51" fmla="*/ 507 h 1092"/>
                  <a:gd name="T52" fmla="*/ 308 w 2261"/>
                  <a:gd name="T53" fmla="*/ 545 h 1092"/>
                  <a:gd name="T54" fmla="*/ 261 w 2261"/>
                  <a:gd name="T55" fmla="*/ 583 h 1092"/>
                  <a:gd name="T56" fmla="*/ 216 w 2261"/>
                  <a:gd name="T57" fmla="*/ 622 h 1092"/>
                  <a:gd name="T58" fmla="*/ 170 w 2261"/>
                  <a:gd name="T59" fmla="*/ 663 h 1092"/>
                  <a:gd name="T60" fmla="*/ 126 w 2261"/>
                  <a:gd name="T61" fmla="*/ 704 h 1092"/>
                  <a:gd name="T62" fmla="*/ 83 w 2261"/>
                  <a:gd name="T63" fmla="*/ 746 h 1092"/>
                  <a:gd name="T64" fmla="*/ 41 w 2261"/>
                  <a:gd name="T65" fmla="*/ 790 h 1092"/>
                  <a:gd name="T66" fmla="*/ 0 w 2261"/>
                  <a:gd name="T67" fmla="*/ 834 h 1092"/>
                  <a:gd name="T68" fmla="*/ 2148 w 2261"/>
                  <a:gd name="T69" fmla="*/ 1092 h 1092"/>
                  <a:gd name="T70" fmla="*/ 2152 w 2261"/>
                  <a:gd name="T71" fmla="*/ 1079 h 1092"/>
                  <a:gd name="T72" fmla="*/ 2157 w 2261"/>
                  <a:gd name="T73" fmla="*/ 1067 h 1092"/>
                  <a:gd name="T74" fmla="*/ 2162 w 2261"/>
                  <a:gd name="T75" fmla="*/ 1055 h 1092"/>
                  <a:gd name="T76" fmla="*/ 2167 w 2261"/>
                  <a:gd name="T77" fmla="*/ 1043 h 1092"/>
                  <a:gd name="T78" fmla="*/ 2179 w 2261"/>
                  <a:gd name="T79" fmla="*/ 1020 h 1092"/>
                  <a:gd name="T80" fmla="*/ 2192 w 2261"/>
                  <a:gd name="T81" fmla="*/ 998 h 1092"/>
                  <a:gd name="T82" fmla="*/ 2207 w 2261"/>
                  <a:gd name="T83" fmla="*/ 978 h 1092"/>
                  <a:gd name="T84" fmla="*/ 2223 w 2261"/>
                  <a:gd name="T85" fmla="*/ 958 h 1092"/>
                  <a:gd name="T86" fmla="*/ 2241 w 2261"/>
                  <a:gd name="T87" fmla="*/ 940 h 1092"/>
                  <a:gd name="T88" fmla="*/ 2261 w 2261"/>
                  <a:gd name="T89" fmla="*/ 923 h 10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261" h="1092">
                    <a:moveTo>
                      <a:pt x="2261" y="923"/>
                    </a:moveTo>
                    <a:lnTo>
                      <a:pt x="1733" y="0"/>
                    </a:lnTo>
                    <a:lnTo>
                      <a:pt x="1669" y="5"/>
                    </a:lnTo>
                    <a:lnTo>
                      <a:pt x="1605" y="11"/>
                    </a:lnTo>
                    <a:lnTo>
                      <a:pt x="1541" y="18"/>
                    </a:lnTo>
                    <a:lnTo>
                      <a:pt x="1479" y="27"/>
                    </a:lnTo>
                    <a:lnTo>
                      <a:pt x="1417" y="38"/>
                    </a:lnTo>
                    <a:lnTo>
                      <a:pt x="1354" y="50"/>
                    </a:lnTo>
                    <a:lnTo>
                      <a:pt x="1293" y="64"/>
                    </a:lnTo>
                    <a:lnTo>
                      <a:pt x="1233" y="79"/>
                    </a:lnTo>
                    <a:lnTo>
                      <a:pt x="1173" y="96"/>
                    </a:lnTo>
                    <a:lnTo>
                      <a:pt x="1113" y="114"/>
                    </a:lnTo>
                    <a:lnTo>
                      <a:pt x="1054" y="133"/>
                    </a:lnTo>
                    <a:lnTo>
                      <a:pt x="996" y="154"/>
                    </a:lnTo>
                    <a:lnTo>
                      <a:pt x="939" y="177"/>
                    </a:lnTo>
                    <a:lnTo>
                      <a:pt x="881" y="201"/>
                    </a:lnTo>
                    <a:lnTo>
                      <a:pt x="826" y="226"/>
                    </a:lnTo>
                    <a:lnTo>
                      <a:pt x="770" y="252"/>
                    </a:lnTo>
                    <a:lnTo>
                      <a:pt x="716" y="280"/>
                    </a:lnTo>
                    <a:lnTo>
                      <a:pt x="662" y="308"/>
                    </a:lnTo>
                    <a:lnTo>
                      <a:pt x="609" y="338"/>
                    </a:lnTo>
                    <a:lnTo>
                      <a:pt x="557" y="370"/>
                    </a:lnTo>
                    <a:lnTo>
                      <a:pt x="505" y="402"/>
                    </a:lnTo>
                    <a:lnTo>
                      <a:pt x="455" y="436"/>
                    </a:lnTo>
                    <a:lnTo>
                      <a:pt x="405" y="471"/>
                    </a:lnTo>
                    <a:lnTo>
                      <a:pt x="356" y="507"/>
                    </a:lnTo>
                    <a:lnTo>
                      <a:pt x="308" y="545"/>
                    </a:lnTo>
                    <a:lnTo>
                      <a:pt x="261" y="583"/>
                    </a:lnTo>
                    <a:lnTo>
                      <a:pt x="216" y="622"/>
                    </a:lnTo>
                    <a:lnTo>
                      <a:pt x="170" y="663"/>
                    </a:lnTo>
                    <a:lnTo>
                      <a:pt x="126" y="704"/>
                    </a:lnTo>
                    <a:lnTo>
                      <a:pt x="83" y="746"/>
                    </a:lnTo>
                    <a:lnTo>
                      <a:pt x="41" y="790"/>
                    </a:lnTo>
                    <a:lnTo>
                      <a:pt x="0" y="834"/>
                    </a:lnTo>
                    <a:lnTo>
                      <a:pt x="2148" y="1092"/>
                    </a:lnTo>
                    <a:lnTo>
                      <a:pt x="2152" y="1079"/>
                    </a:lnTo>
                    <a:lnTo>
                      <a:pt x="2157" y="1067"/>
                    </a:lnTo>
                    <a:lnTo>
                      <a:pt x="2162" y="1055"/>
                    </a:lnTo>
                    <a:lnTo>
                      <a:pt x="2167" y="1043"/>
                    </a:lnTo>
                    <a:lnTo>
                      <a:pt x="2179" y="1020"/>
                    </a:lnTo>
                    <a:lnTo>
                      <a:pt x="2192" y="998"/>
                    </a:lnTo>
                    <a:lnTo>
                      <a:pt x="2207" y="978"/>
                    </a:lnTo>
                    <a:lnTo>
                      <a:pt x="2223" y="958"/>
                    </a:lnTo>
                    <a:lnTo>
                      <a:pt x="2241" y="940"/>
                    </a:lnTo>
                    <a:lnTo>
                      <a:pt x="2261" y="9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51" name="Freeform 16"/>
              <p:cNvSpPr>
                <a:spLocks/>
              </p:cNvSpPr>
              <p:nvPr/>
            </p:nvSpPr>
            <p:spPr bwMode="auto">
              <a:xfrm>
                <a:off x="351422" y="277809"/>
                <a:ext cx="169523" cy="189323"/>
              </a:xfrm>
              <a:custGeom>
                <a:avLst/>
                <a:gdLst>
                  <a:gd name="T0" fmla="*/ 58 w 1648"/>
                  <a:gd name="T1" fmla="*/ 136 h 1845"/>
                  <a:gd name="T2" fmla="*/ 56 w 1648"/>
                  <a:gd name="T3" fmla="*/ 160 h 1845"/>
                  <a:gd name="T4" fmla="*/ 53 w 1648"/>
                  <a:gd name="T5" fmla="*/ 184 h 1845"/>
                  <a:gd name="T6" fmla="*/ 48 w 1648"/>
                  <a:gd name="T7" fmla="*/ 207 h 1845"/>
                  <a:gd name="T8" fmla="*/ 41 w 1648"/>
                  <a:gd name="T9" fmla="*/ 230 h 1845"/>
                  <a:gd name="T10" fmla="*/ 33 w 1648"/>
                  <a:gd name="T11" fmla="*/ 252 h 1845"/>
                  <a:gd name="T12" fmla="*/ 23 w 1648"/>
                  <a:gd name="T13" fmla="*/ 273 h 1845"/>
                  <a:gd name="T14" fmla="*/ 12 w 1648"/>
                  <a:gd name="T15" fmla="*/ 293 h 1845"/>
                  <a:gd name="T16" fmla="*/ 0 w 1648"/>
                  <a:gd name="T17" fmla="*/ 313 h 1845"/>
                  <a:gd name="T18" fmla="*/ 1617 w 1648"/>
                  <a:gd name="T19" fmla="*/ 1845 h 1845"/>
                  <a:gd name="T20" fmla="*/ 1624 w 1648"/>
                  <a:gd name="T21" fmla="*/ 1797 h 1845"/>
                  <a:gd name="T22" fmla="*/ 1630 w 1648"/>
                  <a:gd name="T23" fmla="*/ 1748 h 1845"/>
                  <a:gd name="T24" fmla="*/ 1635 w 1648"/>
                  <a:gd name="T25" fmla="*/ 1700 h 1845"/>
                  <a:gd name="T26" fmla="*/ 1640 w 1648"/>
                  <a:gd name="T27" fmla="*/ 1651 h 1845"/>
                  <a:gd name="T28" fmla="*/ 1643 w 1648"/>
                  <a:gd name="T29" fmla="*/ 1602 h 1845"/>
                  <a:gd name="T30" fmla="*/ 1646 w 1648"/>
                  <a:gd name="T31" fmla="*/ 1552 h 1845"/>
                  <a:gd name="T32" fmla="*/ 1647 w 1648"/>
                  <a:gd name="T33" fmla="*/ 1503 h 1845"/>
                  <a:gd name="T34" fmla="*/ 1648 w 1648"/>
                  <a:gd name="T35" fmla="*/ 1452 h 1845"/>
                  <a:gd name="T36" fmla="*/ 1647 w 1648"/>
                  <a:gd name="T37" fmla="*/ 1401 h 1845"/>
                  <a:gd name="T38" fmla="*/ 1646 w 1648"/>
                  <a:gd name="T39" fmla="*/ 1351 h 1845"/>
                  <a:gd name="T40" fmla="*/ 1643 w 1648"/>
                  <a:gd name="T41" fmla="*/ 1301 h 1845"/>
                  <a:gd name="T42" fmla="*/ 1640 w 1648"/>
                  <a:gd name="T43" fmla="*/ 1251 h 1845"/>
                  <a:gd name="T44" fmla="*/ 1635 w 1648"/>
                  <a:gd name="T45" fmla="*/ 1202 h 1845"/>
                  <a:gd name="T46" fmla="*/ 1630 w 1648"/>
                  <a:gd name="T47" fmla="*/ 1153 h 1845"/>
                  <a:gd name="T48" fmla="*/ 1624 w 1648"/>
                  <a:gd name="T49" fmla="*/ 1103 h 1845"/>
                  <a:gd name="T50" fmla="*/ 1616 w 1648"/>
                  <a:gd name="T51" fmla="*/ 1054 h 1845"/>
                  <a:gd name="T52" fmla="*/ 1608 w 1648"/>
                  <a:gd name="T53" fmla="*/ 1006 h 1845"/>
                  <a:gd name="T54" fmla="*/ 1599 w 1648"/>
                  <a:gd name="T55" fmla="*/ 958 h 1845"/>
                  <a:gd name="T56" fmla="*/ 1589 w 1648"/>
                  <a:gd name="T57" fmla="*/ 911 h 1845"/>
                  <a:gd name="T58" fmla="*/ 1578 w 1648"/>
                  <a:gd name="T59" fmla="*/ 863 h 1845"/>
                  <a:gd name="T60" fmla="*/ 1567 w 1648"/>
                  <a:gd name="T61" fmla="*/ 816 h 1845"/>
                  <a:gd name="T62" fmla="*/ 1554 w 1648"/>
                  <a:gd name="T63" fmla="*/ 769 h 1845"/>
                  <a:gd name="T64" fmla="*/ 1540 w 1648"/>
                  <a:gd name="T65" fmla="*/ 723 h 1845"/>
                  <a:gd name="T66" fmla="*/ 1526 w 1648"/>
                  <a:gd name="T67" fmla="*/ 677 h 1845"/>
                  <a:gd name="T68" fmla="*/ 1511 w 1648"/>
                  <a:gd name="T69" fmla="*/ 631 h 1845"/>
                  <a:gd name="T70" fmla="*/ 1495 w 1648"/>
                  <a:gd name="T71" fmla="*/ 586 h 1845"/>
                  <a:gd name="T72" fmla="*/ 1478 w 1648"/>
                  <a:gd name="T73" fmla="*/ 542 h 1845"/>
                  <a:gd name="T74" fmla="*/ 1460 w 1648"/>
                  <a:gd name="T75" fmla="*/ 497 h 1845"/>
                  <a:gd name="T76" fmla="*/ 1441 w 1648"/>
                  <a:gd name="T77" fmla="*/ 453 h 1845"/>
                  <a:gd name="T78" fmla="*/ 1421 w 1648"/>
                  <a:gd name="T79" fmla="*/ 409 h 1845"/>
                  <a:gd name="T80" fmla="*/ 1401 w 1648"/>
                  <a:gd name="T81" fmla="*/ 366 h 1845"/>
                  <a:gd name="T82" fmla="*/ 1381 w 1648"/>
                  <a:gd name="T83" fmla="*/ 324 h 1845"/>
                  <a:gd name="T84" fmla="*/ 1359 w 1648"/>
                  <a:gd name="T85" fmla="*/ 281 h 1845"/>
                  <a:gd name="T86" fmla="*/ 1337 w 1648"/>
                  <a:gd name="T87" fmla="*/ 240 h 1845"/>
                  <a:gd name="T88" fmla="*/ 1313 w 1648"/>
                  <a:gd name="T89" fmla="*/ 199 h 1845"/>
                  <a:gd name="T90" fmla="*/ 1289 w 1648"/>
                  <a:gd name="T91" fmla="*/ 158 h 1845"/>
                  <a:gd name="T92" fmla="*/ 1265 w 1648"/>
                  <a:gd name="T93" fmla="*/ 118 h 1845"/>
                  <a:gd name="T94" fmla="*/ 1240 w 1648"/>
                  <a:gd name="T95" fmla="*/ 77 h 1845"/>
                  <a:gd name="T96" fmla="*/ 1214 w 1648"/>
                  <a:gd name="T97" fmla="*/ 38 h 1845"/>
                  <a:gd name="T98" fmla="*/ 1186 w 1648"/>
                  <a:gd name="T99" fmla="*/ 0 h 1845"/>
                  <a:gd name="T100" fmla="*/ 58 w 1648"/>
                  <a:gd name="T101" fmla="*/ 136 h 1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48" h="1845">
                    <a:moveTo>
                      <a:pt x="58" y="136"/>
                    </a:moveTo>
                    <a:lnTo>
                      <a:pt x="56" y="160"/>
                    </a:lnTo>
                    <a:lnTo>
                      <a:pt x="53" y="184"/>
                    </a:lnTo>
                    <a:lnTo>
                      <a:pt x="48" y="207"/>
                    </a:lnTo>
                    <a:lnTo>
                      <a:pt x="41" y="230"/>
                    </a:lnTo>
                    <a:lnTo>
                      <a:pt x="33" y="252"/>
                    </a:lnTo>
                    <a:lnTo>
                      <a:pt x="23" y="273"/>
                    </a:lnTo>
                    <a:lnTo>
                      <a:pt x="12" y="293"/>
                    </a:lnTo>
                    <a:lnTo>
                      <a:pt x="0" y="313"/>
                    </a:lnTo>
                    <a:lnTo>
                      <a:pt x="1617" y="1845"/>
                    </a:lnTo>
                    <a:lnTo>
                      <a:pt x="1624" y="1797"/>
                    </a:lnTo>
                    <a:lnTo>
                      <a:pt x="1630" y="1748"/>
                    </a:lnTo>
                    <a:lnTo>
                      <a:pt x="1635" y="1700"/>
                    </a:lnTo>
                    <a:lnTo>
                      <a:pt x="1640" y="1651"/>
                    </a:lnTo>
                    <a:lnTo>
                      <a:pt x="1643" y="1602"/>
                    </a:lnTo>
                    <a:lnTo>
                      <a:pt x="1646" y="1552"/>
                    </a:lnTo>
                    <a:lnTo>
                      <a:pt x="1647" y="1503"/>
                    </a:lnTo>
                    <a:lnTo>
                      <a:pt x="1648" y="1452"/>
                    </a:lnTo>
                    <a:lnTo>
                      <a:pt x="1647" y="1401"/>
                    </a:lnTo>
                    <a:lnTo>
                      <a:pt x="1646" y="1351"/>
                    </a:lnTo>
                    <a:lnTo>
                      <a:pt x="1643" y="1301"/>
                    </a:lnTo>
                    <a:lnTo>
                      <a:pt x="1640" y="1251"/>
                    </a:lnTo>
                    <a:lnTo>
                      <a:pt x="1635" y="1202"/>
                    </a:lnTo>
                    <a:lnTo>
                      <a:pt x="1630" y="1153"/>
                    </a:lnTo>
                    <a:lnTo>
                      <a:pt x="1624" y="1103"/>
                    </a:lnTo>
                    <a:lnTo>
                      <a:pt x="1616" y="1054"/>
                    </a:lnTo>
                    <a:lnTo>
                      <a:pt x="1608" y="1006"/>
                    </a:lnTo>
                    <a:lnTo>
                      <a:pt x="1599" y="958"/>
                    </a:lnTo>
                    <a:lnTo>
                      <a:pt x="1589" y="911"/>
                    </a:lnTo>
                    <a:lnTo>
                      <a:pt x="1578" y="863"/>
                    </a:lnTo>
                    <a:lnTo>
                      <a:pt x="1567" y="816"/>
                    </a:lnTo>
                    <a:lnTo>
                      <a:pt x="1554" y="769"/>
                    </a:lnTo>
                    <a:lnTo>
                      <a:pt x="1540" y="723"/>
                    </a:lnTo>
                    <a:lnTo>
                      <a:pt x="1526" y="677"/>
                    </a:lnTo>
                    <a:lnTo>
                      <a:pt x="1511" y="631"/>
                    </a:lnTo>
                    <a:lnTo>
                      <a:pt x="1495" y="586"/>
                    </a:lnTo>
                    <a:lnTo>
                      <a:pt x="1478" y="542"/>
                    </a:lnTo>
                    <a:lnTo>
                      <a:pt x="1460" y="497"/>
                    </a:lnTo>
                    <a:lnTo>
                      <a:pt x="1441" y="453"/>
                    </a:lnTo>
                    <a:lnTo>
                      <a:pt x="1421" y="409"/>
                    </a:lnTo>
                    <a:lnTo>
                      <a:pt x="1401" y="366"/>
                    </a:lnTo>
                    <a:lnTo>
                      <a:pt x="1381" y="324"/>
                    </a:lnTo>
                    <a:lnTo>
                      <a:pt x="1359" y="281"/>
                    </a:lnTo>
                    <a:lnTo>
                      <a:pt x="1337" y="240"/>
                    </a:lnTo>
                    <a:lnTo>
                      <a:pt x="1313" y="199"/>
                    </a:lnTo>
                    <a:lnTo>
                      <a:pt x="1289" y="158"/>
                    </a:lnTo>
                    <a:lnTo>
                      <a:pt x="1265" y="118"/>
                    </a:lnTo>
                    <a:lnTo>
                      <a:pt x="1240" y="77"/>
                    </a:lnTo>
                    <a:lnTo>
                      <a:pt x="1214" y="38"/>
                    </a:lnTo>
                    <a:lnTo>
                      <a:pt x="1186" y="0"/>
                    </a:lnTo>
                    <a:lnTo>
                      <a:pt x="58" y="1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52" name="Freeform 17"/>
              <p:cNvSpPr>
                <a:spLocks/>
              </p:cNvSpPr>
              <p:nvPr/>
            </p:nvSpPr>
            <p:spPr bwMode="auto">
              <a:xfrm>
                <a:off x="0" y="281521"/>
                <a:ext cx="288314" cy="188085"/>
              </a:xfrm>
              <a:custGeom>
                <a:avLst/>
                <a:gdLst>
                  <a:gd name="T0" fmla="*/ 2782 w 2801"/>
                  <a:gd name="T1" fmla="*/ 123 h 1832"/>
                  <a:gd name="T2" fmla="*/ 436 w 2801"/>
                  <a:gd name="T3" fmla="*/ 0 h 1832"/>
                  <a:gd name="T4" fmla="*/ 410 w 2801"/>
                  <a:gd name="T5" fmla="*/ 38 h 1832"/>
                  <a:gd name="T6" fmla="*/ 386 w 2801"/>
                  <a:gd name="T7" fmla="*/ 77 h 1832"/>
                  <a:gd name="T8" fmla="*/ 362 w 2801"/>
                  <a:gd name="T9" fmla="*/ 116 h 1832"/>
                  <a:gd name="T10" fmla="*/ 337 w 2801"/>
                  <a:gd name="T11" fmla="*/ 155 h 1832"/>
                  <a:gd name="T12" fmla="*/ 315 w 2801"/>
                  <a:gd name="T13" fmla="*/ 195 h 1832"/>
                  <a:gd name="T14" fmla="*/ 293 w 2801"/>
                  <a:gd name="T15" fmla="*/ 236 h 1832"/>
                  <a:gd name="T16" fmla="*/ 272 w 2801"/>
                  <a:gd name="T17" fmla="*/ 276 h 1832"/>
                  <a:gd name="T18" fmla="*/ 251 w 2801"/>
                  <a:gd name="T19" fmla="*/ 317 h 1832"/>
                  <a:gd name="T20" fmla="*/ 232 w 2801"/>
                  <a:gd name="T21" fmla="*/ 359 h 1832"/>
                  <a:gd name="T22" fmla="*/ 213 w 2801"/>
                  <a:gd name="T23" fmla="*/ 401 h 1832"/>
                  <a:gd name="T24" fmla="*/ 195 w 2801"/>
                  <a:gd name="T25" fmla="*/ 444 h 1832"/>
                  <a:gd name="T26" fmla="*/ 177 w 2801"/>
                  <a:gd name="T27" fmla="*/ 487 h 1832"/>
                  <a:gd name="T28" fmla="*/ 160 w 2801"/>
                  <a:gd name="T29" fmla="*/ 530 h 1832"/>
                  <a:gd name="T30" fmla="*/ 145 w 2801"/>
                  <a:gd name="T31" fmla="*/ 574 h 1832"/>
                  <a:gd name="T32" fmla="*/ 129 w 2801"/>
                  <a:gd name="T33" fmla="*/ 618 h 1832"/>
                  <a:gd name="T34" fmla="*/ 114 w 2801"/>
                  <a:gd name="T35" fmla="*/ 662 h 1832"/>
                  <a:gd name="T36" fmla="*/ 101 w 2801"/>
                  <a:gd name="T37" fmla="*/ 707 h 1832"/>
                  <a:gd name="T38" fmla="*/ 88 w 2801"/>
                  <a:gd name="T39" fmla="*/ 753 h 1832"/>
                  <a:gd name="T40" fmla="*/ 76 w 2801"/>
                  <a:gd name="T41" fmla="*/ 798 h 1832"/>
                  <a:gd name="T42" fmla="*/ 65 w 2801"/>
                  <a:gd name="T43" fmla="*/ 844 h 1832"/>
                  <a:gd name="T44" fmla="*/ 55 w 2801"/>
                  <a:gd name="T45" fmla="*/ 890 h 1832"/>
                  <a:gd name="T46" fmla="*/ 45 w 2801"/>
                  <a:gd name="T47" fmla="*/ 936 h 1832"/>
                  <a:gd name="T48" fmla="*/ 37 w 2801"/>
                  <a:gd name="T49" fmla="*/ 983 h 1832"/>
                  <a:gd name="T50" fmla="*/ 29 w 2801"/>
                  <a:gd name="T51" fmla="*/ 1030 h 1832"/>
                  <a:gd name="T52" fmla="*/ 22 w 2801"/>
                  <a:gd name="T53" fmla="*/ 1077 h 1832"/>
                  <a:gd name="T54" fmla="*/ 17 w 2801"/>
                  <a:gd name="T55" fmla="*/ 1126 h 1832"/>
                  <a:gd name="T56" fmla="*/ 12 w 2801"/>
                  <a:gd name="T57" fmla="*/ 1173 h 1832"/>
                  <a:gd name="T58" fmla="*/ 7 w 2801"/>
                  <a:gd name="T59" fmla="*/ 1221 h 1832"/>
                  <a:gd name="T60" fmla="*/ 4 w 2801"/>
                  <a:gd name="T61" fmla="*/ 1270 h 1832"/>
                  <a:gd name="T62" fmla="*/ 2 w 2801"/>
                  <a:gd name="T63" fmla="*/ 1318 h 1832"/>
                  <a:gd name="T64" fmla="*/ 0 w 2801"/>
                  <a:gd name="T65" fmla="*/ 1367 h 1832"/>
                  <a:gd name="T66" fmla="*/ 0 w 2801"/>
                  <a:gd name="T67" fmla="*/ 1416 h 1832"/>
                  <a:gd name="T68" fmla="*/ 1 w 2801"/>
                  <a:gd name="T69" fmla="*/ 1470 h 1832"/>
                  <a:gd name="T70" fmla="*/ 2 w 2801"/>
                  <a:gd name="T71" fmla="*/ 1522 h 1832"/>
                  <a:gd name="T72" fmla="*/ 5 w 2801"/>
                  <a:gd name="T73" fmla="*/ 1575 h 1832"/>
                  <a:gd name="T74" fmla="*/ 9 w 2801"/>
                  <a:gd name="T75" fmla="*/ 1627 h 1832"/>
                  <a:gd name="T76" fmla="*/ 14 w 2801"/>
                  <a:gd name="T77" fmla="*/ 1678 h 1832"/>
                  <a:gd name="T78" fmla="*/ 20 w 2801"/>
                  <a:gd name="T79" fmla="*/ 1730 h 1832"/>
                  <a:gd name="T80" fmla="*/ 27 w 2801"/>
                  <a:gd name="T81" fmla="*/ 1782 h 1832"/>
                  <a:gd name="T82" fmla="*/ 35 w 2801"/>
                  <a:gd name="T83" fmla="*/ 1832 h 1832"/>
                  <a:gd name="T84" fmla="*/ 2801 w 2801"/>
                  <a:gd name="T85" fmla="*/ 208 h 1832"/>
                  <a:gd name="T86" fmla="*/ 2794 w 2801"/>
                  <a:gd name="T87" fmla="*/ 188 h 1832"/>
                  <a:gd name="T88" fmla="*/ 2789 w 2801"/>
                  <a:gd name="T89" fmla="*/ 167 h 1832"/>
                  <a:gd name="T90" fmla="*/ 2785 w 2801"/>
                  <a:gd name="T91" fmla="*/ 145 h 1832"/>
                  <a:gd name="T92" fmla="*/ 2782 w 2801"/>
                  <a:gd name="T93" fmla="*/ 123 h 1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801" h="1832">
                    <a:moveTo>
                      <a:pt x="2782" y="123"/>
                    </a:moveTo>
                    <a:lnTo>
                      <a:pt x="436" y="0"/>
                    </a:lnTo>
                    <a:lnTo>
                      <a:pt x="410" y="38"/>
                    </a:lnTo>
                    <a:lnTo>
                      <a:pt x="386" y="77"/>
                    </a:lnTo>
                    <a:lnTo>
                      <a:pt x="362" y="116"/>
                    </a:lnTo>
                    <a:lnTo>
                      <a:pt x="337" y="155"/>
                    </a:lnTo>
                    <a:lnTo>
                      <a:pt x="315" y="195"/>
                    </a:lnTo>
                    <a:lnTo>
                      <a:pt x="293" y="236"/>
                    </a:lnTo>
                    <a:lnTo>
                      <a:pt x="272" y="276"/>
                    </a:lnTo>
                    <a:lnTo>
                      <a:pt x="251" y="317"/>
                    </a:lnTo>
                    <a:lnTo>
                      <a:pt x="232" y="359"/>
                    </a:lnTo>
                    <a:lnTo>
                      <a:pt x="213" y="401"/>
                    </a:lnTo>
                    <a:lnTo>
                      <a:pt x="195" y="444"/>
                    </a:lnTo>
                    <a:lnTo>
                      <a:pt x="177" y="487"/>
                    </a:lnTo>
                    <a:lnTo>
                      <a:pt x="160" y="530"/>
                    </a:lnTo>
                    <a:lnTo>
                      <a:pt x="145" y="574"/>
                    </a:lnTo>
                    <a:lnTo>
                      <a:pt x="129" y="618"/>
                    </a:lnTo>
                    <a:lnTo>
                      <a:pt x="114" y="662"/>
                    </a:lnTo>
                    <a:lnTo>
                      <a:pt x="101" y="707"/>
                    </a:lnTo>
                    <a:lnTo>
                      <a:pt x="88" y="753"/>
                    </a:lnTo>
                    <a:lnTo>
                      <a:pt x="76" y="798"/>
                    </a:lnTo>
                    <a:lnTo>
                      <a:pt x="65" y="844"/>
                    </a:lnTo>
                    <a:lnTo>
                      <a:pt x="55" y="890"/>
                    </a:lnTo>
                    <a:lnTo>
                      <a:pt x="45" y="936"/>
                    </a:lnTo>
                    <a:lnTo>
                      <a:pt x="37" y="983"/>
                    </a:lnTo>
                    <a:lnTo>
                      <a:pt x="29" y="1030"/>
                    </a:lnTo>
                    <a:lnTo>
                      <a:pt x="22" y="1077"/>
                    </a:lnTo>
                    <a:lnTo>
                      <a:pt x="17" y="1126"/>
                    </a:lnTo>
                    <a:lnTo>
                      <a:pt x="12" y="1173"/>
                    </a:lnTo>
                    <a:lnTo>
                      <a:pt x="7" y="1221"/>
                    </a:lnTo>
                    <a:lnTo>
                      <a:pt x="4" y="1270"/>
                    </a:lnTo>
                    <a:lnTo>
                      <a:pt x="2" y="1318"/>
                    </a:lnTo>
                    <a:lnTo>
                      <a:pt x="0" y="1367"/>
                    </a:lnTo>
                    <a:lnTo>
                      <a:pt x="0" y="1416"/>
                    </a:lnTo>
                    <a:lnTo>
                      <a:pt x="1" y="1470"/>
                    </a:lnTo>
                    <a:lnTo>
                      <a:pt x="2" y="1522"/>
                    </a:lnTo>
                    <a:lnTo>
                      <a:pt x="5" y="1575"/>
                    </a:lnTo>
                    <a:lnTo>
                      <a:pt x="9" y="1627"/>
                    </a:lnTo>
                    <a:lnTo>
                      <a:pt x="14" y="1678"/>
                    </a:lnTo>
                    <a:lnTo>
                      <a:pt x="20" y="1730"/>
                    </a:lnTo>
                    <a:lnTo>
                      <a:pt x="27" y="1782"/>
                    </a:lnTo>
                    <a:lnTo>
                      <a:pt x="35" y="1832"/>
                    </a:lnTo>
                    <a:lnTo>
                      <a:pt x="2801" y="208"/>
                    </a:lnTo>
                    <a:lnTo>
                      <a:pt x="2794" y="188"/>
                    </a:lnTo>
                    <a:lnTo>
                      <a:pt x="2789" y="167"/>
                    </a:lnTo>
                    <a:lnTo>
                      <a:pt x="2785" y="145"/>
                    </a:lnTo>
                    <a:lnTo>
                      <a:pt x="2782" y="1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53" name="Freeform 18"/>
              <p:cNvSpPr>
                <a:spLocks/>
              </p:cNvSpPr>
              <p:nvPr/>
            </p:nvSpPr>
            <p:spPr bwMode="auto">
              <a:xfrm>
                <a:off x="277178" y="167680"/>
                <a:ext cx="176948" cy="108891"/>
              </a:xfrm>
              <a:custGeom>
                <a:avLst/>
                <a:gdLst>
                  <a:gd name="T0" fmla="*/ 442 w 1714"/>
                  <a:gd name="T1" fmla="*/ 845 h 1055"/>
                  <a:gd name="T2" fmla="*/ 467 w 1714"/>
                  <a:gd name="T3" fmla="*/ 846 h 1055"/>
                  <a:gd name="T4" fmla="*/ 493 w 1714"/>
                  <a:gd name="T5" fmla="*/ 850 h 1055"/>
                  <a:gd name="T6" fmla="*/ 518 w 1714"/>
                  <a:gd name="T7" fmla="*/ 855 h 1055"/>
                  <a:gd name="T8" fmla="*/ 542 w 1714"/>
                  <a:gd name="T9" fmla="*/ 862 h 1055"/>
                  <a:gd name="T10" fmla="*/ 565 w 1714"/>
                  <a:gd name="T11" fmla="*/ 871 h 1055"/>
                  <a:gd name="T12" fmla="*/ 587 w 1714"/>
                  <a:gd name="T13" fmla="*/ 881 h 1055"/>
                  <a:gd name="T14" fmla="*/ 608 w 1714"/>
                  <a:gd name="T15" fmla="*/ 893 h 1055"/>
                  <a:gd name="T16" fmla="*/ 629 w 1714"/>
                  <a:gd name="T17" fmla="*/ 906 h 1055"/>
                  <a:gd name="T18" fmla="*/ 648 w 1714"/>
                  <a:gd name="T19" fmla="*/ 920 h 1055"/>
                  <a:gd name="T20" fmla="*/ 666 w 1714"/>
                  <a:gd name="T21" fmla="*/ 936 h 1055"/>
                  <a:gd name="T22" fmla="*/ 684 w 1714"/>
                  <a:gd name="T23" fmla="*/ 953 h 1055"/>
                  <a:gd name="T24" fmla="*/ 699 w 1714"/>
                  <a:gd name="T25" fmla="*/ 971 h 1055"/>
                  <a:gd name="T26" fmla="*/ 714 w 1714"/>
                  <a:gd name="T27" fmla="*/ 991 h 1055"/>
                  <a:gd name="T28" fmla="*/ 727 w 1714"/>
                  <a:gd name="T29" fmla="*/ 1011 h 1055"/>
                  <a:gd name="T30" fmla="*/ 739 w 1714"/>
                  <a:gd name="T31" fmla="*/ 1032 h 1055"/>
                  <a:gd name="T32" fmla="*/ 750 w 1714"/>
                  <a:gd name="T33" fmla="*/ 1055 h 1055"/>
                  <a:gd name="T34" fmla="*/ 1714 w 1714"/>
                  <a:gd name="T35" fmla="*/ 825 h 1055"/>
                  <a:gd name="T36" fmla="*/ 1672 w 1714"/>
                  <a:gd name="T37" fmla="*/ 781 h 1055"/>
                  <a:gd name="T38" fmla="*/ 1631 w 1714"/>
                  <a:gd name="T39" fmla="*/ 739 h 1055"/>
                  <a:gd name="T40" fmla="*/ 1588 w 1714"/>
                  <a:gd name="T41" fmla="*/ 697 h 1055"/>
                  <a:gd name="T42" fmla="*/ 1545 w 1714"/>
                  <a:gd name="T43" fmla="*/ 656 h 1055"/>
                  <a:gd name="T44" fmla="*/ 1500 w 1714"/>
                  <a:gd name="T45" fmla="*/ 616 h 1055"/>
                  <a:gd name="T46" fmla="*/ 1455 w 1714"/>
                  <a:gd name="T47" fmla="*/ 577 h 1055"/>
                  <a:gd name="T48" fmla="*/ 1408 w 1714"/>
                  <a:gd name="T49" fmla="*/ 540 h 1055"/>
                  <a:gd name="T50" fmla="*/ 1360 w 1714"/>
                  <a:gd name="T51" fmla="*/ 502 h 1055"/>
                  <a:gd name="T52" fmla="*/ 1312 w 1714"/>
                  <a:gd name="T53" fmla="*/ 467 h 1055"/>
                  <a:gd name="T54" fmla="*/ 1263 w 1714"/>
                  <a:gd name="T55" fmla="*/ 432 h 1055"/>
                  <a:gd name="T56" fmla="*/ 1213 w 1714"/>
                  <a:gd name="T57" fmla="*/ 399 h 1055"/>
                  <a:gd name="T58" fmla="*/ 1162 w 1714"/>
                  <a:gd name="T59" fmla="*/ 367 h 1055"/>
                  <a:gd name="T60" fmla="*/ 1110 w 1714"/>
                  <a:gd name="T61" fmla="*/ 336 h 1055"/>
                  <a:gd name="T62" fmla="*/ 1058 w 1714"/>
                  <a:gd name="T63" fmla="*/ 307 h 1055"/>
                  <a:gd name="T64" fmla="*/ 1005 w 1714"/>
                  <a:gd name="T65" fmla="*/ 278 h 1055"/>
                  <a:gd name="T66" fmla="*/ 950 w 1714"/>
                  <a:gd name="T67" fmla="*/ 251 h 1055"/>
                  <a:gd name="T68" fmla="*/ 896 w 1714"/>
                  <a:gd name="T69" fmla="*/ 225 h 1055"/>
                  <a:gd name="T70" fmla="*/ 841 w 1714"/>
                  <a:gd name="T71" fmla="*/ 201 h 1055"/>
                  <a:gd name="T72" fmla="*/ 785 w 1714"/>
                  <a:gd name="T73" fmla="*/ 177 h 1055"/>
                  <a:gd name="T74" fmla="*/ 727 w 1714"/>
                  <a:gd name="T75" fmla="*/ 154 h 1055"/>
                  <a:gd name="T76" fmla="*/ 670 w 1714"/>
                  <a:gd name="T77" fmla="*/ 134 h 1055"/>
                  <a:gd name="T78" fmla="*/ 612 w 1714"/>
                  <a:gd name="T79" fmla="*/ 114 h 1055"/>
                  <a:gd name="T80" fmla="*/ 554 w 1714"/>
                  <a:gd name="T81" fmla="*/ 96 h 1055"/>
                  <a:gd name="T82" fmla="*/ 494 w 1714"/>
                  <a:gd name="T83" fmla="*/ 80 h 1055"/>
                  <a:gd name="T84" fmla="*/ 434 w 1714"/>
                  <a:gd name="T85" fmla="*/ 65 h 1055"/>
                  <a:gd name="T86" fmla="*/ 374 w 1714"/>
                  <a:gd name="T87" fmla="*/ 51 h 1055"/>
                  <a:gd name="T88" fmla="*/ 313 w 1714"/>
                  <a:gd name="T89" fmla="*/ 39 h 1055"/>
                  <a:gd name="T90" fmla="*/ 251 w 1714"/>
                  <a:gd name="T91" fmla="*/ 28 h 1055"/>
                  <a:gd name="T92" fmla="*/ 189 w 1714"/>
                  <a:gd name="T93" fmla="*/ 19 h 1055"/>
                  <a:gd name="T94" fmla="*/ 127 w 1714"/>
                  <a:gd name="T95" fmla="*/ 11 h 1055"/>
                  <a:gd name="T96" fmla="*/ 64 w 1714"/>
                  <a:gd name="T97" fmla="*/ 4 h 1055"/>
                  <a:gd name="T98" fmla="*/ 0 w 1714"/>
                  <a:gd name="T99" fmla="*/ 0 h 1055"/>
                  <a:gd name="T100" fmla="*/ 357 w 1714"/>
                  <a:gd name="T101" fmla="*/ 855 h 1055"/>
                  <a:gd name="T102" fmla="*/ 377 w 1714"/>
                  <a:gd name="T103" fmla="*/ 851 h 1055"/>
                  <a:gd name="T104" fmla="*/ 398 w 1714"/>
                  <a:gd name="T105" fmla="*/ 848 h 1055"/>
                  <a:gd name="T106" fmla="*/ 420 w 1714"/>
                  <a:gd name="T107" fmla="*/ 845 h 1055"/>
                  <a:gd name="T108" fmla="*/ 442 w 1714"/>
                  <a:gd name="T109" fmla="*/ 845 h 10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14" h="1055">
                    <a:moveTo>
                      <a:pt x="442" y="845"/>
                    </a:moveTo>
                    <a:lnTo>
                      <a:pt x="467" y="846"/>
                    </a:lnTo>
                    <a:lnTo>
                      <a:pt x="493" y="850"/>
                    </a:lnTo>
                    <a:lnTo>
                      <a:pt x="518" y="855"/>
                    </a:lnTo>
                    <a:lnTo>
                      <a:pt x="542" y="862"/>
                    </a:lnTo>
                    <a:lnTo>
                      <a:pt x="565" y="871"/>
                    </a:lnTo>
                    <a:lnTo>
                      <a:pt x="587" y="881"/>
                    </a:lnTo>
                    <a:lnTo>
                      <a:pt x="608" y="893"/>
                    </a:lnTo>
                    <a:lnTo>
                      <a:pt x="629" y="906"/>
                    </a:lnTo>
                    <a:lnTo>
                      <a:pt x="648" y="920"/>
                    </a:lnTo>
                    <a:lnTo>
                      <a:pt x="666" y="936"/>
                    </a:lnTo>
                    <a:lnTo>
                      <a:pt x="684" y="953"/>
                    </a:lnTo>
                    <a:lnTo>
                      <a:pt x="699" y="971"/>
                    </a:lnTo>
                    <a:lnTo>
                      <a:pt x="714" y="991"/>
                    </a:lnTo>
                    <a:lnTo>
                      <a:pt x="727" y="1011"/>
                    </a:lnTo>
                    <a:lnTo>
                      <a:pt x="739" y="1032"/>
                    </a:lnTo>
                    <a:lnTo>
                      <a:pt x="750" y="1055"/>
                    </a:lnTo>
                    <a:lnTo>
                      <a:pt x="1714" y="825"/>
                    </a:lnTo>
                    <a:lnTo>
                      <a:pt x="1672" y="781"/>
                    </a:lnTo>
                    <a:lnTo>
                      <a:pt x="1631" y="739"/>
                    </a:lnTo>
                    <a:lnTo>
                      <a:pt x="1588" y="697"/>
                    </a:lnTo>
                    <a:lnTo>
                      <a:pt x="1545" y="656"/>
                    </a:lnTo>
                    <a:lnTo>
                      <a:pt x="1500" y="616"/>
                    </a:lnTo>
                    <a:lnTo>
                      <a:pt x="1455" y="577"/>
                    </a:lnTo>
                    <a:lnTo>
                      <a:pt x="1408" y="540"/>
                    </a:lnTo>
                    <a:lnTo>
                      <a:pt x="1360" y="502"/>
                    </a:lnTo>
                    <a:lnTo>
                      <a:pt x="1312" y="467"/>
                    </a:lnTo>
                    <a:lnTo>
                      <a:pt x="1263" y="432"/>
                    </a:lnTo>
                    <a:lnTo>
                      <a:pt x="1213" y="399"/>
                    </a:lnTo>
                    <a:lnTo>
                      <a:pt x="1162" y="367"/>
                    </a:lnTo>
                    <a:lnTo>
                      <a:pt x="1110" y="336"/>
                    </a:lnTo>
                    <a:lnTo>
                      <a:pt x="1058" y="307"/>
                    </a:lnTo>
                    <a:lnTo>
                      <a:pt x="1005" y="278"/>
                    </a:lnTo>
                    <a:lnTo>
                      <a:pt x="950" y="251"/>
                    </a:lnTo>
                    <a:lnTo>
                      <a:pt x="896" y="225"/>
                    </a:lnTo>
                    <a:lnTo>
                      <a:pt x="841" y="201"/>
                    </a:lnTo>
                    <a:lnTo>
                      <a:pt x="785" y="177"/>
                    </a:lnTo>
                    <a:lnTo>
                      <a:pt x="727" y="154"/>
                    </a:lnTo>
                    <a:lnTo>
                      <a:pt x="670" y="134"/>
                    </a:lnTo>
                    <a:lnTo>
                      <a:pt x="612" y="114"/>
                    </a:lnTo>
                    <a:lnTo>
                      <a:pt x="554" y="96"/>
                    </a:lnTo>
                    <a:lnTo>
                      <a:pt x="494" y="80"/>
                    </a:lnTo>
                    <a:lnTo>
                      <a:pt x="434" y="65"/>
                    </a:lnTo>
                    <a:lnTo>
                      <a:pt x="374" y="51"/>
                    </a:lnTo>
                    <a:lnTo>
                      <a:pt x="313" y="39"/>
                    </a:lnTo>
                    <a:lnTo>
                      <a:pt x="251" y="28"/>
                    </a:lnTo>
                    <a:lnTo>
                      <a:pt x="189" y="19"/>
                    </a:lnTo>
                    <a:lnTo>
                      <a:pt x="127" y="11"/>
                    </a:lnTo>
                    <a:lnTo>
                      <a:pt x="64" y="4"/>
                    </a:lnTo>
                    <a:lnTo>
                      <a:pt x="0" y="0"/>
                    </a:lnTo>
                    <a:lnTo>
                      <a:pt x="357" y="855"/>
                    </a:lnTo>
                    <a:lnTo>
                      <a:pt x="377" y="851"/>
                    </a:lnTo>
                    <a:lnTo>
                      <a:pt x="398" y="848"/>
                    </a:lnTo>
                    <a:lnTo>
                      <a:pt x="420" y="845"/>
                    </a:lnTo>
                    <a:lnTo>
                      <a:pt x="442" y="8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229628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Разделительный слайд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3234719" y="3861048"/>
            <a:ext cx="8368315" cy="720080"/>
          </a:xfrm>
          <a:prstGeom prst="rect">
            <a:avLst/>
          </a:prstGeom>
        </p:spPr>
        <p:txBody>
          <a:bodyPr lIns="0" rIns="0" anchor="ctr"/>
          <a:lstStyle>
            <a:lvl1pPr>
              <a:defRPr sz="32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НАЗВАНИЕ РАЗДЕЛА В ОДНУ</a:t>
            </a:r>
            <a:br>
              <a:rPr lang="ru-RU" dirty="0"/>
            </a:br>
            <a:r>
              <a:rPr lang="ru-RU" dirty="0"/>
              <a:t>ИЛИ НЕСКОЛЬКО СТРОК</a:t>
            </a:r>
          </a:p>
        </p:txBody>
      </p:sp>
      <p:sp>
        <p:nvSpPr>
          <p:cNvPr id="6" name="Текст 3"/>
          <p:cNvSpPr>
            <a:spLocks noGrp="1"/>
          </p:cNvSpPr>
          <p:nvPr>
            <p:ph type="body" sz="quarter" idx="11" hasCustomPrompt="1"/>
          </p:nvPr>
        </p:nvSpPr>
        <p:spPr>
          <a:xfrm>
            <a:off x="3234719" y="2545202"/>
            <a:ext cx="792088" cy="871297"/>
          </a:xfrm>
          <a:prstGeom prst="rect">
            <a:avLst/>
          </a:prstGeom>
        </p:spPr>
        <p:txBody>
          <a:bodyPr lIns="0" rIns="0" anchor="ctr" anchorCtr="0"/>
          <a:lstStyle>
            <a:lvl1pPr algn="l">
              <a:defRPr sz="9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30" name="Текст 3"/>
          <p:cNvSpPr>
            <a:spLocks noGrp="1"/>
          </p:cNvSpPr>
          <p:nvPr>
            <p:ph type="body" sz="quarter" idx="12" hasCustomPrompt="1"/>
          </p:nvPr>
        </p:nvSpPr>
        <p:spPr>
          <a:xfrm>
            <a:off x="3234720" y="4806984"/>
            <a:ext cx="8368318" cy="720080"/>
          </a:xfrm>
          <a:prstGeom prst="rect">
            <a:avLst/>
          </a:prstGeom>
        </p:spPr>
        <p:txBody>
          <a:bodyPr lIns="0" rIns="0" anchor="ctr"/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Краткое пояснение названия</a:t>
            </a:r>
            <a:br>
              <a:rPr lang="ru-RU" dirty="0"/>
            </a:br>
            <a:r>
              <a:rPr lang="ru-RU" dirty="0"/>
              <a:t>в одну или две строки</a:t>
            </a:r>
          </a:p>
        </p:txBody>
      </p:sp>
    </p:spTree>
    <p:extLst>
      <p:ext uri="{BB962C8B-B14F-4D97-AF65-F5344CB8AC3E}">
        <p14:creationId xmlns:p14="http://schemas.microsoft.com/office/powerpoint/2010/main" val="63611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3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Разделительный слайд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2855640" cy="6858000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400" b="0" i="0" dirty="0">
              <a:solidFill>
                <a:schemeClr val="tx1"/>
              </a:solidFill>
              <a:latin typeface="PF Din Text Cond Pro Обычный" charset="0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033937" y="2862768"/>
            <a:ext cx="7569101" cy="1032574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48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Название раздела в одну</a:t>
            </a:r>
            <a:br>
              <a:rPr lang="ru-RU" dirty="0"/>
            </a:br>
            <a:r>
              <a:rPr lang="ru-RU" dirty="0"/>
              <a:t>или несколько строк</a:t>
            </a:r>
          </a:p>
        </p:txBody>
      </p:sp>
      <p:sp>
        <p:nvSpPr>
          <p:cNvPr id="30" name="Текст 3"/>
          <p:cNvSpPr>
            <a:spLocks noGrp="1"/>
          </p:cNvSpPr>
          <p:nvPr>
            <p:ph type="body" sz="quarter" idx="12" hasCustomPrompt="1"/>
          </p:nvPr>
        </p:nvSpPr>
        <p:spPr>
          <a:xfrm>
            <a:off x="4033938" y="4595856"/>
            <a:ext cx="7569104" cy="571168"/>
          </a:xfrm>
          <a:prstGeom prst="rect">
            <a:avLst/>
          </a:prstGeom>
        </p:spPr>
        <p:txBody>
          <a:bodyPr lIns="0" rIns="0" anchor="ctr"/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Краткое пояснение названия</a:t>
            </a:r>
            <a:br>
              <a:rPr lang="ru-RU" dirty="0"/>
            </a:br>
            <a:r>
              <a:rPr lang="ru-RU" dirty="0"/>
              <a:t>в одну или две строки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quarter" idx="11" hasCustomPrompt="1"/>
          </p:nvPr>
        </p:nvSpPr>
        <p:spPr>
          <a:xfrm>
            <a:off x="3234719" y="2787576"/>
            <a:ext cx="792088" cy="871297"/>
          </a:xfrm>
          <a:prstGeom prst="rect">
            <a:avLst/>
          </a:prstGeom>
        </p:spPr>
        <p:txBody>
          <a:bodyPr lIns="0" rIns="0" anchor="ctr" anchorCtr="0"/>
          <a:lstStyle>
            <a:lvl1pPr algn="l"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grpSp>
        <p:nvGrpSpPr>
          <p:cNvPr id="8" name="Группа 7"/>
          <p:cNvGrpSpPr/>
          <p:nvPr userDrawn="1"/>
        </p:nvGrpSpPr>
        <p:grpSpPr>
          <a:xfrm>
            <a:off x="623392" y="463656"/>
            <a:ext cx="1556539" cy="439236"/>
            <a:chOff x="0" y="687388"/>
            <a:chExt cx="1440180" cy="406401"/>
          </a:xfrm>
          <a:solidFill>
            <a:schemeClr val="bg1"/>
          </a:solidFill>
        </p:grpSpPr>
        <p:grpSp>
          <p:nvGrpSpPr>
            <p:cNvPr id="9" name="Группа 8"/>
            <p:cNvGrpSpPr/>
            <p:nvPr userDrawn="1"/>
          </p:nvGrpSpPr>
          <p:grpSpPr>
            <a:xfrm>
              <a:off x="493068" y="808707"/>
              <a:ext cx="947112" cy="176599"/>
              <a:chOff x="614988" y="259248"/>
              <a:chExt cx="1041891" cy="194272"/>
            </a:xfrm>
            <a:grpFill/>
          </p:grpSpPr>
          <p:sp>
            <p:nvSpPr>
              <p:cNvPr id="18" name="Freeform 5"/>
              <p:cNvSpPr>
                <a:spLocks noEditPoints="1"/>
              </p:cNvSpPr>
              <p:nvPr/>
            </p:nvSpPr>
            <p:spPr bwMode="auto">
              <a:xfrm>
                <a:off x="614988" y="260485"/>
                <a:ext cx="122502" cy="190560"/>
              </a:xfrm>
              <a:custGeom>
                <a:avLst/>
                <a:gdLst>
                  <a:gd name="T0" fmla="*/ 723 w 1181"/>
                  <a:gd name="T1" fmla="*/ 773 h 1846"/>
                  <a:gd name="T2" fmla="*/ 688 w 1181"/>
                  <a:gd name="T3" fmla="*/ 793 h 1846"/>
                  <a:gd name="T4" fmla="*/ 650 w 1181"/>
                  <a:gd name="T5" fmla="*/ 806 h 1846"/>
                  <a:gd name="T6" fmla="*/ 611 w 1181"/>
                  <a:gd name="T7" fmla="*/ 813 h 1846"/>
                  <a:gd name="T8" fmla="*/ 385 w 1181"/>
                  <a:gd name="T9" fmla="*/ 813 h 1846"/>
                  <a:gd name="T10" fmla="*/ 587 w 1181"/>
                  <a:gd name="T11" fmla="*/ 355 h 1846"/>
                  <a:gd name="T12" fmla="*/ 635 w 1181"/>
                  <a:gd name="T13" fmla="*/ 358 h 1846"/>
                  <a:gd name="T14" fmla="*/ 677 w 1181"/>
                  <a:gd name="T15" fmla="*/ 368 h 1846"/>
                  <a:gd name="T16" fmla="*/ 696 w 1181"/>
                  <a:gd name="T17" fmla="*/ 375 h 1846"/>
                  <a:gd name="T18" fmla="*/ 714 w 1181"/>
                  <a:gd name="T19" fmla="*/ 384 h 1846"/>
                  <a:gd name="T20" fmla="*/ 731 w 1181"/>
                  <a:gd name="T21" fmla="*/ 395 h 1846"/>
                  <a:gd name="T22" fmla="*/ 746 w 1181"/>
                  <a:gd name="T23" fmla="*/ 407 h 1846"/>
                  <a:gd name="T24" fmla="*/ 759 w 1181"/>
                  <a:gd name="T25" fmla="*/ 421 h 1846"/>
                  <a:gd name="T26" fmla="*/ 772 w 1181"/>
                  <a:gd name="T27" fmla="*/ 437 h 1846"/>
                  <a:gd name="T28" fmla="*/ 782 w 1181"/>
                  <a:gd name="T29" fmla="*/ 455 h 1846"/>
                  <a:gd name="T30" fmla="*/ 790 w 1181"/>
                  <a:gd name="T31" fmla="*/ 476 h 1846"/>
                  <a:gd name="T32" fmla="*/ 797 w 1181"/>
                  <a:gd name="T33" fmla="*/ 498 h 1846"/>
                  <a:gd name="T34" fmla="*/ 801 w 1181"/>
                  <a:gd name="T35" fmla="*/ 522 h 1846"/>
                  <a:gd name="T36" fmla="*/ 805 w 1181"/>
                  <a:gd name="T37" fmla="*/ 578 h 1846"/>
                  <a:gd name="T38" fmla="*/ 804 w 1181"/>
                  <a:gd name="T39" fmla="*/ 610 h 1846"/>
                  <a:gd name="T40" fmla="*/ 801 w 1181"/>
                  <a:gd name="T41" fmla="*/ 639 h 1846"/>
                  <a:gd name="T42" fmla="*/ 796 w 1181"/>
                  <a:gd name="T43" fmla="*/ 665 h 1846"/>
                  <a:gd name="T44" fmla="*/ 789 w 1181"/>
                  <a:gd name="T45" fmla="*/ 689 h 1846"/>
                  <a:gd name="T46" fmla="*/ 780 w 1181"/>
                  <a:gd name="T47" fmla="*/ 710 h 1846"/>
                  <a:gd name="T48" fmla="*/ 769 w 1181"/>
                  <a:gd name="T49" fmla="*/ 730 h 1846"/>
                  <a:gd name="T50" fmla="*/ 754 w 1181"/>
                  <a:gd name="T51" fmla="*/ 746 h 1846"/>
                  <a:gd name="T52" fmla="*/ 739 w 1181"/>
                  <a:gd name="T53" fmla="*/ 761 h 1846"/>
                  <a:gd name="T54" fmla="*/ 1151 w 1181"/>
                  <a:gd name="T55" fmla="*/ 797 h 1846"/>
                  <a:gd name="T56" fmla="*/ 1166 w 1181"/>
                  <a:gd name="T57" fmla="*/ 740 h 1846"/>
                  <a:gd name="T58" fmla="*/ 1176 w 1181"/>
                  <a:gd name="T59" fmla="*/ 680 h 1846"/>
                  <a:gd name="T60" fmla="*/ 1181 w 1181"/>
                  <a:gd name="T61" fmla="*/ 617 h 1846"/>
                  <a:gd name="T62" fmla="*/ 1181 w 1181"/>
                  <a:gd name="T63" fmla="*/ 546 h 1846"/>
                  <a:gd name="T64" fmla="*/ 1175 w 1181"/>
                  <a:gd name="T65" fmla="*/ 476 h 1846"/>
                  <a:gd name="T66" fmla="*/ 1164 w 1181"/>
                  <a:gd name="T67" fmla="*/ 411 h 1846"/>
                  <a:gd name="T68" fmla="*/ 1148 w 1181"/>
                  <a:gd name="T69" fmla="*/ 350 h 1846"/>
                  <a:gd name="T70" fmla="*/ 1127 w 1181"/>
                  <a:gd name="T71" fmla="*/ 295 h 1846"/>
                  <a:gd name="T72" fmla="*/ 1100 w 1181"/>
                  <a:gd name="T73" fmla="*/ 244 h 1846"/>
                  <a:gd name="T74" fmla="*/ 1070 w 1181"/>
                  <a:gd name="T75" fmla="*/ 199 h 1846"/>
                  <a:gd name="T76" fmla="*/ 1035 w 1181"/>
                  <a:gd name="T77" fmla="*/ 159 h 1846"/>
                  <a:gd name="T78" fmla="*/ 995 w 1181"/>
                  <a:gd name="T79" fmla="*/ 123 h 1846"/>
                  <a:gd name="T80" fmla="*/ 952 w 1181"/>
                  <a:gd name="T81" fmla="*/ 92 h 1846"/>
                  <a:gd name="T82" fmla="*/ 905 w 1181"/>
                  <a:gd name="T83" fmla="*/ 65 h 1846"/>
                  <a:gd name="T84" fmla="*/ 854 w 1181"/>
                  <a:gd name="T85" fmla="*/ 44 h 1846"/>
                  <a:gd name="T86" fmla="*/ 799 w 1181"/>
                  <a:gd name="T87" fmla="*/ 26 h 1846"/>
                  <a:gd name="T88" fmla="*/ 741 w 1181"/>
                  <a:gd name="T89" fmla="*/ 13 h 1846"/>
                  <a:gd name="T90" fmla="*/ 681 w 1181"/>
                  <a:gd name="T91" fmla="*/ 5 h 1846"/>
                  <a:gd name="T92" fmla="*/ 619 w 1181"/>
                  <a:gd name="T93" fmla="*/ 1 h 1846"/>
                  <a:gd name="T94" fmla="*/ 0 w 1181"/>
                  <a:gd name="T95" fmla="*/ 0 h 1846"/>
                  <a:gd name="T96" fmla="*/ 385 w 1181"/>
                  <a:gd name="T97" fmla="*/ 1846 h 1846"/>
                  <a:gd name="T98" fmla="*/ 608 w 1181"/>
                  <a:gd name="T99" fmla="*/ 1172 h 1846"/>
                  <a:gd name="T100" fmla="*/ 673 w 1181"/>
                  <a:gd name="T101" fmla="*/ 1169 h 1846"/>
                  <a:gd name="T102" fmla="*/ 734 w 1181"/>
                  <a:gd name="T103" fmla="*/ 1161 h 1846"/>
                  <a:gd name="T104" fmla="*/ 793 w 1181"/>
                  <a:gd name="T105" fmla="*/ 1148 h 1846"/>
                  <a:gd name="T106" fmla="*/ 847 w 1181"/>
                  <a:gd name="T107" fmla="*/ 1129 h 1846"/>
                  <a:gd name="T108" fmla="*/ 898 w 1181"/>
                  <a:gd name="T109" fmla="*/ 1106 h 1846"/>
                  <a:gd name="T110" fmla="*/ 945 w 1181"/>
                  <a:gd name="T111" fmla="*/ 1079 h 1846"/>
                  <a:gd name="T112" fmla="*/ 988 w 1181"/>
                  <a:gd name="T113" fmla="*/ 1047 h 1846"/>
                  <a:gd name="T114" fmla="*/ 1029 w 1181"/>
                  <a:gd name="T115" fmla="*/ 1011 h 1846"/>
                  <a:gd name="T116" fmla="*/ 1063 w 1181"/>
                  <a:gd name="T117" fmla="*/ 971 h 1846"/>
                  <a:gd name="T118" fmla="*/ 1093 w 1181"/>
                  <a:gd name="T119" fmla="*/ 925 h 1846"/>
                  <a:gd name="T120" fmla="*/ 1120 w 1181"/>
                  <a:gd name="T121" fmla="*/ 876 h 1846"/>
                  <a:gd name="T122" fmla="*/ 1142 w 1181"/>
                  <a:gd name="T123" fmla="*/ 824 h 18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81" h="1846">
                    <a:moveTo>
                      <a:pt x="739" y="761"/>
                    </a:moveTo>
                    <a:lnTo>
                      <a:pt x="723" y="773"/>
                    </a:lnTo>
                    <a:lnTo>
                      <a:pt x="706" y="784"/>
                    </a:lnTo>
                    <a:lnTo>
                      <a:pt x="688" y="793"/>
                    </a:lnTo>
                    <a:lnTo>
                      <a:pt x="669" y="801"/>
                    </a:lnTo>
                    <a:lnTo>
                      <a:pt x="650" y="806"/>
                    </a:lnTo>
                    <a:lnTo>
                      <a:pt x="631" y="810"/>
                    </a:lnTo>
                    <a:lnTo>
                      <a:pt x="611" y="813"/>
                    </a:lnTo>
                    <a:lnTo>
                      <a:pt x="590" y="813"/>
                    </a:lnTo>
                    <a:lnTo>
                      <a:pt x="385" y="813"/>
                    </a:lnTo>
                    <a:lnTo>
                      <a:pt x="385" y="355"/>
                    </a:lnTo>
                    <a:lnTo>
                      <a:pt x="587" y="355"/>
                    </a:lnTo>
                    <a:lnTo>
                      <a:pt x="611" y="356"/>
                    </a:lnTo>
                    <a:lnTo>
                      <a:pt x="635" y="358"/>
                    </a:lnTo>
                    <a:lnTo>
                      <a:pt x="657" y="362"/>
                    </a:lnTo>
                    <a:lnTo>
                      <a:pt x="677" y="368"/>
                    </a:lnTo>
                    <a:lnTo>
                      <a:pt x="687" y="372"/>
                    </a:lnTo>
                    <a:lnTo>
                      <a:pt x="696" y="375"/>
                    </a:lnTo>
                    <a:lnTo>
                      <a:pt x="705" y="380"/>
                    </a:lnTo>
                    <a:lnTo>
                      <a:pt x="714" y="384"/>
                    </a:lnTo>
                    <a:lnTo>
                      <a:pt x="723" y="389"/>
                    </a:lnTo>
                    <a:lnTo>
                      <a:pt x="731" y="395"/>
                    </a:lnTo>
                    <a:lnTo>
                      <a:pt x="738" y="401"/>
                    </a:lnTo>
                    <a:lnTo>
                      <a:pt x="746" y="407"/>
                    </a:lnTo>
                    <a:lnTo>
                      <a:pt x="753" y="414"/>
                    </a:lnTo>
                    <a:lnTo>
                      <a:pt x="759" y="421"/>
                    </a:lnTo>
                    <a:lnTo>
                      <a:pt x="767" y="429"/>
                    </a:lnTo>
                    <a:lnTo>
                      <a:pt x="772" y="437"/>
                    </a:lnTo>
                    <a:lnTo>
                      <a:pt x="777" y="446"/>
                    </a:lnTo>
                    <a:lnTo>
                      <a:pt x="782" y="455"/>
                    </a:lnTo>
                    <a:lnTo>
                      <a:pt x="786" y="465"/>
                    </a:lnTo>
                    <a:lnTo>
                      <a:pt x="790" y="476"/>
                    </a:lnTo>
                    <a:lnTo>
                      <a:pt x="794" y="486"/>
                    </a:lnTo>
                    <a:lnTo>
                      <a:pt x="797" y="498"/>
                    </a:lnTo>
                    <a:lnTo>
                      <a:pt x="799" y="510"/>
                    </a:lnTo>
                    <a:lnTo>
                      <a:pt x="801" y="522"/>
                    </a:lnTo>
                    <a:lnTo>
                      <a:pt x="804" y="549"/>
                    </a:lnTo>
                    <a:lnTo>
                      <a:pt x="805" y="578"/>
                    </a:lnTo>
                    <a:lnTo>
                      <a:pt x="805" y="594"/>
                    </a:lnTo>
                    <a:lnTo>
                      <a:pt x="804" y="610"/>
                    </a:lnTo>
                    <a:lnTo>
                      <a:pt x="803" y="625"/>
                    </a:lnTo>
                    <a:lnTo>
                      <a:pt x="801" y="639"/>
                    </a:lnTo>
                    <a:lnTo>
                      <a:pt x="799" y="652"/>
                    </a:lnTo>
                    <a:lnTo>
                      <a:pt x="796" y="665"/>
                    </a:lnTo>
                    <a:lnTo>
                      <a:pt x="793" y="677"/>
                    </a:lnTo>
                    <a:lnTo>
                      <a:pt x="789" y="689"/>
                    </a:lnTo>
                    <a:lnTo>
                      <a:pt x="785" y="700"/>
                    </a:lnTo>
                    <a:lnTo>
                      <a:pt x="780" y="710"/>
                    </a:lnTo>
                    <a:lnTo>
                      <a:pt x="774" y="720"/>
                    </a:lnTo>
                    <a:lnTo>
                      <a:pt x="769" y="730"/>
                    </a:lnTo>
                    <a:lnTo>
                      <a:pt x="761" y="738"/>
                    </a:lnTo>
                    <a:lnTo>
                      <a:pt x="754" y="746"/>
                    </a:lnTo>
                    <a:lnTo>
                      <a:pt x="747" y="754"/>
                    </a:lnTo>
                    <a:lnTo>
                      <a:pt x="739" y="761"/>
                    </a:lnTo>
                    <a:close/>
                    <a:moveTo>
                      <a:pt x="1142" y="824"/>
                    </a:moveTo>
                    <a:lnTo>
                      <a:pt x="1151" y="797"/>
                    </a:lnTo>
                    <a:lnTo>
                      <a:pt x="1159" y="768"/>
                    </a:lnTo>
                    <a:lnTo>
                      <a:pt x="1166" y="740"/>
                    </a:lnTo>
                    <a:lnTo>
                      <a:pt x="1171" y="710"/>
                    </a:lnTo>
                    <a:lnTo>
                      <a:pt x="1176" y="680"/>
                    </a:lnTo>
                    <a:lnTo>
                      <a:pt x="1179" y="649"/>
                    </a:lnTo>
                    <a:lnTo>
                      <a:pt x="1181" y="617"/>
                    </a:lnTo>
                    <a:lnTo>
                      <a:pt x="1181" y="583"/>
                    </a:lnTo>
                    <a:lnTo>
                      <a:pt x="1181" y="546"/>
                    </a:lnTo>
                    <a:lnTo>
                      <a:pt x="1179" y="510"/>
                    </a:lnTo>
                    <a:lnTo>
                      <a:pt x="1175" y="476"/>
                    </a:lnTo>
                    <a:lnTo>
                      <a:pt x="1170" y="442"/>
                    </a:lnTo>
                    <a:lnTo>
                      <a:pt x="1164" y="411"/>
                    </a:lnTo>
                    <a:lnTo>
                      <a:pt x="1157" y="380"/>
                    </a:lnTo>
                    <a:lnTo>
                      <a:pt x="1148" y="350"/>
                    </a:lnTo>
                    <a:lnTo>
                      <a:pt x="1138" y="322"/>
                    </a:lnTo>
                    <a:lnTo>
                      <a:pt x="1127" y="295"/>
                    </a:lnTo>
                    <a:lnTo>
                      <a:pt x="1114" y="269"/>
                    </a:lnTo>
                    <a:lnTo>
                      <a:pt x="1100" y="244"/>
                    </a:lnTo>
                    <a:lnTo>
                      <a:pt x="1086" y="221"/>
                    </a:lnTo>
                    <a:lnTo>
                      <a:pt x="1070" y="199"/>
                    </a:lnTo>
                    <a:lnTo>
                      <a:pt x="1053" y="178"/>
                    </a:lnTo>
                    <a:lnTo>
                      <a:pt x="1035" y="159"/>
                    </a:lnTo>
                    <a:lnTo>
                      <a:pt x="1016" y="140"/>
                    </a:lnTo>
                    <a:lnTo>
                      <a:pt x="995" y="123"/>
                    </a:lnTo>
                    <a:lnTo>
                      <a:pt x="974" y="107"/>
                    </a:lnTo>
                    <a:lnTo>
                      <a:pt x="952" y="92"/>
                    </a:lnTo>
                    <a:lnTo>
                      <a:pt x="929" y="78"/>
                    </a:lnTo>
                    <a:lnTo>
                      <a:pt x="905" y="65"/>
                    </a:lnTo>
                    <a:lnTo>
                      <a:pt x="880" y="54"/>
                    </a:lnTo>
                    <a:lnTo>
                      <a:pt x="854" y="44"/>
                    </a:lnTo>
                    <a:lnTo>
                      <a:pt x="827" y="34"/>
                    </a:lnTo>
                    <a:lnTo>
                      <a:pt x="799" y="26"/>
                    </a:lnTo>
                    <a:lnTo>
                      <a:pt x="771" y="19"/>
                    </a:lnTo>
                    <a:lnTo>
                      <a:pt x="741" y="13"/>
                    </a:lnTo>
                    <a:lnTo>
                      <a:pt x="711" y="8"/>
                    </a:lnTo>
                    <a:lnTo>
                      <a:pt x="681" y="5"/>
                    </a:lnTo>
                    <a:lnTo>
                      <a:pt x="650" y="2"/>
                    </a:lnTo>
                    <a:lnTo>
                      <a:pt x="619" y="1"/>
                    </a:lnTo>
                    <a:lnTo>
                      <a:pt x="587" y="0"/>
                    </a:lnTo>
                    <a:lnTo>
                      <a:pt x="0" y="0"/>
                    </a:lnTo>
                    <a:lnTo>
                      <a:pt x="0" y="1846"/>
                    </a:lnTo>
                    <a:lnTo>
                      <a:pt x="385" y="1846"/>
                    </a:lnTo>
                    <a:lnTo>
                      <a:pt x="385" y="1172"/>
                    </a:lnTo>
                    <a:lnTo>
                      <a:pt x="608" y="1172"/>
                    </a:lnTo>
                    <a:lnTo>
                      <a:pt x="641" y="1171"/>
                    </a:lnTo>
                    <a:lnTo>
                      <a:pt x="673" y="1169"/>
                    </a:lnTo>
                    <a:lnTo>
                      <a:pt x="704" y="1166"/>
                    </a:lnTo>
                    <a:lnTo>
                      <a:pt x="734" y="1161"/>
                    </a:lnTo>
                    <a:lnTo>
                      <a:pt x="763" y="1155"/>
                    </a:lnTo>
                    <a:lnTo>
                      <a:pt x="793" y="1148"/>
                    </a:lnTo>
                    <a:lnTo>
                      <a:pt x="820" y="1139"/>
                    </a:lnTo>
                    <a:lnTo>
                      <a:pt x="847" y="1129"/>
                    </a:lnTo>
                    <a:lnTo>
                      <a:pt x="873" y="1118"/>
                    </a:lnTo>
                    <a:lnTo>
                      <a:pt x="898" y="1106"/>
                    </a:lnTo>
                    <a:lnTo>
                      <a:pt x="922" y="1093"/>
                    </a:lnTo>
                    <a:lnTo>
                      <a:pt x="945" y="1079"/>
                    </a:lnTo>
                    <a:lnTo>
                      <a:pt x="967" y="1063"/>
                    </a:lnTo>
                    <a:lnTo>
                      <a:pt x="988" y="1047"/>
                    </a:lnTo>
                    <a:lnTo>
                      <a:pt x="1009" y="1030"/>
                    </a:lnTo>
                    <a:lnTo>
                      <a:pt x="1029" y="1011"/>
                    </a:lnTo>
                    <a:lnTo>
                      <a:pt x="1046" y="991"/>
                    </a:lnTo>
                    <a:lnTo>
                      <a:pt x="1063" y="971"/>
                    </a:lnTo>
                    <a:lnTo>
                      <a:pt x="1079" y="949"/>
                    </a:lnTo>
                    <a:lnTo>
                      <a:pt x="1093" y="925"/>
                    </a:lnTo>
                    <a:lnTo>
                      <a:pt x="1107" y="901"/>
                    </a:lnTo>
                    <a:lnTo>
                      <a:pt x="1120" y="876"/>
                    </a:lnTo>
                    <a:lnTo>
                      <a:pt x="1131" y="851"/>
                    </a:lnTo>
                    <a:lnTo>
                      <a:pt x="1142" y="8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19" name="Freeform 6"/>
              <p:cNvSpPr>
                <a:spLocks noEditPoints="1"/>
              </p:cNvSpPr>
              <p:nvPr/>
            </p:nvSpPr>
            <p:spPr bwMode="auto">
              <a:xfrm>
                <a:off x="765951" y="259248"/>
                <a:ext cx="122502" cy="194272"/>
              </a:xfrm>
              <a:custGeom>
                <a:avLst/>
                <a:gdLst>
                  <a:gd name="T0" fmla="*/ 386 w 1185"/>
                  <a:gd name="T1" fmla="*/ 542 h 1875"/>
                  <a:gd name="T2" fmla="*/ 410 w 1185"/>
                  <a:gd name="T3" fmla="*/ 473 h 1875"/>
                  <a:gd name="T4" fmla="*/ 446 w 1185"/>
                  <a:gd name="T5" fmla="*/ 427 h 1875"/>
                  <a:gd name="T6" fmla="*/ 478 w 1185"/>
                  <a:gd name="T7" fmla="*/ 402 h 1875"/>
                  <a:gd name="T8" fmla="*/ 519 w 1185"/>
                  <a:gd name="T9" fmla="*/ 382 h 1875"/>
                  <a:gd name="T10" fmla="*/ 568 w 1185"/>
                  <a:gd name="T11" fmla="*/ 372 h 1875"/>
                  <a:gd name="T12" fmla="*/ 624 w 1185"/>
                  <a:gd name="T13" fmla="*/ 372 h 1875"/>
                  <a:gd name="T14" fmla="*/ 672 w 1185"/>
                  <a:gd name="T15" fmla="*/ 384 h 1875"/>
                  <a:gd name="T16" fmla="*/ 728 w 1185"/>
                  <a:gd name="T17" fmla="*/ 418 h 1875"/>
                  <a:gd name="T18" fmla="*/ 756 w 1185"/>
                  <a:gd name="T19" fmla="*/ 447 h 1875"/>
                  <a:gd name="T20" fmla="*/ 789 w 1185"/>
                  <a:gd name="T21" fmla="*/ 514 h 1875"/>
                  <a:gd name="T22" fmla="*/ 797 w 1185"/>
                  <a:gd name="T23" fmla="*/ 575 h 1875"/>
                  <a:gd name="T24" fmla="*/ 792 w 1185"/>
                  <a:gd name="T25" fmla="*/ 1359 h 1875"/>
                  <a:gd name="T26" fmla="*/ 779 w 1185"/>
                  <a:gd name="T27" fmla="*/ 1396 h 1875"/>
                  <a:gd name="T28" fmla="*/ 759 w 1185"/>
                  <a:gd name="T29" fmla="*/ 1429 h 1875"/>
                  <a:gd name="T30" fmla="*/ 723 w 1185"/>
                  <a:gd name="T31" fmla="*/ 1463 h 1875"/>
                  <a:gd name="T32" fmla="*/ 654 w 1185"/>
                  <a:gd name="T33" fmla="*/ 1496 h 1875"/>
                  <a:gd name="T34" fmla="*/ 582 w 1185"/>
                  <a:gd name="T35" fmla="*/ 1503 h 1875"/>
                  <a:gd name="T36" fmla="*/ 531 w 1185"/>
                  <a:gd name="T37" fmla="*/ 1497 h 1875"/>
                  <a:gd name="T38" fmla="*/ 489 w 1185"/>
                  <a:gd name="T39" fmla="*/ 1482 h 1875"/>
                  <a:gd name="T40" fmla="*/ 453 w 1185"/>
                  <a:gd name="T41" fmla="*/ 1458 h 1875"/>
                  <a:gd name="T42" fmla="*/ 421 w 1185"/>
                  <a:gd name="T43" fmla="*/ 1417 h 1875"/>
                  <a:gd name="T44" fmla="*/ 390 w 1185"/>
                  <a:gd name="T45" fmla="*/ 1334 h 1875"/>
                  <a:gd name="T46" fmla="*/ 834 w 1185"/>
                  <a:gd name="T47" fmla="*/ 1834 h 1875"/>
                  <a:gd name="T48" fmla="*/ 934 w 1185"/>
                  <a:gd name="T49" fmla="*/ 1784 h 1875"/>
                  <a:gd name="T50" fmla="*/ 1019 w 1185"/>
                  <a:gd name="T51" fmla="*/ 1715 h 1875"/>
                  <a:gd name="T52" fmla="*/ 1089 w 1185"/>
                  <a:gd name="T53" fmla="*/ 1629 h 1875"/>
                  <a:gd name="T54" fmla="*/ 1141 w 1185"/>
                  <a:gd name="T55" fmla="*/ 1525 h 1875"/>
                  <a:gd name="T56" fmla="*/ 1174 w 1185"/>
                  <a:gd name="T57" fmla="*/ 1409 h 1875"/>
                  <a:gd name="T58" fmla="*/ 1185 w 1185"/>
                  <a:gd name="T59" fmla="*/ 1278 h 1875"/>
                  <a:gd name="T60" fmla="*/ 1180 w 1185"/>
                  <a:gd name="T61" fmla="*/ 510 h 1875"/>
                  <a:gd name="T62" fmla="*/ 1158 w 1185"/>
                  <a:gd name="T63" fmla="*/ 403 h 1875"/>
                  <a:gd name="T64" fmla="*/ 1118 w 1185"/>
                  <a:gd name="T65" fmla="*/ 300 h 1875"/>
                  <a:gd name="T66" fmla="*/ 1060 w 1185"/>
                  <a:gd name="T67" fmla="*/ 207 h 1875"/>
                  <a:gd name="T68" fmla="*/ 983 w 1185"/>
                  <a:gd name="T69" fmla="*/ 128 h 1875"/>
                  <a:gd name="T70" fmla="*/ 886 w 1185"/>
                  <a:gd name="T71" fmla="*/ 65 h 1875"/>
                  <a:gd name="T72" fmla="*/ 770 w 1185"/>
                  <a:gd name="T73" fmla="*/ 20 h 1875"/>
                  <a:gd name="T74" fmla="*/ 633 w 1185"/>
                  <a:gd name="T75" fmla="*/ 1 h 1875"/>
                  <a:gd name="T76" fmla="*/ 481 w 1185"/>
                  <a:gd name="T77" fmla="*/ 7 h 1875"/>
                  <a:gd name="T78" fmla="*/ 396 w 1185"/>
                  <a:gd name="T79" fmla="*/ 25 h 1875"/>
                  <a:gd name="T80" fmla="*/ 335 w 1185"/>
                  <a:gd name="T81" fmla="*/ 47 h 1875"/>
                  <a:gd name="T82" fmla="*/ 242 w 1185"/>
                  <a:gd name="T83" fmla="*/ 99 h 1875"/>
                  <a:gd name="T84" fmla="*/ 155 w 1185"/>
                  <a:gd name="T85" fmla="*/ 172 h 1875"/>
                  <a:gd name="T86" fmla="*/ 88 w 1185"/>
                  <a:gd name="T87" fmla="*/ 259 h 1875"/>
                  <a:gd name="T88" fmla="*/ 41 w 1185"/>
                  <a:gd name="T89" fmla="*/ 357 h 1875"/>
                  <a:gd name="T90" fmla="*/ 14 w 1185"/>
                  <a:gd name="T91" fmla="*/ 461 h 1875"/>
                  <a:gd name="T92" fmla="*/ 0 w 1185"/>
                  <a:gd name="T93" fmla="*/ 565 h 1875"/>
                  <a:gd name="T94" fmla="*/ 2 w 1185"/>
                  <a:gd name="T95" fmla="*/ 1311 h 1875"/>
                  <a:gd name="T96" fmla="*/ 20 w 1185"/>
                  <a:gd name="T97" fmla="*/ 1430 h 1875"/>
                  <a:gd name="T98" fmla="*/ 54 w 1185"/>
                  <a:gd name="T99" fmla="*/ 1543 h 1875"/>
                  <a:gd name="T100" fmla="*/ 106 w 1185"/>
                  <a:gd name="T101" fmla="*/ 1643 h 1875"/>
                  <a:gd name="T102" fmla="*/ 177 w 1185"/>
                  <a:gd name="T103" fmla="*/ 1729 h 1875"/>
                  <a:gd name="T104" fmla="*/ 270 w 1185"/>
                  <a:gd name="T105" fmla="*/ 1797 h 1875"/>
                  <a:gd name="T106" fmla="*/ 353 w 1185"/>
                  <a:gd name="T107" fmla="*/ 1836 h 1875"/>
                  <a:gd name="T108" fmla="*/ 448 w 1185"/>
                  <a:gd name="T109" fmla="*/ 1862 h 1875"/>
                  <a:gd name="T110" fmla="*/ 596 w 1185"/>
                  <a:gd name="T111" fmla="*/ 1875 h 1875"/>
                  <a:gd name="T112" fmla="*/ 721 w 1185"/>
                  <a:gd name="T113" fmla="*/ 1864 h 1875"/>
                  <a:gd name="T114" fmla="*/ 834 w 1185"/>
                  <a:gd name="T115" fmla="*/ 1834 h 1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85" h="1875">
                    <a:moveTo>
                      <a:pt x="383" y="1259"/>
                    </a:moveTo>
                    <a:lnTo>
                      <a:pt x="383" y="575"/>
                    </a:lnTo>
                    <a:lnTo>
                      <a:pt x="384" y="559"/>
                    </a:lnTo>
                    <a:lnTo>
                      <a:pt x="386" y="542"/>
                    </a:lnTo>
                    <a:lnTo>
                      <a:pt x="390" y="525"/>
                    </a:lnTo>
                    <a:lnTo>
                      <a:pt x="395" y="507"/>
                    </a:lnTo>
                    <a:lnTo>
                      <a:pt x="402" y="490"/>
                    </a:lnTo>
                    <a:lnTo>
                      <a:pt x="410" y="473"/>
                    </a:lnTo>
                    <a:lnTo>
                      <a:pt x="420" y="456"/>
                    </a:lnTo>
                    <a:lnTo>
                      <a:pt x="432" y="441"/>
                    </a:lnTo>
                    <a:lnTo>
                      <a:pt x="439" y="434"/>
                    </a:lnTo>
                    <a:lnTo>
                      <a:pt x="446" y="427"/>
                    </a:lnTo>
                    <a:lnTo>
                      <a:pt x="453" y="420"/>
                    </a:lnTo>
                    <a:lnTo>
                      <a:pt x="461" y="414"/>
                    </a:lnTo>
                    <a:lnTo>
                      <a:pt x="469" y="407"/>
                    </a:lnTo>
                    <a:lnTo>
                      <a:pt x="478" y="402"/>
                    </a:lnTo>
                    <a:lnTo>
                      <a:pt x="488" y="396"/>
                    </a:lnTo>
                    <a:lnTo>
                      <a:pt x="498" y="391"/>
                    </a:lnTo>
                    <a:lnTo>
                      <a:pt x="508" y="386"/>
                    </a:lnTo>
                    <a:lnTo>
                      <a:pt x="519" y="382"/>
                    </a:lnTo>
                    <a:lnTo>
                      <a:pt x="531" y="379"/>
                    </a:lnTo>
                    <a:lnTo>
                      <a:pt x="543" y="376"/>
                    </a:lnTo>
                    <a:lnTo>
                      <a:pt x="555" y="374"/>
                    </a:lnTo>
                    <a:lnTo>
                      <a:pt x="568" y="372"/>
                    </a:lnTo>
                    <a:lnTo>
                      <a:pt x="582" y="371"/>
                    </a:lnTo>
                    <a:lnTo>
                      <a:pt x="596" y="371"/>
                    </a:lnTo>
                    <a:lnTo>
                      <a:pt x="610" y="371"/>
                    </a:lnTo>
                    <a:lnTo>
                      <a:pt x="624" y="372"/>
                    </a:lnTo>
                    <a:lnTo>
                      <a:pt x="637" y="374"/>
                    </a:lnTo>
                    <a:lnTo>
                      <a:pt x="649" y="377"/>
                    </a:lnTo>
                    <a:lnTo>
                      <a:pt x="661" y="380"/>
                    </a:lnTo>
                    <a:lnTo>
                      <a:pt x="672" y="384"/>
                    </a:lnTo>
                    <a:lnTo>
                      <a:pt x="682" y="388"/>
                    </a:lnTo>
                    <a:lnTo>
                      <a:pt x="692" y="393"/>
                    </a:lnTo>
                    <a:lnTo>
                      <a:pt x="711" y="405"/>
                    </a:lnTo>
                    <a:lnTo>
                      <a:pt x="728" y="418"/>
                    </a:lnTo>
                    <a:lnTo>
                      <a:pt x="736" y="425"/>
                    </a:lnTo>
                    <a:lnTo>
                      <a:pt x="743" y="432"/>
                    </a:lnTo>
                    <a:lnTo>
                      <a:pt x="750" y="440"/>
                    </a:lnTo>
                    <a:lnTo>
                      <a:pt x="756" y="447"/>
                    </a:lnTo>
                    <a:lnTo>
                      <a:pt x="766" y="464"/>
                    </a:lnTo>
                    <a:lnTo>
                      <a:pt x="776" y="480"/>
                    </a:lnTo>
                    <a:lnTo>
                      <a:pt x="783" y="497"/>
                    </a:lnTo>
                    <a:lnTo>
                      <a:pt x="789" y="514"/>
                    </a:lnTo>
                    <a:lnTo>
                      <a:pt x="793" y="531"/>
                    </a:lnTo>
                    <a:lnTo>
                      <a:pt x="795" y="546"/>
                    </a:lnTo>
                    <a:lnTo>
                      <a:pt x="797" y="561"/>
                    </a:lnTo>
                    <a:lnTo>
                      <a:pt x="797" y="575"/>
                    </a:lnTo>
                    <a:lnTo>
                      <a:pt x="797" y="1305"/>
                    </a:lnTo>
                    <a:lnTo>
                      <a:pt x="797" y="1327"/>
                    </a:lnTo>
                    <a:lnTo>
                      <a:pt x="794" y="1349"/>
                    </a:lnTo>
                    <a:lnTo>
                      <a:pt x="792" y="1359"/>
                    </a:lnTo>
                    <a:lnTo>
                      <a:pt x="789" y="1369"/>
                    </a:lnTo>
                    <a:lnTo>
                      <a:pt x="786" y="1378"/>
                    </a:lnTo>
                    <a:lnTo>
                      <a:pt x="783" y="1388"/>
                    </a:lnTo>
                    <a:lnTo>
                      <a:pt x="779" y="1396"/>
                    </a:lnTo>
                    <a:lnTo>
                      <a:pt x="775" y="1405"/>
                    </a:lnTo>
                    <a:lnTo>
                      <a:pt x="770" y="1413"/>
                    </a:lnTo>
                    <a:lnTo>
                      <a:pt x="764" y="1421"/>
                    </a:lnTo>
                    <a:lnTo>
                      <a:pt x="759" y="1429"/>
                    </a:lnTo>
                    <a:lnTo>
                      <a:pt x="752" y="1436"/>
                    </a:lnTo>
                    <a:lnTo>
                      <a:pt x="745" y="1443"/>
                    </a:lnTo>
                    <a:lnTo>
                      <a:pt x="738" y="1450"/>
                    </a:lnTo>
                    <a:lnTo>
                      <a:pt x="723" y="1463"/>
                    </a:lnTo>
                    <a:lnTo>
                      <a:pt x="706" y="1473"/>
                    </a:lnTo>
                    <a:lnTo>
                      <a:pt x="689" y="1483"/>
                    </a:lnTo>
                    <a:lnTo>
                      <a:pt x="672" y="1490"/>
                    </a:lnTo>
                    <a:lnTo>
                      <a:pt x="654" y="1496"/>
                    </a:lnTo>
                    <a:lnTo>
                      <a:pt x="635" y="1500"/>
                    </a:lnTo>
                    <a:lnTo>
                      <a:pt x="616" y="1502"/>
                    </a:lnTo>
                    <a:lnTo>
                      <a:pt x="596" y="1503"/>
                    </a:lnTo>
                    <a:lnTo>
                      <a:pt x="582" y="1503"/>
                    </a:lnTo>
                    <a:lnTo>
                      <a:pt x="569" y="1502"/>
                    </a:lnTo>
                    <a:lnTo>
                      <a:pt x="556" y="1501"/>
                    </a:lnTo>
                    <a:lnTo>
                      <a:pt x="543" y="1499"/>
                    </a:lnTo>
                    <a:lnTo>
                      <a:pt x="531" y="1497"/>
                    </a:lnTo>
                    <a:lnTo>
                      <a:pt x="520" y="1494"/>
                    </a:lnTo>
                    <a:lnTo>
                      <a:pt x="509" y="1490"/>
                    </a:lnTo>
                    <a:lnTo>
                      <a:pt x="498" y="1486"/>
                    </a:lnTo>
                    <a:lnTo>
                      <a:pt x="489" y="1482"/>
                    </a:lnTo>
                    <a:lnTo>
                      <a:pt x="478" y="1477"/>
                    </a:lnTo>
                    <a:lnTo>
                      <a:pt x="469" y="1471"/>
                    </a:lnTo>
                    <a:lnTo>
                      <a:pt x="461" y="1465"/>
                    </a:lnTo>
                    <a:lnTo>
                      <a:pt x="453" y="1458"/>
                    </a:lnTo>
                    <a:lnTo>
                      <a:pt x="446" y="1451"/>
                    </a:lnTo>
                    <a:lnTo>
                      <a:pt x="439" y="1443"/>
                    </a:lnTo>
                    <a:lnTo>
                      <a:pt x="432" y="1435"/>
                    </a:lnTo>
                    <a:lnTo>
                      <a:pt x="421" y="1417"/>
                    </a:lnTo>
                    <a:lnTo>
                      <a:pt x="411" y="1398"/>
                    </a:lnTo>
                    <a:lnTo>
                      <a:pt x="402" y="1378"/>
                    </a:lnTo>
                    <a:lnTo>
                      <a:pt x="395" y="1357"/>
                    </a:lnTo>
                    <a:lnTo>
                      <a:pt x="390" y="1334"/>
                    </a:lnTo>
                    <a:lnTo>
                      <a:pt x="386" y="1311"/>
                    </a:lnTo>
                    <a:lnTo>
                      <a:pt x="384" y="1285"/>
                    </a:lnTo>
                    <a:lnTo>
                      <a:pt x="383" y="1259"/>
                    </a:lnTo>
                    <a:close/>
                    <a:moveTo>
                      <a:pt x="834" y="1834"/>
                    </a:moveTo>
                    <a:lnTo>
                      <a:pt x="860" y="1823"/>
                    </a:lnTo>
                    <a:lnTo>
                      <a:pt x="886" y="1811"/>
                    </a:lnTo>
                    <a:lnTo>
                      <a:pt x="910" y="1798"/>
                    </a:lnTo>
                    <a:lnTo>
                      <a:pt x="934" y="1784"/>
                    </a:lnTo>
                    <a:lnTo>
                      <a:pt x="957" y="1768"/>
                    </a:lnTo>
                    <a:lnTo>
                      <a:pt x="979" y="1752"/>
                    </a:lnTo>
                    <a:lnTo>
                      <a:pt x="1000" y="1734"/>
                    </a:lnTo>
                    <a:lnTo>
                      <a:pt x="1019" y="1715"/>
                    </a:lnTo>
                    <a:lnTo>
                      <a:pt x="1039" y="1695"/>
                    </a:lnTo>
                    <a:lnTo>
                      <a:pt x="1057" y="1674"/>
                    </a:lnTo>
                    <a:lnTo>
                      <a:pt x="1073" y="1652"/>
                    </a:lnTo>
                    <a:lnTo>
                      <a:pt x="1089" y="1629"/>
                    </a:lnTo>
                    <a:lnTo>
                      <a:pt x="1104" y="1604"/>
                    </a:lnTo>
                    <a:lnTo>
                      <a:pt x="1117" y="1579"/>
                    </a:lnTo>
                    <a:lnTo>
                      <a:pt x="1130" y="1553"/>
                    </a:lnTo>
                    <a:lnTo>
                      <a:pt x="1141" y="1525"/>
                    </a:lnTo>
                    <a:lnTo>
                      <a:pt x="1151" y="1498"/>
                    </a:lnTo>
                    <a:lnTo>
                      <a:pt x="1160" y="1469"/>
                    </a:lnTo>
                    <a:lnTo>
                      <a:pt x="1168" y="1439"/>
                    </a:lnTo>
                    <a:lnTo>
                      <a:pt x="1174" y="1409"/>
                    </a:lnTo>
                    <a:lnTo>
                      <a:pt x="1179" y="1378"/>
                    </a:lnTo>
                    <a:lnTo>
                      <a:pt x="1182" y="1346"/>
                    </a:lnTo>
                    <a:lnTo>
                      <a:pt x="1184" y="1313"/>
                    </a:lnTo>
                    <a:lnTo>
                      <a:pt x="1185" y="1278"/>
                    </a:lnTo>
                    <a:lnTo>
                      <a:pt x="1185" y="591"/>
                    </a:lnTo>
                    <a:lnTo>
                      <a:pt x="1185" y="564"/>
                    </a:lnTo>
                    <a:lnTo>
                      <a:pt x="1183" y="536"/>
                    </a:lnTo>
                    <a:lnTo>
                      <a:pt x="1180" y="510"/>
                    </a:lnTo>
                    <a:lnTo>
                      <a:pt x="1176" y="483"/>
                    </a:lnTo>
                    <a:lnTo>
                      <a:pt x="1171" y="456"/>
                    </a:lnTo>
                    <a:lnTo>
                      <a:pt x="1165" y="429"/>
                    </a:lnTo>
                    <a:lnTo>
                      <a:pt x="1158" y="403"/>
                    </a:lnTo>
                    <a:lnTo>
                      <a:pt x="1149" y="376"/>
                    </a:lnTo>
                    <a:lnTo>
                      <a:pt x="1140" y="350"/>
                    </a:lnTo>
                    <a:lnTo>
                      <a:pt x="1129" y="325"/>
                    </a:lnTo>
                    <a:lnTo>
                      <a:pt x="1118" y="300"/>
                    </a:lnTo>
                    <a:lnTo>
                      <a:pt x="1105" y="275"/>
                    </a:lnTo>
                    <a:lnTo>
                      <a:pt x="1091" y="252"/>
                    </a:lnTo>
                    <a:lnTo>
                      <a:pt x="1076" y="229"/>
                    </a:lnTo>
                    <a:lnTo>
                      <a:pt x="1060" y="207"/>
                    </a:lnTo>
                    <a:lnTo>
                      <a:pt x="1042" y="186"/>
                    </a:lnTo>
                    <a:lnTo>
                      <a:pt x="1024" y="166"/>
                    </a:lnTo>
                    <a:lnTo>
                      <a:pt x="1004" y="147"/>
                    </a:lnTo>
                    <a:lnTo>
                      <a:pt x="983" y="128"/>
                    </a:lnTo>
                    <a:lnTo>
                      <a:pt x="961" y="111"/>
                    </a:lnTo>
                    <a:lnTo>
                      <a:pt x="937" y="95"/>
                    </a:lnTo>
                    <a:lnTo>
                      <a:pt x="912" y="79"/>
                    </a:lnTo>
                    <a:lnTo>
                      <a:pt x="886" y="65"/>
                    </a:lnTo>
                    <a:lnTo>
                      <a:pt x="859" y="52"/>
                    </a:lnTo>
                    <a:lnTo>
                      <a:pt x="830" y="39"/>
                    </a:lnTo>
                    <a:lnTo>
                      <a:pt x="801" y="29"/>
                    </a:lnTo>
                    <a:lnTo>
                      <a:pt x="770" y="20"/>
                    </a:lnTo>
                    <a:lnTo>
                      <a:pt x="738" y="13"/>
                    </a:lnTo>
                    <a:lnTo>
                      <a:pt x="703" y="7"/>
                    </a:lnTo>
                    <a:lnTo>
                      <a:pt x="669" y="3"/>
                    </a:lnTo>
                    <a:lnTo>
                      <a:pt x="633" y="1"/>
                    </a:lnTo>
                    <a:lnTo>
                      <a:pt x="596" y="0"/>
                    </a:lnTo>
                    <a:lnTo>
                      <a:pt x="556" y="1"/>
                    </a:lnTo>
                    <a:lnTo>
                      <a:pt x="518" y="3"/>
                    </a:lnTo>
                    <a:lnTo>
                      <a:pt x="481" y="7"/>
                    </a:lnTo>
                    <a:lnTo>
                      <a:pt x="446" y="13"/>
                    </a:lnTo>
                    <a:lnTo>
                      <a:pt x="429" y="17"/>
                    </a:lnTo>
                    <a:lnTo>
                      <a:pt x="412" y="21"/>
                    </a:lnTo>
                    <a:lnTo>
                      <a:pt x="396" y="25"/>
                    </a:lnTo>
                    <a:lnTo>
                      <a:pt x="380" y="30"/>
                    </a:lnTo>
                    <a:lnTo>
                      <a:pt x="365" y="35"/>
                    </a:lnTo>
                    <a:lnTo>
                      <a:pt x="350" y="41"/>
                    </a:lnTo>
                    <a:lnTo>
                      <a:pt x="335" y="47"/>
                    </a:lnTo>
                    <a:lnTo>
                      <a:pt x="321" y="54"/>
                    </a:lnTo>
                    <a:lnTo>
                      <a:pt x="294" y="68"/>
                    </a:lnTo>
                    <a:lnTo>
                      <a:pt x="268" y="83"/>
                    </a:lnTo>
                    <a:lnTo>
                      <a:pt x="242" y="99"/>
                    </a:lnTo>
                    <a:lnTo>
                      <a:pt x="218" y="116"/>
                    </a:lnTo>
                    <a:lnTo>
                      <a:pt x="196" y="134"/>
                    </a:lnTo>
                    <a:lnTo>
                      <a:pt x="175" y="152"/>
                    </a:lnTo>
                    <a:lnTo>
                      <a:pt x="155" y="172"/>
                    </a:lnTo>
                    <a:lnTo>
                      <a:pt x="137" y="193"/>
                    </a:lnTo>
                    <a:lnTo>
                      <a:pt x="120" y="214"/>
                    </a:lnTo>
                    <a:lnTo>
                      <a:pt x="103" y="236"/>
                    </a:lnTo>
                    <a:lnTo>
                      <a:pt x="88" y="259"/>
                    </a:lnTo>
                    <a:lnTo>
                      <a:pt x="75" y="282"/>
                    </a:lnTo>
                    <a:lnTo>
                      <a:pt x="62" y="307"/>
                    </a:lnTo>
                    <a:lnTo>
                      <a:pt x="51" y="332"/>
                    </a:lnTo>
                    <a:lnTo>
                      <a:pt x="41" y="357"/>
                    </a:lnTo>
                    <a:lnTo>
                      <a:pt x="33" y="383"/>
                    </a:lnTo>
                    <a:lnTo>
                      <a:pt x="26" y="409"/>
                    </a:lnTo>
                    <a:lnTo>
                      <a:pt x="19" y="435"/>
                    </a:lnTo>
                    <a:lnTo>
                      <a:pt x="14" y="461"/>
                    </a:lnTo>
                    <a:lnTo>
                      <a:pt x="8" y="487"/>
                    </a:lnTo>
                    <a:lnTo>
                      <a:pt x="4" y="513"/>
                    </a:lnTo>
                    <a:lnTo>
                      <a:pt x="2" y="539"/>
                    </a:lnTo>
                    <a:lnTo>
                      <a:pt x="0" y="565"/>
                    </a:lnTo>
                    <a:lnTo>
                      <a:pt x="0" y="591"/>
                    </a:lnTo>
                    <a:lnTo>
                      <a:pt x="0" y="1248"/>
                    </a:lnTo>
                    <a:lnTo>
                      <a:pt x="0" y="1279"/>
                    </a:lnTo>
                    <a:lnTo>
                      <a:pt x="2" y="1311"/>
                    </a:lnTo>
                    <a:lnTo>
                      <a:pt x="4" y="1341"/>
                    </a:lnTo>
                    <a:lnTo>
                      <a:pt x="8" y="1371"/>
                    </a:lnTo>
                    <a:lnTo>
                      <a:pt x="14" y="1401"/>
                    </a:lnTo>
                    <a:lnTo>
                      <a:pt x="20" y="1430"/>
                    </a:lnTo>
                    <a:lnTo>
                      <a:pt x="27" y="1459"/>
                    </a:lnTo>
                    <a:lnTo>
                      <a:pt x="34" y="1487"/>
                    </a:lnTo>
                    <a:lnTo>
                      <a:pt x="43" y="1515"/>
                    </a:lnTo>
                    <a:lnTo>
                      <a:pt x="54" y="1543"/>
                    </a:lnTo>
                    <a:lnTo>
                      <a:pt x="65" y="1569"/>
                    </a:lnTo>
                    <a:lnTo>
                      <a:pt x="77" y="1594"/>
                    </a:lnTo>
                    <a:lnTo>
                      <a:pt x="91" y="1619"/>
                    </a:lnTo>
                    <a:lnTo>
                      <a:pt x="106" y="1643"/>
                    </a:lnTo>
                    <a:lnTo>
                      <a:pt x="122" y="1666"/>
                    </a:lnTo>
                    <a:lnTo>
                      <a:pt x="139" y="1688"/>
                    </a:lnTo>
                    <a:lnTo>
                      <a:pt x="157" y="1709"/>
                    </a:lnTo>
                    <a:lnTo>
                      <a:pt x="177" y="1729"/>
                    </a:lnTo>
                    <a:lnTo>
                      <a:pt x="198" y="1747"/>
                    </a:lnTo>
                    <a:lnTo>
                      <a:pt x="221" y="1765"/>
                    </a:lnTo>
                    <a:lnTo>
                      <a:pt x="244" y="1782"/>
                    </a:lnTo>
                    <a:lnTo>
                      <a:pt x="270" y="1797"/>
                    </a:lnTo>
                    <a:lnTo>
                      <a:pt x="296" y="1811"/>
                    </a:lnTo>
                    <a:lnTo>
                      <a:pt x="324" y="1824"/>
                    </a:lnTo>
                    <a:lnTo>
                      <a:pt x="338" y="1830"/>
                    </a:lnTo>
                    <a:lnTo>
                      <a:pt x="353" y="1836"/>
                    </a:lnTo>
                    <a:lnTo>
                      <a:pt x="368" y="1841"/>
                    </a:lnTo>
                    <a:lnTo>
                      <a:pt x="383" y="1846"/>
                    </a:lnTo>
                    <a:lnTo>
                      <a:pt x="415" y="1855"/>
                    </a:lnTo>
                    <a:lnTo>
                      <a:pt x="448" y="1862"/>
                    </a:lnTo>
                    <a:lnTo>
                      <a:pt x="484" y="1868"/>
                    </a:lnTo>
                    <a:lnTo>
                      <a:pt x="520" y="1871"/>
                    </a:lnTo>
                    <a:lnTo>
                      <a:pt x="557" y="1874"/>
                    </a:lnTo>
                    <a:lnTo>
                      <a:pt x="596" y="1875"/>
                    </a:lnTo>
                    <a:lnTo>
                      <a:pt x="628" y="1874"/>
                    </a:lnTo>
                    <a:lnTo>
                      <a:pt x="659" y="1872"/>
                    </a:lnTo>
                    <a:lnTo>
                      <a:pt x="690" y="1869"/>
                    </a:lnTo>
                    <a:lnTo>
                      <a:pt x="721" y="1864"/>
                    </a:lnTo>
                    <a:lnTo>
                      <a:pt x="750" y="1859"/>
                    </a:lnTo>
                    <a:lnTo>
                      <a:pt x="779" y="1852"/>
                    </a:lnTo>
                    <a:lnTo>
                      <a:pt x="806" y="1843"/>
                    </a:lnTo>
                    <a:lnTo>
                      <a:pt x="834" y="18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20" name="Freeform 7"/>
              <p:cNvSpPr>
                <a:spLocks/>
              </p:cNvSpPr>
              <p:nvPr/>
            </p:nvSpPr>
            <p:spPr bwMode="auto">
              <a:xfrm>
                <a:off x="926813" y="259248"/>
                <a:ext cx="121265" cy="194272"/>
              </a:xfrm>
              <a:custGeom>
                <a:avLst/>
                <a:gdLst>
                  <a:gd name="T0" fmla="*/ 197 w 1175"/>
                  <a:gd name="T1" fmla="*/ 1747 h 1875"/>
                  <a:gd name="T2" fmla="*/ 294 w 1175"/>
                  <a:gd name="T3" fmla="*/ 1811 h 1875"/>
                  <a:gd name="T4" fmla="*/ 366 w 1175"/>
                  <a:gd name="T5" fmla="*/ 1841 h 1875"/>
                  <a:gd name="T6" fmla="*/ 481 w 1175"/>
                  <a:gd name="T7" fmla="*/ 1868 h 1875"/>
                  <a:gd name="T8" fmla="*/ 622 w 1175"/>
                  <a:gd name="T9" fmla="*/ 1874 h 1875"/>
                  <a:gd name="T10" fmla="*/ 728 w 1175"/>
                  <a:gd name="T11" fmla="*/ 1863 h 1875"/>
                  <a:gd name="T12" fmla="*/ 826 w 1175"/>
                  <a:gd name="T13" fmla="*/ 1836 h 1875"/>
                  <a:gd name="T14" fmla="*/ 915 w 1175"/>
                  <a:gd name="T15" fmla="*/ 1794 h 1875"/>
                  <a:gd name="T16" fmla="*/ 995 w 1175"/>
                  <a:gd name="T17" fmla="*/ 1737 h 1875"/>
                  <a:gd name="T18" fmla="*/ 1063 w 1175"/>
                  <a:gd name="T19" fmla="*/ 1668 h 1875"/>
                  <a:gd name="T20" fmla="*/ 1116 w 1175"/>
                  <a:gd name="T21" fmla="*/ 1586 h 1875"/>
                  <a:gd name="T22" fmla="*/ 1154 w 1175"/>
                  <a:gd name="T23" fmla="*/ 1493 h 1875"/>
                  <a:gd name="T24" fmla="*/ 806 w 1175"/>
                  <a:gd name="T25" fmla="*/ 1310 h 1875"/>
                  <a:gd name="T26" fmla="*/ 782 w 1175"/>
                  <a:gd name="T27" fmla="*/ 1391 h 1875"/>
                  <a:gd name="T28" fmla="*/ 734 w 1175"/>
                  <a:gd name="T29" fmla="*/ 1452 h 1875"/>
                  <a:gd name="T30" fmla="*/ 669 w 1175"/>
                  <a:gd name="T31" fmla="*/ 1490 h 1875"/>
                  <a:gd name="T32" fmla="*/ 595 w 1175"/>
                  <a:gd name="T33" fmla="*/ 1503 h 1875"/>
                  <a:gd name="T34" fmla="*/ 540 w 1175"/>
                  <a:gd name="T35" fmla="*/ 1499 h 1875"/>
                  <a:gd name="T36" fmla="*/ 496 w 1175"/>
                  <a:gd name="T37" fmla="*/ 1486 h 1875"/>
                  <a:gd name="T38" fmla="*/ 460 w 1175"/>
                  <a:gd name="T39" fmla="*/ 1465 h 1875"/>
                  <a:gd name="T40" fmla="*/ 433 w 1175"/>
                  <a:gd name="T41" fmla="*/ 1435 h 1875"/>
                  <a:gd name="T42" fmla="*/ 398 w 1175"/>
                  <a:gd name="T43" fmla="*/ 1357 h 1875"/>
                  <a:gd name="T44" fmla="*/ 387 w 1175"/>
                  <a:gd name="T45" fmla="*/ 1259 h 1875"/>
                  <a:gd name="T46" fmla="*/ 393 w 1175"/>
                  <a:gd name="T47" fmla="*/ 525 h 1875"/>
                  <a:gd name="T48" fmla="*/ 421 w 1175"/>
                  <a:gd name="T49" fmla="*/ 457 h 1875"/>
                  <a:gd name="T50" fmla="*/ 452 w 1175"/>
                  <a:gd name="T51" fmla="*/ 420 h 1875"/>
                  <a:gd name="T52" fmla="*/ 485 w 1175"/>
                  <a:gd name="T53" fmla="*/ 396 h 1875"/>
                  <a:gd name="T54" fmla="*/ 527 w 1175"/>
                  <a:gd name="T55" fmla="*/ 379 h 1875"/>
                  <a:gd name="T56" fmla="*/ 579 w 1175"/>
                  <a:gd name="T57" fmla="*/ 371 h 1875"/>
                  <a:gd name="T58" fmla="*/ 634 w 1175"/>
                  <a:gd name="T59" fmla="*/ 374 h 1875"/>
                  <a:gd name="T60" fmla="*/ 679 w 1175"/>
                  <a:gd name="T61" fmla="*/ 387 h 1875"/>
                  <a:gd name="T62" fmla="*/ 741 w 1175"/>
                  <a:gd name="T63" fmla="*/ 428 h 1875"/>
                  <a:gd name="T64" fmla="*/ 787 w 1175"/>
                  <a:gd name="T65" fmla="*/ 490 h 1875"/>
                  <a:gd name="T66" fmla="*/ 808 w 1175"/>
                  <a:gd name="T67" fmla="*/ 556 h 1875"/>
                  <a:gd name="T68" fmla="*/ 1165 w 1175"/>
                  <a:gd name="T69" fmla="*/ 417 h 1875"/>
                  <a:gd name="T70" fmla="*/ 1133 w 1175"/>
                  <a:gd name="T71" fmla="*/ 330 h 1875"/>
                  <a:gd name="T72" fmla="*/ 1087 w 1175"/>
                  <a:gd name="T73" fmla="*/ 246 h 1875"/>
                  <a:gd name="T74" fmla="*/ 1028 w 1175"/>
                  <a:gd name="T75" fmla="*/ 173 h 1875"/>
                  <a:gd name="T76" fmla="*/ 957 w 1175"/>
                  <a:gd name="T77" fmla="*/ 110 h 1875"/>
                  <a:gd name="T78" fmla="*/ 871 w 1175"/>
                  <a:gd name="T79" fmla="*/ 59 h 1875"/>
                  <a:gd name="T80" fmla="*/ 770 w 1175"/>
                  <a:gd name="T81" fmla="*/ 21 h 1875"/>
                  <a:gd name="T82" fmla="*/ 656 w 1175"/>
                  <a:gd name="T83" fmla="*/ 2 h 1875"/>
                  <a:gd name="T84" fmla="*/ 516 w 1175"/>
                  <a:gd name="T85" fmla="*/ 3 h 1875"/>
                  <a:gd name="T86" fmla="*/ 410 w 1175"/>
                  <a:gd name="T87" fmla="*/ 21 h 1875"/>
                  <a:gd name="T88" fmla="*/ 348 w 1175"/>
                  <a:gd name="T89" fmla="*/ 41 h 1875"/>
                  <a:gd name="T90" fmla="*/ 265 w 1175"/>
                  <a:gd name="T91" fmla="*/ 83 h 1875"/>
                  <a:gd name="T92" fmla="*/ 174 w 1175"/>
                  <a:gd name="T93" fmla="*/ 152 h 1875"/>
                  <a:gd name="T94" fmla="*/ 102 w 1175"/>
                  <a:gd name="T95" fmla="*/ 236 h 1875"/>
                  <a:gd name="T96" fmla="*/ 51 w 1175"/>
                  <a:gd name="T97" fmla="*/ 332 h 1875"/>
                  <a:gd name="T98" fmla="*/ 19 w 1175"/>
                  <a:gd name="T99" fmla="*/ 435 h 1875"/>
                  <a:gd name="T100" fmla="*/ 2 w 1175"/>
                  <a:gd name="T101" fmla="*/ 539 h 1875"/>
                  <a:gd name="T102" fmla="*/ 1 w 1175"/>
                  <a:gd name="T103" fmla="*/ 1279 h 1875"/>
                  <a:gd name="T104" fmla="*/ 14 w 1175"/>
                  <a:gd name="T105" fmla="*/ 1401 h 1875"/>
                  <a:gd name="T106" fmla="*/ 43 w 1175"/>
                  <a:gd name="T107" fmla="*/ 1515 h 1875"/>
                  <a:gd name="T108" fmla="*/ 90 w 1175"/>
                  <a:gd name="T109" fmla="*/ 1619 h 1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75" h="1875">
                    <a:moveTo>
                      <a:pt x="138" y="1688"/>
                    </a:moveTo>
                    <a:lnTo>
                      <a:pt x="157" y="1709"/>
                    </a:lnTo>
                    <a:lnTo>
                      <a:pt x="176" y="1729"/>
                    </a:lnTo>
                    <a:lnTo>
                      <a:pt x="197" y="1747"/>
                    </a:lnTo>
                    <a:lnTo>
                      <a:pt x="219" y="1765"/>
                    </a:lnTo>
                    <a:lnTo>
                      <a:pt x="243" y="1781"/>
                    </a:lnTo>
                    <a:lnTo>
                      <a:pt x="268" y="1797"/>
                    </a:lnTo>
                    <a:lnTo>
                      <a:pt x="294" y="1811"/>
                    </a:lnTo>
                    <a:lnTo>
                      <a:pt x="321" y="1824"/>
                    </a:lnTo>
                    <a:lnTo>
                      <a:pt x="335" y="1830"/>
                    </a:lnTo>
                    <a:lnTo>
                      <a:pt x="351" y="1836"/>
                    </a:lnTo>
                    <a:lnTo>
                      <a:pt x="366" y="1841"/>
                    </a:lnTo>
                    <a:lnTo>
                      <a:pt x="381" y="1846"/>
                    </a:lnTo>
                    <a:lnTo>
                      <a:pt x="413" y="1855"/>
                    </a:lnTo>
                    <a:lnTo>
                      <a:pt x="446" y="1862"/>
                    </a:lnTo>
                    <a:lnTo>
                      <a:pt x="481" y="1868"/>
                    </a:lnTo>
                    <a:lnTo>
                      <a:pt x="517" y="1872"/>
                    </a:lnTo>
                    <a:lnTo>
                      <a:pt x="555" y="1874"/>
                    </a:lnTo>
                    <a:lnTo>
                      <a:pt x="595" y="1875"/>
                    </a:lnTo>
                    <a:lnTo>
                      <a:pt x="622" y="1874"/>
                    </a:lnTo>
                    <a:lnTo>
                      <a:pt x="650" y="1873"/>
                    </a:lnTo>
                    <a:lnTo>
                      <a:pt x="676" y="1871"/>
                    </a:lnTo>
                    <a:lnTo>
                      <a:pt x="702" y="1867"/>
                    </a:lnTo>
                    <a:lnTo>
                      <a:pt x="728" y="1863"/>
                    </a:lnTo>
                    <a:lnTo>
                      <a:pt x="753" y="1858"/>
                    </a:lnTo>
                    <a:lnTo>
                      <a:pt x="778" y="1851"/>
                    </a:lnTo>
                    <a:lnTo>
                      <a:pt x="802" y="1844"/>
                    </a:lnTo>
                    <a:lnTo>
                      <a:pt x="826" y="1836"/>
                    </a:lnTo>
                    <a:lnTo>
                      <a:pt x="849" y="1827"/>
                    </a:lnTo>
                    <a:lnTo>
                      <a:pt x="872" y="1817"/>
                    </a:lnTo>
                    <a:lnTo>
                      <a:pt x="894" y="1806"/>
                    </a:lnTo>
                    <a:lnTo>
                      <a:pt x="915" y="1794"/>
                    </a:lnTo>
                    <a:lnTo>
                      <a:pt x="936" y="1782"/>
                    </a:lnTo>
                    <a:lnTo>
                      <a:pt x="956" y="1768"/>
                    </a:lnTo>
                    <a:lnTo>
                      <a:pt x="976" y="1753"/>
                    </a:lnTo>
                    <a:lnTo>
                      <a:pt x="995" y="1737"/>
                    </a:lnTo>
                    <a:lnTo>
                      <a:pt x="1013" y="1721"/>
                    </a:lnTo>
                    <a:lnTo>
                      <a:pt x="1030" y="1704"/>
                    </a:lnTo>
                    <a:lnTo>
                      <a:pt x="1046" y="1686"/>
                    </a:lnTo>
                    <a:lnTo>
                      <a:pt x="1063" y="1668"/>
                    </a:lnTo>
                    <a:lnTo>
                      <a:pt x="1077" y="1649"/>
                    </a:lnTo>
                    <a:lnTo>
                      <a:pt x="1091" y="1629"/>
                    </a:lnTo>
                    <a:lnTo>
                      <a:pt x="1104" y="1607"/>
                    </a:lnTo>
                    <a:lnTo>
                      <a:pt x="1116" y="1586"/>
                    </a:lnTo>
                    <a:lnTo>
                      <a:pt x="1127" y="1564"/>
                    </a:lnTo>
                    <a:lnTo>
                      <a:pt x="1137" y="1541"/>
                    </a:lnTo>
                    <a:lnTo>
                      <a:pt x="1146" y="1517"/>
                    </a:lnTo>
                    <a:lnTo>
                      <a:pt x="1154" y="1493"/>
                    </a:lnTo>
                    <a:lnTo>
                      <a:pt x="1161" y="1468"/>
                    </a:lnTo>
                    <a:lnTo>
                      <a:pt x="1167" y="1442"/>
                    </a:lnTo>
                    <a:lnTo>
                      <a:pt x="1173" y="1416"/>
                    </a:lnTo>
                    <a:lnTo>
                      <a:pt x="806" y="1310"/>
                    </a:lnTo>
                    <a:lnTo>
                      <a:pt x="802" y="1332"/>
                    </a:lnTo>
                    <a:lnTo>
                      <a:pt x="797" y="1353"/>
                    </a:lnTo>
                    <a:lnTo>
                      <a:pt x="791" y="1372"/>
                    </a:lnTo>
                    <a:lnTo>
                      <a:pt x="782" y="1391"/>
                    </a:lnTo>
                    <a:lnTo>
                      <a:pt x="773" y="1408"/>
                    </a:lnTo>
                    <a:lnTo>
                      <a:pt x="761" y="1423"/>
                    </a:lnTo>
                    <a:lnTo>
                      <a:pt x="749" y="1438"/>
                    </a:lnTo>
                    <a:lnTo>
                      <a:pt x="734" y="1452"/>
                    </a:lnTo>
                    <a:lnTo>
                      <a:pt x="719" y="1464"/>
                    </a:lnTo>
                    <a:lnTo>
                      <a:pt x="703" y="1474"/>
                    </a:lnTo>
                    <a:lnTo>
                      <a:pt x="686" y="1483"/>
                    </a:lnTo>
                    <a:lnTo>
                      <a:pt x="669" y="1490"/>
                    </a:lnTo>
                    <a:lnTo>
                      <a:pt x="651" y="1496"/>
                    </a:lnTo>
                    <a:lnTo>
                      <a:pt x="633" y="1500"/>
                    </a:lnTo>
                    <a:lnTo>
                      <a:pt x="614" y="1502"/>
                    </a:lnTo>
                    <a:lnTo>
                      <a:pt x="595" y="1503"/>
                    </a:lnTo>
                    <a:lnTo>
                      <a:pt x="580" y="1503"/>
                    </a:lnTo>
                    <a:lnTo>
                      <a:pt x="566" y="1502"/>
                    </a:lnTo>
                    <a:lnTo>
                      <a:pt x="553" y="1501"/>
                    </a:lnTo>
                    <a:lnTo>
                      <a:pt x="540" y="1499"/>
                    </a:lnTo>
                    <a:lnTo>
                      <a:pt x="529" y="1497"/>
                    </a:lnTo>
                    <a:lnTo>
                      <a:pt x="517" y="1494"/>
                    </a:lnTo>
                    <a:lnTo>
                      <a:pt x="506" y="1490"/>
                    </a:lnTo>
                    <a:lnTo>
                      <a:pt x="496" y="1486"/>
                    </a:lnTo>
                    <a:lnTo>
                      <a:pt x="486" y="1482"/>
                    </a:lnTo>
                    <a:lnTo>
                      <a:pt x="477" y="1477"/>
                    </a:lnTo>
                    <a:lnTo>
                      <a:pt x="468" y="1471"/>
                    </a:lnTo>
                    <a:lnTo>
                      <a:pt x="460" y="1465"/>
                    </a:lnTo>
                    <a:lnTo>
                      <a:pt x="453" y="1458"/>
                    </a:lnTo>
                    <a:lnTo>
                      <a:pt x="446" y="1451"/>
                    </a:lnTo>
                    <a:lnTo>
                      <a:pt x="439" y="1443"/>
                    </a:lnTo>
                    <a:lnTo>
                      <a:pt x="433" y="1435"/>
                    </a:lnTo>
                    <a:lnTo>
                      <a:pt x="422" y="1417"/>
                    </a:lnTo>
                    <a:lnTo>
                      <a:pt x="413" y="1398"/>
                    </a:lnTo>
                    <a:lnTo>
                      <a:pt x="405" y="1378"/>
                    </a:lnTo>
                    <a:lnTo>
                      <a:pt x="398" y="1357"/>
                    </a:lnTo>
                    <a:lnTo>
                      <a:pt x="393" y="1334"/>
                    </a:lnTo>
                    <a:lnTo>
                      <a:pt x="390" y="1311"/>
                    </a:lnTo>
                    <a:lnTo>
                      <a:pt x="387" y="1285"/>
                    </a:lnTo>
                    <a:lnTo>
                      <a:pt x="387" y="1259"/>
                    </a:lnTo>
                    <a:lnTo>
                      <a:pt x="387" y="575"/>
                    </a:lnTo>
                    <a:lnTo>
                      <a:pt x="387" y="558"/>
                    </a:lnTo>
                    <a:lnTo>
                      <a:pt x="389" y="542"/>
                    </a:lnTo>
                    <a:lnTo>
                      <a:pt x="393" y="525"/>
                    </a:lnTo>
                    <a:lnTo>
                      <a:pt x="398" y="507"/>
                    </a:lnTo>
                    <a:lnTo>
                      <a:pt x="404" y="490"/>
                    </a:lnTo>
                    <a:lnTo>
                      <a:pt x="411" y="473"/>
                    </a:lnTo>
                    <a:lnTo>
                      <a:pt x="421" y="457"/>
                    </a:lnTo>
                    <a:lnTo>
                      <a:pt x="432" y="441"/>
                    </a:lnTo>
                    <a:lnTo>
                      <a:pt x="438" y="434"/>
                    </a:lnTo>
                    <a:lnTo>
                      <a:pt x="445" y="427"/>
                    </a:lnTo>
                    <a:lnTo>
                      <a:pt x="452" y="420"/>
                    </a:lnTo>
                    <a:lnTo>
                      <a:pt x="460" y="413"/>
                    </a:lnTo>
                    <a:lnTo>
                      <a:pt x="468" y="407"/>
                    </a:lnTo>
                    <a:lnTo>
                      <a:pt x="476" y="401"/>
                    </a:lnTo>
                    <a:lnTo>
                      <a:pt x="485" y="396"/>
                    </a:lnTo>
                    <a:lnTo>
                      <a:pt x="495" y="391"/>
                    </a:lnTo>
                    <a:lnTo>
                      <a:pt x="505" y="386"/>
                    </a:lnTo>
                    <a:lnTo>
                      <a:pt x="516" y="382"/>
                    </a:lnTo>
                    <a:lnTo>
                      <a:pt x="527" y="379"/>
                    </a:lnTo>
                    <a:lnTo>
                      <a:pt x="539" y="376"/>
                    </a:lnTo>
                    <a:lnTo>
                      <a:pt x="552" y="374"/>
                    </a:lnTo>
                    <a:lnTo>
                      <a:pt x="565" y="372"/>
                    </a:lnTo>
                    <a:lnTo>
                      <a:pt x="579" y="371"/>
                    </a:lnTo>
                    <a:lnTo>
                      <a:pt x="595" y="371"/>
                    </a:lnTo>
                    <a:lnTo>
                      <a:pt x="608" y="371"/>
                    </a:lnTo>
                    <a:lnTo>
                      <a:pt x="621" y="372"/>
                    </a:lnTo>
                    <a:lnTo>
                      <a:pt x="634" y="374"/>
                    </a:lnTo>
                    <a:lnTo>
                      <a:pt x="646" y="376"/>
                    </a:lnTo>
                    <a:lnTo>
                      <a:pt x="657" y="379"/>
                    </a:lnTo>
                    <a:lnTo>
                      <a:pt x="668" y="383"/>
                    </a:lnTo>
                    <a:lnTo>
                      <a:pt x="679" y="387"/>
                    </a:lnTo>
                    <a:lnTo>
                      <a:pt x="689" y="392"/>
                    </a:lnTo>
                    <a:lnTo>
                      <a:pt x="708" y="403"/>
                    </a:lnTo>
                    <a:lnTo>
                      <a:pt x="725" y="415"/>
                    </a:lnTo>
                    <a:lnTo>
                      <a:pt x="741" y="428"/>
                    </a:lnTo>
                    <a:lnTo>
                      <a:pt x="755" y="442"/>
                    </a:lnTo>
                    <a:lnTo>
                      <a:pt x="767" y="457"/>
                    </a:lnTo>
                    <a:lnTo>
                      <a:pt x="778" y="473"/>
                    </a:lnTo>
                    <a:lnTo>
                      <a:pt x="787" y="490"/>
                    </a:lnTo>
                    <a:lnTo>
                      <a:pt x="794" y="507"/>
                    </a:lnTo>
                    <a:lnTo>
                      <a:pt x="799" y="524"/>
                    </a:lnTo>
                    <a:lnTo>
                      <a:pt x="804" y="541"/>
                    </a:lnTo>
                    <a:lnTo>
                      <a:pt x="808" y="556"/>
                    </a:lnTo>
                    <a:lnTo>
                      <a:pt x="811" y="569"/>
                    </a:lnTo>
                    <a:lnTo>
                      <a:pt x="1175" y="461"/>
                    </a:lnTo>
                    <a:lnTo>
                      <a:pt x="1170" y="439"/>
                    </a:lnTo>
                    <a:lnTo>
                      <a:pt x="1165" y="417"/>
                    </a:lnTo>
                    <a:lnTo>
                      <a:pt x="1158" y="395"/>
                    </a:lnTo>
                    <a:lnTo>
                      <a:pt x="1150" y="373"/>
                    </a:lnTo>
                    <a:lnTo>
                      <a:pt x="1142" y="351"/>
                    </a:lnTo>
                    <a:lnTo>
                      <a:pt x="1133" y="330"/>
                    </a:lnTo>
                    <a:lnTo>
                      <a:pt x="1123" y="309"/>
                    </a:lnTo>
                    <a:lnTo>
                      <a:pt x="1112" y="288"/>
                    </a:lnTo>
                    <a:lnTo>
                      <a:pt x="1100" y="266"/>
                    </a:lnTo>
                    <a:lnTo>
                      <a:pt x="1087" y="246"/>
                    </a:lnTo>
                    <a:lnTo>
                      <a:pt x="1074" y="227"/>
                    </a:lnTo>
                    <a:lnTo>
                      <a:pt x="1060" y="208"/>
                    </a:lnTo>
                    <a:lnTo>
                      <a:pt x="1044" y="190"/>
                    </a:lnTo>
                    <a:lnTo>
                      <a:pt x="1028" y="173"/>
                    </a:lnTo>
                    <a:lnTo>
                      <a:pt x="1011" y="156"/>
                    </a:lnTo>
                    <a:lnTo>
                      <a:pt x="994" y="140"/>
                    </a:lnTo>
                    <a:lnTo>
                      <a:pt x="976" y="125"/>
                    </a:lnTo>
                    <a:lnTo>
                      <a:pt x="957" y="110"/>
                    </a:lnTo>
                    <a:lnTo>
                      <a:pt x="937" y="96"/>
                    </a:lnTo>
                    <a:lnTo>
                      <a:pt x="916" y="82"/>
                    </a:lnTo>
                    <a:lnTo>
                      <a:pt x="894" y="70"/>
                    </a:lnTo>
                    <a:lnTo>
                      <a:pt x="871" y="59"/>
                    </a:lnTo>
                    <a:lnTo>
                      <a:pt x="847" y="48"/>
                    </a:lnTo>
                    <a:lnTo>
                      <a:pt x="822" y="38"/>
                    </a:lnTo>
                    <a:lnTo>
                      <a:pt x="796" y="29"/>
                    </a:lnTo>
                    <a:lnTo>
                      <a:pt x="770" y="21"/>
                    </a:lnTo>
                    <a:lnTo>
                      <a:pt x="742" y="15"/>
                    </a:lnTo>
                    <a:lnTo>
                      <a:pt x="714" y="9"/>
                    </a:lnTo>
                    <a:lnTo>
                      <a:pt x="686" y="5"/>
                    </a:lnTo>
                    <a:lnTo>
                      <a:pt x="656" y="2"/>
                    </a:lnTo>
                    <a:lnTo>
                      <a:pt x="626" y="1"/>
                    </a:lnTo>
                    <a:lnTo>
                      <a:pt x="595" y="0"/>
                    </a:lnTo>
                    <a:lnTo>
                      <a:pt x="554" y="1"/>
                    </a:lnTo>
                    <a:lnTo>
                      <a:pt x="516" y="3"/>
                    </a:lnTo>
                    <a:lnTo>
                      <a:pt x="479" y="7"/>
                    </a:lnTo>
                    <a:lnTo>
                      <a:pt x="444" y="13"/>
                    </a:lnTo>
                    <a:lnTo>
                      <a:pt x="427" y="17"/>
                    </a:lnTo>
                    <a:lnTo>
                      <a:pt x="410" y="21"/>
                    </a:lnTo>
                    <a:lnTo>
                      <a:pt x="394" y="25"/>
                    </a:lnTo>
                    <a:lnTo>
                      <a:pt x="378" y="30"/>
                    </a:lnTo>
                    <a:lnTo>
                      <a:pt x="363" y="35"/>
                    </a:lnTo>
                    <a:lnTo>
                      <a:pt x="348" y="41"/>
                    </a:lnTo>
                    <a:lnTo>
                      <a:pt x="332" y="47"/>
                    </a:lnTo>
                    <a:lnTo>
                      <a:pt x="318" y="54"/>
                    </a:lnTo>
                    <a:lnTo>
                      <a:pt x="291" y="68"/>
                    </a:lnTo>
                    <a:lnTo>
                      <a:pt x="265" y="83"/>
                    </a:lnTo>
                    <a:lnTo>
                      <a:pt x="240" y="99"/>
                    </a:lnTo>
                    <a:lnTo>
                      <a:pt x="217" y="116"/>
                    </a:lnTo>
                    <a:lnTo>
                      <a:pt x="194" y="134"/>
                    </a:lnTo>
                    <a:lnTo>
                      <a:pt x="174" y="152"/>
                    </a:lnTo>
                    <a:lnTo>
                      <a:pt x="154" y="172"/>
                    </a:lnTo>
                    <a:lnTo>
                      <a:pt x="136" y="193"/>
                    </a:lnTo>
                    <a:lnTo>
                      <a:pt x="119" y="214"/>
                    </a:lnTo>
                    <a:lnTo>
                      <a:pt x="102" y="236"/>
                    </a:lnTo>
                    <a:lnTo>
                      <a:pt x="88" y="259"/>
                    </a:lnTo>
                    <a:lnTo>
                      <a:pt x="74" y="282"/>
                    </a:lnTo>
                    <a:lnTo>
                      <a:pt x="62" y="307"/>
                    </a:lnTo>
                    <a:lnTo>
                      <a:pt x="51" y="332"/>
                    </a:lnTo>
                    <a:lnTo>
                      <a:pt x="41" y="357"/>
                    </a:lnTo>
                    <a:lnTo>
                      <a:pt x="33" y="383"/>
                    </a:lnTo>
                    <a:lnTo>
                      <a:pt x="25" y="409"/>
                    </a:lnTo>
                    <a:lnTo>
                      <a:pt x="19" y="435"/>
                    </a:lnTo>
                    <a:lnTo>
                      <a:pt x="13" y="461"/>
                    </a:lnTo>
                    <a:lnTo>
                      <a:pt x="9" y="487"/>
                    </a:lnTo>
                    <a:lnTo>
                      <a:pt x="5" y="513"/>
                    </a:lnTo>
                    <a:lnTo>
                      <a:pt x="2" y="539"/>
                    </a:lnTo>
                    <a:lnTo>
                      <a:pt x="1" y="565"/>
                    </a:lnTo>
                    <a:lnTo>
                      <a:pt x="0" y="591"/>
                    </a:lnTo>
                    <a:lnTo>
                      <a:pt x="0" y="1248"/>
                    </a:lnTo>
                    <a:lnTo>
                      <a:pt x="1" y="1279"/>
                    </a:lnTo>
                    <a:lnTo>
                      <a:pt x="3" y="1311"/>
                    </a:lnTo>
                    <a:lnTo>
                      <a:pt x="5" y="1341"/>
                    </a:lnTo>
                    <a:lnTo>
                      <a:pt x="9" y="1371"/>
                    </a:lnTo>
                    <a:lnTo>
                      <a:pt x="14" y="1401"/>
                    </a:lnTo>
                    <a:lnTo>
                      <a:pt x="20" y="1430"/>
                    </a:lnTo>
                    <a:lnTo>
                      <a:pt x="27" y="1459"/>
                    </a:lnTo>
                    <a:lnTo>
                      <a:pt x="34" y="1487"/>
                    </a:lnTo>
                    <a:lnTo>
                      <a:pt x="43" y="1515"/>
                    </a:lnTo>
                    <a:lnTo>
                      <a:pt x="53" y="1543"/>
                    </a:lnTo>
                    <a:lnTo>
                      <a:pt x="64" y="1569"/>
                    </a:lnTo>
                    <a:lnTo>
                      <a:pt x="77" y="1594"/>
                    </a:lnTo>
                    <a:lnTo>
                      <a:pt x="90" y="1619"/>
                    </a:lnTo>
                    <a:lnTo>
                      <a:pt x="105" y="1643"/>
                    </a:lnTo>
                    <a:lnTo>
                      <a:pt x="121" y="1666"/>
                    </a:lnTo>
                    <a:lnTo>
                      <a:pt x="138" y="16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22" name="Freeform 8"/>
              <p:cNvSpPr>
                <a:spLocks/>
              </p:cNvSpPr>
              <p:nvPr/>
            </p:nvSpPr>
            <p:spPr bwMode="auto">
              <a:xfrm>
                <a:off x="1081488" y="259248"/>
                <a:ext cx="121265" cy="194272"/>
              </a:xfrm>
              <a:custGeom>
                <a:avLst/>
                <a:gdLst>
                  <a:gd name="T0" fmla="*/ 419 w 1174"/>
                  <a:gd name="T1" fmla="*/ 457 h 1875"/>
                  <a:gd name="T2" fmla="*/ 450 w 1174"/>
                  <a:gd name="T3" fmla="*/ 420 h 1875"/>
                  <a:gd name="T4" fmla="*/ 484 w 1174"/>
                  <a:gd name="T5" fmla="*/ 396 h 1875"/>
                  <a:gd name="T6" fmla="*/ 527 w 1174"/>
                  <a:gd name="T7" fmla="*/ 379 h 1875"/>
                  <a:gd name="T8" fmla="*/ 579 w 1174"/>
                  <a:gd name="T9" fmla="*/ 371 h 1875"/>
                  <a:gd name="T10" fmla="*/ 632 w 1174"/>
                  <a:gd name="T11" fmla="*/ 374 h 1875"/>
                  <a:gd name="T12" fmla="*/ 677 w 1174"/>
                  <a:gd name="T13" fmla="*/ 387 h 1875"/>
                  <a:gd name="T14" fmla="*/ 741 w 1174"/>
                  <a:gd name="T15" fmla="*/ 428 h 1875"/>
                  <a:gd name="T16" fmla="*/ 782 w 1174"/>
                  <a:gd name="T17" fmla="*/ 481 h 1875"/>
                  <a:gd name="T18" fmla="*/ 798 w 1174"/>
                  <a:gd name="T19" fmla="*/ 524 h 1875"/>
                  <a:gd name="T20" fmla="*/ 1174 w 1174"/>
                  <a:gd name="T21" fmla="*/ 461 h 1875"/>
                  <a:gd name="T22" fmla="*/ 1149 w 1174"/>
                  <a:gd name="T23" fmla="*/ 373 h 1875"/>
                  <a:gd name="T24" fmla="*/ 1110 w 1174"/>
                  <a:gd name="T25" fmla="*/ 288 h 1875"/>
                  <a:gd name="T26" fmla="*/ 1059 w 1174"/>
                  <a:gd name="T27" fmla="*/ 208 h 1875"/>
                  <a:gd name="T28" fmla="*/ 994 w 1174"/>
                  <a:gd name="T29" fmla="*/ 140 h 1875"/>
                  <a:gd name="T30" fmla="*/ 914 w 1174"/>
                  <a:gd name="T31" fmla="*/ 83 h 1875"/>
                  <a:gd name="T32" fmla="*/ 821 w 1174"/>
                  <a:gd name="T33" fmla="*/ 38 h 1875"/>
                  <a:gd name="T34" fmla="*/ 713 w 1174"/>
                  <a:gd name="T35" fmla="*/ 9 h 1875"/>
                  <a:gd name="T36" fmla="*/ 593 w 1174"/>
                  <a:gd name="T37" fmla="*/ 0 h 1875"/>
                  <a:gd name="T38" fmla="*/ 443 w 1174"/>
                  <a:gd name="T39" fmla="*/ 13 h 1875"/>
                  <a:gd name="T40" fmla="*/ 377 w 1174"/>
                  <a:gd name="T41" fmla="*/ 30 h 1875"/>
                  <a:gd name="T42" fmla="*/ 318 w 1174"/>
                  <a:gd name="T43" fmla="*/ 54 h 1875"/>
                  <a:gd name="T44" fmla="*/ 215 w 1174"/>
                  <a:gd name="T45" fmla="*/ 116 h 1875"/>
                  <a:gd name="T46" fmla="*/ 134 w 1174"/>
                  <a:gd name="T47" fmla="*/ 193 h 1875"/>
                  <a:gd name="T48" fmla="*/ 74 w 1174"/>
                  <a:gd name="T49" fmla="*/ 282 h 1875"/>
                  <a:gd name="T50" fmla="*/ 33 w 1174"/>
                  <a:gd name="T51" fmla="*/ 383 h 1875"/>
                  <a:gd name="T52" fmla="*/ 8 w 1174"/>
                  <a:gd name="T53" fmla="*/ 487 h 1875"/>
                  <a:gd name="T54" fmla="*/ 0 w 1174"/>
                  <a:gd name="T55" fmla="*/ 591 h 1875"/>
                  <a:gd name="T56" fmla="*/ 5 w 1174"/>
                  <a:gd name="T57" fmla="*/ 1341 h 1875"/>
                  <a:gd name="T58" fmla="*/ 25 w 1174"/>
                  <a:gd name="T59" fmla="*/ 1459 h 1875"/>
                  <a:gd name="T60" fmla="*/ 64 w 1174"/>
                  <a:gd name="T61" fmla="*/ 1569 h 1875"/>
                  <a:gd name="T62" fmla="*/ 120 w 1174"/>
                  <a:gd name="T63" fmla="*/ 1666 h 1875"/>
                  <a:gd name="T64" fmla="*/ 196 w 1174"/>
                  <a:gd name="T65" fmla="*/ 1747 h 1875"/>
                  <a:gd name="T66" fmla="*/ 293 w 1174"/>
                  <a:gd name="T67" fmla="*/ 1811 h 1875"/>
                  <a:gd name="T68" fmla="*/ 364 w 1174"/>
                  <a:gd name="T69" fmla="*/ 1841 h 1875"/>
                  <a:gd name="T70" fmla="*/ 479 w 1174"/>
                  <a:gd name="T71" fmla="*/ 1868 h 1875"/>
                  <a:gd name="T72" fmla="*/ 621 w 1174"/>
                  <a:gd name="T73" fmla="*/ 1874 h 1875"/>
                  <a:gd name="T74" fmla="*/ 726 w 1174"/>
                  <a:gd name="T75" fmla="*/ 1863 h 1875"/>
                  <a:gd name="T76" fmla="*/ 825 w 1174"/>
                  <a:gd name="T77" fmla="*/ 1836 h 1875"/>
                  <a:gd name="T78" fmla="*/ 913 w 1174"/>
                  <a:gd name="T79" fmla="*/ 1794 h 1875"/>
                  <a:gd name="T80" fmla="*/ 994 w 1174"/>
                  <a:gd name="T81" fmla="*/ 1737 h 1875"/>
                  <a:gd name="T82" fmla="*/ 1061 w 1174"/>
                  <a:gd name="T83" fmla="*/ 1668 h 1875"/>
                  <a:gd name="T84" fmla="*/ 1114 w 1174"/>
                  <a:gd name="T85" fmla="*/ 1586 h 1875"/>
                  <a:gd name="T86" fmla="*/ 1152 w 1174"/>
                  <a:gd name="T87" fmla="*/ 1493 h 1875"/>
                  <a:gd name="T88" fmla="*/ 806 w 1174"/>
                  <a:gd name="T89" fmla="*/ 1310 h 1875"/>
                  <a:gd name="T90" fmla="*/ 782 w 1174"/>
                  <a:gd name="T91" fmla="*/ 1390 h 1875"/>
                  <a:gd name="T92" fmla="*/ 733 w 1174"/>
                  <a:gd name="T93" fmla="*/ 1452 h 1875"/>
                  <a:gd name="T94" fmla="*/ 667 w 1174"/>
                  <a:gd name="T95" fmla="*/ 1490 h 1875"/>
                  <a:gd name="T96" fmla="*/ 593 w 1174"/>
                  <a:gd name="T97" fmla="*/ 1503 h 1875"/>
                  <a:gd name="T98" fmla="*/ 540 w 1174"/>
                  <a:gd name="T99" fmla="*/ 1499 h 1875"/>
                  <a:gd name="T100" fmla="*/ 495 w 1174"/>
                  <a:gd name="T101" fmla="*/ 1486 h 1875"/>
                  <a:gd name="T102" fmla="*/ 459 w 1174"/>
                  <a:gd name="T103" fmla="*/ 1465 h 1875"/>
                  <a:gd name="T104" fmla="*/ 432 w 1174"/>
                  <a:gd name="T105" fmla="*/ 1435 h 1875"/>
                  <a:gd name="T106" fmla="*/ 397 w 1174"/>
                  <a:gd name="T107" fmla="*/ 1357 h 1875"/>
                  <a:gd name="T108" fmla="*/ 385 w 1174"/>
                  <a:gd name="T109" fmla="*/ 1259 h 1875"/>
                  <a:gd name="T110" fmla="*/ 391 w 1174"/>
                  <a:gd name="T111" fmla="*/ 525 h 1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74" h="1875">
                    <a:moveTo>
                      <a:pt x="396" y="507"/>
                    </a:moveTo>
                    <a:lnTo>
                      <a:pt x="402" y="490"/>
                    </a:lnTo>
                    <a:lnTo>
                      <a:pt x="410" y="473"/>
                    </a:lnTo>
                    <a:lnTo>
                      <a:pt x="419" y="457"/>
                    </a:lnTo>
                    <a:lnTo>
                      <a:pt x="430" y="441"/>
                    </a:lnTo>
                    <a:lnTo>
                      <a:pt x="436" y="434"/>
                    </a:lnTo>
                    <a:lnTo>
                      <a:pt x="443" y="427"/>
                    </a:lnTo>
                    <a:lnTo>
                      <a:pt x="450" y="420"/>
                    </a:lnTo>
                    <a:lnTo>
                      <a:pt x="458" y="413"/>
                    </a:lnTo>
                    <a:lnTo>
                      <a:pt x="466" y="407"/>
                    </a:lnTo>
                    <a:lnTo>
                      <a:pt x="475" y="401"/>
                    </a:lnTo>
                    <a:lnTo>
                      <a:pt x="484" y="396"/>
                    </a:lnTo>
                    <a:lnTo>
                      <a:pt x="494" y="391"/>
                    </a:lnTo>
                    <a:lnTo>
                      <a:pt x="505" y="386"/>
                    </a:lnTo>
                    <a:lnTo>
                      <a:pt x="516" y="382"/>
                    </a:lnTo>
                    <a:lnTo>
                      <a:pt x="527" y="379"/>
                    </a:lnTo>
                    <a:lnTo>
                      <a:pt x="539" y="376"/>
                    </a:lnTo>
                    <a:lnTo>
                      <a:pt x="552" y="374"/>
                    </a:lnTo>
                    <a:lnTo>
                      <a:pt x="565" y="372"/>
                    </a:lnTo>
                    <a:lnTo>
                      <a:pt x="579" y="371"/>
                    </a:lnTo>
                    <a:lnTo>
                      <a:pt x="593" y="371"/>
                    </a:lnTo>
                    <a:lnTo>
                      <a:pt x="606" y="371"/>
                    </a:lnTo>
                    <a:lnTo>
                      <a:pt x="619" y="372"/>
                    </a:lnTo>
                    <a:lnTo>
                      <a:pt x="632" y="374"/>
                    </a:lnTo>
                    <a:lnTo>
                      <a:pt x="644" y="376"/>
                    </a:lnTo>
                    <a:lnTo>
                      <a:pt x="656" y="379"/>
                    </a:lnTo>
                    <a:lnTo>
                      <a:pt x="667" y="383"/>
                    </a:lnTo>
                    <a:lnTo>
                      <a:pt x="677" y="387"/>
                    </a:lnTo>
                    <a:lnTo>
                      <a:pt x="688" y="392"/>
                    </a:lnTo>
                    <a:lnTo>
                      <a:pt x="707" y="403"/>
                    </a:lnTo>
                    <a:lnTo>
                      <a:pt x="724" y="415"/>
                    </a:lnTo>
                    <a:lnTo>
                      <a:pt x="741" y="428"/>
                    </a:lnTo>
                    <a:lnTo>
                      <a:pt x="755" y="442"/>
                    </a:lnTo>
                    <a:lnTo>
                      <a:pt x="767" y="457"/>
                    </a:lnTo>
                    <a:lnTo>
                      <a:pt x="778" y="473"/>
                    </a:lnTo>
                    <a:lnTo>
                      <a:pt x="782" y="481"/>
                    </a:lnTo>
                    <a:lnTo>
                      <a:pt x="786" y="490"/>
                    </a:lnTo>
                    <a:lnTo>
                      <a:pt x="790" y="498"/>
                    </a:lnTo>
                    <a:lnTo>
                      <a:pt x="793" y="507"/>
                    </a:lnTo>
                    <a:lnTo>
                      <a:pt x="798" y="524"/>
                    </a:lnTo>
                    <a:lnTo>
                      <a:pt x="803" y="541"/>
                    </a:lnTo>
                    <a:lnTo>
                      <a:pt x="807" y="556"/>
                    </a:lnTo>
                    <a:lnTo>
                      <a:pt x="810" y="569"/>
                    </a:lnTo>
                    <a:lnTo>
                      <a:pt x="1174" y="461"/>
                    </a:lnTo>
                    <a:lnTo>
                      <a:pt x="1169" y="439"/>
                    </a:lnTo>
                    <a:lnTo>
                      <a:pt x="1163" y="416"/>
                    </a:lnTo>
                    <a:lnTo>
                      <a:pt x="1156" y="395"/>
                    </a:lnTo>
                    <a:lnTo>
                      <a:pt x="1149" y="373"/>
                    </a:lnTo>
                    <a:lnTo>
                      <a:pt x="1140" y="351"/>
                    </a:lnTo>
                    <a:lnTo>
                      <a:pt x="1131" y="330"/>
                    </a:lnTo>
                    <a:lnTo>
                      <a:pt x="1121" y="309"/>
                    </a:lnTo>
                    <a:lnTo>
                      <a:pt x="1110" y="288"/>
                    </a:lnTo>
                    <a:lnTo>
                      <a:pt x="1099" y="266"/>
                    </a:lnTo>
                    <a:lnTo>
                      <a:pt x="1086" y="246"/>
                    </a:lnTo>
                    <a:lnTo>
                      <a:pt x="1073" y="227"/>
                    </a:lnTo>
                    <a:lnTo>
                      <a:pt x="1059" y="208"/>
                    </a:lnTo>
                    <a:lnTo>
                      <a:pt x="1044" y="190"/>
                    </a:lnTo>
                    <a:lnTo>
                      <a:pt x="1028" y="173"/>
                    </a:lnTo>
                    <a:lnTo>
                      <a:pt x="1011" y="156"/>
                    </a:lnTo>
                    <a:lnTo>
                      <a:pt x="994" y="140"/>
                    </a:lnTo>
                    <a:lnTo>
                      <a:pt x="975" y="125"/>
                    </a:lnTo>
                    <a:lnTo>
                      <a:pt x="955" y="110"/>
                    </a:lnTo>
                    <a:lnTo>
                      <a:pt x="935" y="96"/>
                    </a:lnTo>
                    <a:lnTo>
                      <a:pt x="914" y="83"/>
                    </a:lnTo>
                    <a:lnTo>
                      <a:pt x="892" y="70"/>
                    </a:lnTo>
                    <a:lnTo>
                      <a:pt x="869" y="59"/>
                    </a:lnTo>
                    <a:lnTo>
                      <a:pt x="846" y="48"/>
                    </a:lnTo>
                    <a:lnTo>
                      <a:pt x="821" y="38"/>
                    </a:lnTo>
                    <a:lnTo>
                      <a:pt x="796" y="29"/>
                    </a:lnTo>
                    <a:lnTo>
                      <a:pt x="769" y="21"/>
                    </a:lnTo>
                    <a:lnTo>
                      <a:pt x="742" y="15"/>
                    </a:lnTo>
                    <a:lnTo>
                      <a:pt x="713" y="9"/>
                    </a:lnTo>
                    <a:lnTo>
                      <a:pt x="684" y="5"/>
                    </a:lnTo>
                    <a:lnTo>
                      <a:pt x="654" y="2"/>
                    </a:lnTo>
                    <a:lnTo>
                      <a:pt x="624" y="1"/>
                    </a:lnTo>
                    <a:lnTo>
                      <a:pt x="593" y="0"/>
                    </a:lnTo>
                    <a:lnTo>
                      <a:pt x="553" y="1"/>
                    </a:lnTo>
                    <a:lnTo>
                      <a:pt x="515" y="3"/>
                    </a:lnTo>
                    <a:lnTo>
                      <a:pt x="478" y="7"/>
                    </a:lnTo>
                    <a:lnTo>
                      <a:pt x="443" y="13"/>
                    </a:lnTo>
                    <a:lnTo>
                      <a:pt x="426" y="17"/>
                    </a:lnTo>
                    <a:lnTo>
                      <a:pt x="409" y="21"/>
                    </a:lnTo>
                    <a:lnTo>
                      <a:pt x="393" y="25"/>
                    </a:lnTo>
                    <a:lnTo>
                      <a:pt x="377" y="30"/>
                    </a:lnTo>
                    <a:lnTo>
                      <a:pt x="362" y="35"/>
                    </a:lnTo>
                    <a:lnTo>
                      <a:pt x="347" y="41"/>
                    </a:lnTo>
                    <a:lnTo>
                      <a:pt x="332" y="47"/>
                    </a:lnTo>
                    <a:lnTo>
                      <a:pt x="318" y="54"/>
                    </a:lnTo>
                    <a:lnTo>
                      <a:pt x="291" y="68"/>
                    </a:lnTo>
                    <a:lnTo>
                      <a:pt x="264" y="83"/>
                    </a:lnTo>
                    <a:lnTo>
                      <a:pt x="238" y="99"/>
                    </a:lnTo>
                    <a:lnTo>
                      <a:pt x="215" y="116"/>
                    </a:lnTo>
                    <a:lnTo>
                      <a:pt x="193" y="134"/>
                    </a:lnTo>
                    <a:lnTo>
                      <a:pt x="172" y="152"/>
                    </a:lnTo>
                    <a:lnTo>
                      <a:pt x="153" y="172"/>
                    </a:lnTo>
                    <a:lnTo>
                      <a:pt x="134" y="193"/>
                    </a:lnTo>
                    <a:lnTo>
                      <a:pt x="118" y="214"/>
                    </a:lnTo>
                    <a:lnTo>
                      <a:pt x="102" y="236"/>
                    </a:lnTo>
                    <a:lnTo>
                      <a:pt x="87" y="259"/>
                    </a:lnTo>
                    <a:lnTo>
                      <a:pt x="74" y="282"/>
                    </a:lnTo>
                    <a:lnTo>
                      <a:pt x="62" y="307"/>
                    </a:lnTo>
                    <a:lnTo>
                      <a:pt x="51" y="332"/>
                    </a:lnTo>
                    <a:lnTo>
                      <a:pt x="41" y="357"/>
                    </a:lnTo>
                    <a:lnTo>
                      <a:pt x="33" y="383"/>
                    </a:lnTo>
                    <a:lnTo>
                      <a:pt x="24" y="409"/>
                    </a:lnTo>
                    <a:lnTo>
                      <a:pt x="18" y="435"/>
                    </a:lnTo>
                    <a:lnTo>
                      <a:pt x="12" y="461"/>
                    </a:lnTo>
                    <a:lnTo>
                      <a:pt x="8" y="487"/>
                    </a:lnTo>
                    <a:lnTo>
                      <a:pt x="5" y="513"/>
                    </a:lnTo>
                    <a:lnTo>
                      <a:pt x="2" y="539"/>
                    </a:lnTo>
                    <a:lnTo>
                      <a:pt x="1" y="565"/>
                    </a:lnTo>
                    <a:lnTo>
                      <a:pt x="0" y="591"/>
                    </a:lnTo>
                    <a:lnTo>
                      <a:pt x="0" y="1248"/>
                    </a:lnTo>
                    <a:lnTo>
                      <a:pt x="1" y="1279"/>
                    </a:lnTo>
                    <a:lnTo>
                      <a:pt x="2" y="1311"/>
                    </a:lnTo>
                    <a:lnTo>
                      <a:pt x="5" y="1341"/>
                    </a:lnTo>
                    <a:lnTo>
                      <a:pt x="8" y="1371"/>
                    </a:lnTo>
                    <a:lnTo>
                      <a:pt x="13" y="1401"/>
                    </a:lnTo>
                    <a:lnTo>
                      <a:pt x="18" y="1430"/>
                    </a:lnTo>
                    <a:lnTo>
                      <a:pt x="25" y="1459"/>
                    </a:lnTo>
                    <a:lnTo>
                      <a:pt x="34" y="1487"/>
                    </a:lnTo>
                    <a:lnTo>
                      <a:pt x="43" y="1515"/>
                    </a:lnTo>
                    <a:lnTo>
                      <a:pt x="53" y="1543"/>
                    </a:lnTo>
                    <a:lnTo>
                      <a:pt x="64" y="1569"/>
                    </a:lnTo>
                    <a:lnTo>
                      <a:pt x="76" y="1594"/>
                    </a:lnTo>
                    <a:lnTo>
                      <a:pt x="89" y="1619"/>
                    </a:lnTo>
                    <a:lnTo>
                      <a:pt x="104" y="1643"/>
                    </a:lnTo>
                    <a:lnTo>
                      <a:pt x="120" y="1666"/>
                    </a:lnTo>
                    <a:lnTo>
                      <a:pt x="137" y="1688"/>
                    </a:lnTo>
                    <a:lnTo>
                      <a:pt x="155" y="1709"/>
                    </a:lnTo>
                    <a:lnTo>
                      <a:pt x="175" y="1729"/>
                    </a:lnTo>
                    <a:lnTo>
                      <a:pt x="196" y="1747"/>
                    </a:lnTo>
                    <a:lnTo>
                      <a:pt x="218" y="1765"/>
                    </a:lnTo>
                    <a:lnTo>
                      <a:pt x="241" y="1781"/>
                    </a:lnTo>
                    <a:lnTo>
                      <a:pt x="267" y="1797"/>
                    </a:lnTo>
                    <a:lnTo>
                      <a:pt x="293" y="1811"/>
                    </a:lnTo>
                    <a:lnTo>
                      <a:pt x="321" y="1824"/>
                    </a:lnTo>
                    <a:lnTo>
                      <a:pt x="335" y="1830"/>
                    </a:lnTo>
                    <a:lnTo>
                      <a:pt x="349" y="1836"/>
                    </a:lnTo>
                    <a:lnTo>
                      <a:pt x="364" y="1841"/>
                    </a:lnTo>
                    <a:lnTo>
                      <a:pt x="379" y="1846"/>
                    </a:lnTo>
                    <a:lnTo>
                      <a:pt x="411" y="1855"/>
                    </a:lnTo>
                    <a:lnTo>
                      <a:pt x="444" y="1862"/>
                    </a:lnTo>
                    <a:lnTo>
                      <a:pt x="479" y="1868"/>
                    </a:lnTo>
                    <a:lnTo>
                      <a:pt x="516" y="1872"/>
                    </a:lnTo>
                    <a:lnTo>
                      <a:pt x="554" y="1874"/>
                    </a:lnTo>
                    <a:lnTo>
                      <a:pt x="593" y="1875"/>
                    </a:lnTo>
                    <a:lnTo>
                      <a:pt x="621" y="1874"/>
                    </a:lnTo>
                    <a:lnTo>
                      <a:pt x="648" y="1873"/>
                    </a:lnTo>
                    <a:lnTo>
                      <a:pt x="675" y="1871"/>
                    </a:lnTo>
                    <a:lnTo>
                      <a:pt x="701" y="1867"/>
                    </a:lnTo>
                    <a:lnTo>
                      <a:pt x="726" y="1863"/>
                    </a:lnTo>
                    <a:lnTo>
                      <a:pt x="753" y="1858"/>
                    </a:lnTo>
                    <a:lnTo>
                      <a:pt x="777" y="1851"/>
                    </a:lnTo>
                    <a:lnTo>
                      <a:pt x="801" y="1844"/>
                    </a:lnTo>
                    <a:lnTo>
                      <a:pt x="825" y="1836"/>
                    </a:lnTo>
                    <a:lnTo>
                      <a:pt x="848" y="1827"/>
                    </a:lnTo>
                    <a:lnTo>
                      <a:pt x="870" y="1817"/>
                    </a:lnTo>
                    <a:lnTo>
                      <a:pt x="892" y="1806"/>
                    </a:lnTo>
                    <a:lnTo>
                      <a:pt x="913" y="1794"/>
                    </a:lnTo>
                    <a:lnTo>
                      <a:pt x="934" y="1782"/>
                    </a:lnTo>
                    <a:lnTo>
                      <a:pt x="954" y="1768"/>
                    </a:lnTo>
                    <a:lnTo>
                      <a:pt x="975" y="1753"/>
                    </a:lnTo>
                    <a:lnTo>
                      <a:pt x="994" y="1737"/>
                    </a:lnTo>
                    <a:lnTo>
                      <a:pt x="1012" y="1721"/>
                    </a:lnTo>
                    <a:lnTo>
                      <a:pt x="1030" y="1704"/>
                    </a:lnTo>
                    <a:lnTo>
                      <a:pt x="1046" y="1686"/>
                    </a:lnTo>
                    <a:lnTo>
                      <a:pt x="1061" y="1668"/>
                    </a:lnTo>
                    <a:lnTo>
                      <a:pt x="1076" y="1649"/>
                    </a:lnTo>
                    <a:lnTo>
                      <a:pt x="1089" y="1629"/>
                    </a:lnTo>
                    <a:lnTo>
                      <a:pt x="1102" y="1607"/>
                    </a:lnTo>
                    <a:lnTo>
                      <a:pt x="1114" y="1586"/>
                    </a:lnTo>
                    <a:lnTo>
                      <a:pt x="1125" y="1564"/>
                    </a:lnTo>
                    <a:lnTo>
                      <a:pt x="1135" y="1541"/>
                    </a:lnTo>
                    <a:lnTo>
                      <a:pt x="1144" y="1517"/>
                    </a:lnTo>
                    <a:lnTo>
                      <a:pt x="1152" y="1493"/>
                    </a:lnTo>
                    <a:lnTo>
                      <a:pt x="1159" y="1468"/>
                    </a:lnTo>
                    <a:lnTo>
                      <a:pt x="1165" y="1442"/>
                    </a:lnTo>
                    <a:lnTo>
                      <a:pt x="1171" y="1416"/>
                    </a:lnTo>
                    <a:lnTo>
                      <a:pt x="806" y="1310"/>
                    </a:lnTo>
                    <a:lnTo>
                      <a:pt x="802" y="1332"/>
                    </a:lnTo>
                    <a:lnTo>
                      <a:pt x="797" y="1353"/>
                    </a:lnTo>
                    <a:lnTo>
                      <a:pt x="790" y="1372"/>
                    </a:lnTo>
                    <a:lnTo>
                      <a:pt x="782" y="1390"/>
                    </a:lnTo>
                    <a:lnTo>
                      <a:pt x="772" y="1408"/>
                    </a:lnTo>
                    <a:lnTo>
                      <a:pt x="761" y="1423"/>
                    </a:lnTo>
                    <a:lnTo>
                      <a:pt x="748" y="1438"/>
                    </a:lnTo>
                    <a:lnTo>
                      <a:pt x="733" y="1452"/>
                    </a:lnTo>
                    <a:lnTo>
                      <a:pt x="717" y="1464"/>
                    </a:lnTo>
                    <a:lnTo>
                      <a:pt x="701" y="1474"/>
                    </a:lnTo>
                    <a:lnTo>
                      <a:pt x="685" y="1483"/>
                    </a:lnTo>
                    <a:lnTo>
                      <a:pt x="667" y="1490"/>
                    </a:lnTo>
                    <a:lnTo>
                      <a:pt x="650" y="1496"/>
                    </a:lnTo>
                    <a:lnTo>
                      <a:pt x="631" y="1500"/>
                    </a:lnTo>
                    <a:lnTo>
                      <a:pt x="612" y="1502"/>
                    </a:lnTo>
                    <a:lnTo>
                      <a:pt x="593" y="1503"/>
                    </a:lnTo>
                    <a:lnTo>
                      <a:pt x="579" y="1503"/>
                    </a:lnTo>
                    <a:lnTo>
                      <a:pt x="565" y="1502"/>
                    </a:lnTo>
                    <a:lnTo>
                      <a:pt x="552" y="1501"/>
                    </a:lnTo>
                    <a:lnTo>
                      <a:pt x="540" y="1499"/>
                    </a:lnTo>
                    <a:lnTo>
                      <a:pt x="528" y="1497"/>
                    </a:lnTo>
                    <a:lnTo>
                      <a:pt x="517" y="1494"/>
                    </a:lnTo>
                    <a:lnTo>
                      <a:pt x="506" y="1490"/>
                    </a:lnTo>
                    <a:lnTo>
                      <a:pt x="495" y="1486"/>
                    </a:lnTo>
                    <a:lnTo>
                      <a:pt x="485" y="1482"/>
                    </a:lnTo>
                    <a:lnTo>
                      <a:pt x="476" y="1477"/>
                    </a:lnTo>
                    <a:lnTo>
                      <a:pt x="467" y="1471"/>
                    </a:lnTo>
                    <a:lnTo>
                      <a:pt x="459" y="1465"/>
                    </a:lnTo>
                    <a:lnTo>
                      <a:pt x="451" y="1458"/>
                    </a:lnTo>
                    <a:lnTo>
                      <a:pt x="444" y="1451"/>
                    </a:lnTo>
                    <a:lnTo>
                      <a:pt x="438" y="1443"/>
                    </a:lnTo>
                    <a:lnTo>
                      <a:pt x="432" y="1435"/>
                    </a:lnTo>
                    <a:lnTo>
                      <a:pt x="421" y="1417"/>
                    </a:lnTo>
                    <a:lnTo>
                      <a:pt x="411" y="1398"/>
                    </a:lnTo>
                    <a:lnTo>
                      <a:pt x="403" y="1378"/>
                    </a:lnTo>
                    <a:lnTo>
                      <a:pt x="397" y="1357"/>
                    </a:lnTo>
                    <a:lnTo>
                      <a:pt x="392" y="1334"/>
                    </a:lnTo>
                    <a:lnTo>
                      <a:pt x="388" y="1311"/>
                    </a:lnTo>
                    <a:lnTo>
                      <a:pt x="386" y="1285"/>
                    </a:lnTo>
                    <a:lnTo>
                      <a:pt x="385" y="1259"/>
                    </a:lnTo>
                    <a:lnTo>
                      <a:pt x="385" y="575"/>
                    </a:lnTo>
                    <a:lnTo>
                      <a:pt x="386" y="558"/>
                    </a:lnTo>
                    <a:lnTo>
                      <a:pt x="388" y="542"/>
                    </a:lnTo>
                    <a:lnTo>
                      <a:pt x="391" y="525"/>
                    </a:lnTo>
                    <a:lnTo>
                      <a:pt x="396" y="50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24" name="Freeform 9"/>
              <p:cNvSpPr>
                <a:spLocks/>
              </p:cNvSpPr>
              <p:nvPr/>
            </p:nvSpPr>
            <p:spPr bwMode="auto">
              <a:xfrm>
                <a:off x="1239875" y="260485"/>
                <a:ext cx="111366" cy="190560"/>
              </a:xfrm>
              <a:custGeom>
                <a:avLst/>
                <a:gdLst>
                  <a:gd name="T0" fmla="*/ 0 w 1075"/>
                  <a:gd name="T1" fmla="*/ 1845 h 1845"/>
                  <a:gd name="T2" fmla="*/ 1075 w 1075"/>
                  <a:gd name="T3" fmla="*/ 1845 h 1845"/>
                  <a:gd name="T4" fmla="*/ 1075 w 1075"/>
                  <a:gd name="T5" fmla="*/ 1482 h 1845"/>
                  <a:gd name="T6" fmla="*/ 385 w 1075"/>
                  <a:gd name="T7" fmla="*/ 1482 h 1845"/>
                  <a:gd name="T8" fmla="*/ 385 w 1075"/>
                  <a:gd name="T9" fmla="*/ 1090 h 1845"/>
                  <a:gd name="T10" fmla="*/ 979 w 1075"/>
                  <a:gd name="T11" fmla="*/ 1090 h 1845"/>
                  <a:gd name="T12" fmla="*/ 979 w 1075"/>
                  <a:gd name="T13" fmla="*/ 737 h 1845"/>
                  <a:gd name="T14" fmla="*/ 385 w 1075"/>
                  <a:gd name="T15" fmla="*/ 737 h 1845"/>
                  <a:gd name="T16" fmla="*/ 385 w 1075"/>
                  <a:gd name="T17" fmla="*/ 355 h 1845"/>
                  <a:gd name="T18" fmla="*/ 1075 w 1075"/>
                  <a:gd name="T19" fmla="*/ 355 h 1845"/>
                  <a:gd name="T20" fmla="*/ 1075 w 1075"/>
                  <a:gd name="T21" fmla="*/ 0 h 1845"/>
                  <a:gd name="T22" fmla="*/ 0 w 1075"/>
                  <a:gd name="T23" fmla="*/ 0 h 1845"/>
                  <a:gd name="T24" fmla="*/ 0 w 1075"/>
                  <a:gd name="T25" fmla="*/ 1845 h 1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75" h="1845">
                    <a:moveTo>
                      <a:pt x="0" y="1845"/>
                    </a:moveTo>
                    <a:lnTo>
                      <a:pt x="1075" y="1845"/>
                    </a:lnTo>
                    <a:lnTo>
                      <a:pt x="1075" y="1482"/>
                    </a:lnTo>
                    <a:lnTo>
                      <a:pt x="385" y="1482"/>
                    </a:lnTo>
                    <a:lnTo>
                      <a:pt x="385" y="1090"/>
                    </a:lnTo>
                    <a:lnTo>
                      <a:pt x="979" y="1090"/>
                    </a:lnTo>
                    <a:lnTo>
                      <a:pt x="979" y="737"/>
                    </a:lnTo>
                    <a:lnTo>
                      <a:pt x="385" y="737"/>
                    </a:lnTo>
                    <a:lnTo>
                      <a:pt x="385" y="355"/>
                    </a:lnTo>
                    <a:lnTo>
                      <a:pt x="1075" y="355"/>
                    </a:lnTo>
                    <a:lnTo>
                      <a:pt x="1075" y="0"/>
                    </a:lnTo>
                    <a:lnTo>
                      <a:pt x="0" y="0"/>
                    </a:lnTo>
                    <a:lnTo>
                      <a:pt x="0" y="18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25" name="Freeform 10"/>
              <p:cNvSpPr>
                <a:spLocks/>
              </p:cNvSpPr>
              <p:nvPr/>
            </p:nvSpPr>
            <p:spPr bwMode="auto">
              <a:xfrm>
                <a:off x="1373515" y="260485"/>
                <a:ext cx="121265" cy="190560"/>
              </a:xfrm>
              <a:custGeom>
                <a:avLst/>
                <a:gdLst>
                  <a:gd name="T0" fmla="*/ 0 w 1174"/>
                  <a:gd name="T1" fmla="*/ 350 h 1845"/>
                  <a:gd name="T2" fmla="*/ 396 w 1174"/>
                  <a:gd name="T3" fmla="*/ 350 h 1845"/>
                  <a:gd name="T4" fmla="*/ 396 w 1174"/>
                  <a:gd name="T5" fmla="*/ 1845 h 1845"/>
                  <a:gd name="T6" fmla="*/ 779 w 1174"/>
                  <a:gd name="T7" fmla="*/ 1845 h 1845"/>
                  <a:gd name="T8" fmla="*/ 779 w 1174"/>
                  <a:gd name="T9" fmla="*/ 350 h 1845"/>
                  <a:gd name="T10" fmla="*/ 1174 w 1174"/>
                  <a:gd name="T11" fmla="*/ 350 h 1845"/>
                  <a:gd name="T12" fmla="*/ 1174 w 1174"/>
                  <a:gd name="T13" fmla="*/ 0 h 1845"/>
                  <a:gd name="T14" fmla="*/ 0 w 1174"/>
                  <a:gd name="T15" fmla="*/ 0 h 1845"/>
                  <a:gd name="T16" fmla="*/ 0 w 1174"/>
                  <a:gd name="T17" fmla="*/ 350 h 1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74" h="1845">
                    <a:moveTo>
                      <a:pt x="0" y="350"/>
                    </a:moveTo>
                    <a:lnTo>
                      <a:pt x="396" y="350"/>
                    </a:lnTo>
                    <a:lnTo>
                      <a:pt x="396" y="1845"/>
                    </a:lnTo>
                    <a:lnTo>
                      <a:pt x="779" y="1845"/>
                    </a:lnTo>
                    <a:lnTo>
                      <a:pt x="779" y="350"/>
                    </a:lnTo>
                    <a:lnTo>
                      <a:pt x="1174" y="350"/>
                    </a:lnTo>
                    <a:lnTo>
                      <a:pt x="1174" y="0"/>
                    </a:lnTo>
                    <a:lnTo>
                      <a:pt x="0" y="0"/>
                    </a:lnTo>
                    <a:lnTo>
                      <a:pt x="0" y="3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26" name="Freeform 11"/>
              <p:cNvSpPr>
                <a:spLocks/>
              </p:cNvSpPr>
              <p:nvPr/>
            </p:nvSpPr>
            <p:spPr bwMode="auto">
              <a:xfrm>
                <a:off x="1526952" y="260485"/>
                <a:ext cx="129927" cy="190560"/>
              </a:xfrm>
              <a:custGeom>
                <a:avLst/>
                <a:gdLst>
                  <a:gd name="T0" fmla="*/ 917 w 1264"/>
                  <a:gd name="T1" fmla="*/ 0 h 1845"/>
                  <a:gd name="T2" fmla="*/ 388 w 1264"/>
                  <a:gd name="T3" fmla="*/ 1072 h 1845"/>
                  <a:gd name="T4" fmla="*/ 382 w 1264"/>
                  <a:gd name="T5" fmla="*/ 1072 h 1845"/>
                  <a:gd name="T6" fmla="*/ 382 w 1264"/>
                  <a:gd name="T7" fmla="*/ 0 h 1845"/>
                  <a:gd name="T8" fmla="*/ 0 w 1264"/>
                  <a:gd name="T9" fmla="*/ 0 h 1845"/>
                  <a:gd name="T10" fmla="*/ 0 w 1264"/>
                  <a:gd name="T11" fmla="*/ 1845 h 1845"/>
                  <a:gd name="T12" fmla="*/ 361 w 1264"/>
                  <a:gd name="T13" fmla="*/ 1845 h 1845"/>
                  <a:gd name="T14" fmla="*/ 876 w 1264"/>
                  <a:gd name="T15" fmla="*/ 841 h 1845"/>
                  <a:gd name="T16" fmla="*/ 878 w 1264"/>
                  <a:gd name="T17" fmla="*/ 841 h 1845"/>
                  <a:gd name="T18" fmla="*/ 878 w 1264"/>
                  <a:gd name="T19" fmla="*/ 1845 h 1845"/>
                  <a:gd name="T20" fmla="*/ 1264 w 1264"/>
                  <a:gd name="T21" fmla="*/ 1845 h 1845"/>
                  <a:gd name="T22" fmla="*/ 1264 w 1264"/>
                  <a:gd name="T23" fmla="*/ 0 h 1845"/>
                  <a:gd name="T24" fmla="*/ 917 w 1264"/>
                  <a:gd name="T25" fmla="*/ 0 h 1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64" h="1845">
                    <a:moveTo>
                      <a:pt x="917" y="0"/>
                    </a:moveTo>
                    <a:lnTo>
                      <a:pt x="388" y="1072"/>
                    </a:lnTo>
                    <a:lnTo>
                      <a:pt x="382" y="1072"/>
                    </a:lnTo>
                    <a:lnTo>
                      <a:pt x="382" y="0"/>
                    </a:lnTo>
                    <a:lnTo>
                      <a:pt x="0" y="0"/>
                    </a:lnTo>
                    <a:lnTo>
                      <a:pt x="0" y="1845"/>
                    </a:lnTo>
                    <a:lnTo>
                      <a:pt x="361" y="1845"/>
                    </a:lnTo>
                    <a:lnTo>
                      <a:pt x="876" y="841"/>
                    </a:lnTo>
                    <a:lnTo>
                      <a:pt x="878" y="841"/>
                    </a:lnTo>
                    <a:lnTo>
                      <a:pt x="878" y="1845"/>
                    </a:lnTo>
                    <a:lnTo>
                      <a:pt x="1264" y="1845"/>
                    </a:lnTo>
                    <a:lnTo>
                      <a:pt x="1264" y="0"/>
                    </a:lnTo>
                    <a:lnTo>
                      <a:pt x="9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  <p:grpSp>
          <p:nvGrpSpPr>
            <p:cNvPr id="10" name="Группа 9"/>
            <p:cNvGrpSpPr/>
            <p:nvPr userDrawn="1"/>
          </p:nvGrpSpPr>
          <p:grpSpPr>
            <a:xfrm>
              <a:off x="0" y="687388"/>
              <a:ext cx="407368" cy="406401"/>
              <a:chOff x="0" y="167680"/>
              <a:chExt cx="520945" cy="519708"/>
            </a:xfrm>
            <a:grpFill/>
          </p:grpSpPr>
          <p:sp>
            <p:nvSpPr>
              <p:cNvPr id="11" name="Freeform 12"/>
              <p:cNvSpPr>
                <a:spLocks/>
              </p:cNvSpPr>
              <p:nvPr/>
            </p:nvSpPr>
            <p:spPr bwMode="auto">
              <a:xfrm>
                <a:off x="160862" y="323592"/>
                <a:ext cx="196746" cy="363796"/>
              </a:xfrm>
              <a:custGeom>
                <a:avLst/>
                <a:gdLst>
                  <a:gd name="T0" fmla="*/ 1471 w 1903"/>
                  <a:gd name="T1" fmla="*/ 0 h 3523"/>
                  <a:gd name="T2" fmla="*/ 0 w 1903"/>
                  <a:gd name="T3" fmla="*/ 3334 h 3523"/>
                  <a:gd name="T4" fmla="*/ 56 w 1903"/>
                  <a:gd name="T5" fmla="*/ 3357 h 3523"/>
                  <a:gd name="T6" fmla="*/ 112 w 1903"/>
                  <a:gd name="T7" fmla="*/ 3377 h 3523"/>
                  <a:gd name="T8" fmla="*/ 169 w 1903"/>
                  <a:gd name="T9" fmla="*/ 3397 h 3523"/>
                  <a:gd name="T10" fmla="*/ 227 w 1903"/>
                  <a:gd name="T11" fmla="*/ 3415 h 3523"/>
                  <a:gd name="T12" fmla="*/ 286 w 1903"/>
                  <a:gd name="T13" fmla="*/ 3432 h 3523"/>
                  <a:gd name="T14" fmla="*/ 344 w 1903"/>
                  <a:gd name="T15" fmla="*/ 3447 h 3523"/>
                  <a:gd name="T16" fmla="*/ 403 w 1903"/>
                  <a:gd name="T17" fmla="*/ 3461 h 3523"/>
                  <a:gd name="T18" fmla="*/ 464 w 1903"/>
                  <a:gd name="T19" fmla="*/ 3474 h 3523"/>
                  <a:gd name="T20" fmla="*/ 524 w 1903"/>
                  <a:gd name="T21" fmla="*/ 3485 h 3523"/>
                  <a:gd name="T22" fmla="*/ 585 w 1903"/>
                  <a:gd name="T23" fmla="*/ 3495 h 3523"/>
                  <a:gd name="T24" fmla="*/ 646 w 1903"/>
                  <a:gd name="T25" fmla="*/ 3504 h 3523"/>
                  <a:gd name="T26" fmla="*/ 709 w 1903"/>
                  <a:gd name="T27" fmla="*/ 3511 h 3523"/>
                  <a:gd name="T28" fmla="*/ 771 w 1903"/>
                  <a:gd name="T29" fmla="*/ 3516 h 3523"/>
                  <a:gd name="T30" fmla="*/ 834 w 1903"/>
                  <a:gd name="T31" fmla="*/ 3520 h 3523"/>
                  <a:gd name="T32" fmla="*/ 897 w 1903"/>
                  <a:gd name="T33" fmla="*/ 3522 h 3523"/>
                  <a:gd name="T34" fmla="*/ 962 w 1903"/>
                  <a:gd name="T35" fmla="*/ 3523 h 3523"/>
                  <a:gd name="T36" fmla="*/ 1024 w 1903"/>
                  <a:gd name="T37" fmla="*/ 3522 h 3523"/>
                  <a:gd name="T38" fmla="*/ 1085 w 1903"/>
                  <a:gd name="T39" fmla="*/ 3520 h 3523"/>
                  <a:gd name="T40" fmla="*/ 1146 w 1903"/>
                  <a:gd name="T41" fmla="*/ 3516 h 3523"/>
                  <a:gd name="T42" fmla="*/ 1208 w 1903"/>
                  <a:gd name="T43" fmla="*/ 3511 h 3523"/>
                  <a:gd name="T44" fmla="*/ 1268 w 1903"/>
                  <a:gd name="T45" fmla="*/ 3504 h 3523"/>
                  <a:gd name="T46" fmla="*/ 1328 w 1903"/>
                  <a:gd name="T47" fmla="*/ 3496 h 3523"/>
                  <a:gd name="T48" fmla="*/ 1388 w 1903"/>
                  <a:gd name="T49" fmla="*/ 3487 h 3523"/>
                  <a:gd name="T50" fmla="*/ 1448 w 1903"/>
                  <a:gd name="T51" fmla="*/ 3476 h 3523"/>
                  <a:gd name="T52" fmla="*/ 1506 w 1903"/>
                  <a:gd name="T53" fmla="*/ 3464 h 3523"/>
                  <a:gd name="T54" fmla="*/ 1564 w 1903"/>
                  <a:gd name="T55" fmla="*/ 3450 h 3523"/>
                  <a:gd name="T56" fmla="*/ 1622 w 1903"/>
                  <a:gd name="T57" fmla="*/ 3435 h 3523"/>
                  <a:gd name="T58" fmla="*/ 1680 w 1903"/>
                  <a:gd name="T59" fmla="*/ 3419 h 3523"/>
                  <a:gd name="T60" fmla="*/ 1736 w 1903"/>
                  <a:gd name="T61" fmla="*/ 3402 h 3523"/>
                  <a:gd name="T62" fmla="*/ 1792 w 1903"/>
                  <a:gd name="T63" fmla="*/ 3383 h 3523"/>
                  <a:gd name="T64" fmla="*/ 1847 w 1903"/>
                  <a:gd name="T65" fmla="*/ 3363 h 3523"/>
                  <a:gd name="T66" fmla="*/ 1903 w 1903"/>
                  <a:gd name="T67" fmla="*/ 3340 h 3523"/>
                  <a:gd name="T68" fmla="*/ 1537 w 1903"/>
                  <a:gd name="T69" fmla="*/ 10 h 3523"/>
                  <a:gd name="T70" fmla="*/ 1520 w 1903"/>
                  <a:gd name="T71" fmla="*/ 8 h 3523"/>
                  <a:gd name="T72" fmla="*/ 1503 w 1903"/>
                  <a:gd name="T73" fmla="*/ 6 h 3523"/>
                  <a:gd name="T74" fmla="*/ 1487 w 1903"/>
                  <a:gd name="T75" fmla="*/ 4 h 3523"/>
                  <a:gd name="T76" fmla="*/ 1471 w 1903"/>
                  <a:gd name="T77" fmla="*/ 0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903" h="3523">
                    <a:moveTo>
                      <a:pt x="1471" y="0"/>
                    </a:moveTo>
                    <a:lnTo>
                      <a:pt x="0" y="3334"/>
                    </a:lnTo>
                    <a:lnTo>
                      <a:pt x="56" y="3357"/>
                    </a:lnTo>
                    <a:lnTo>
                      <a:pt x="112" y="3377"/>
                    </a:lnTo>
                    <a:lnTo>
                      <a:pt x="169" y="3397"/>
                    </a:lnTo>
                    <a:lnTo>
                      <a:pt x="227" y="3415"/>
                    </a:lnTo>
                    <a:lnTo>
                      <a:pt x="286" y="3432"/>
                    </a:lnTo>
                    <a:lnTo>
                      <a:pt x="344" y="3447"/>
                    </a:lnTo>
                    <a:lnTo>
                      <a:pt x="403" y="3461"/>
                    </a:lnTo>
                    <a:lnTo>
                      <a:pt x="464" y="3474"/>
                    </a:lnTo>
                    <a:lnTo>
                      <a:pt x="524" y="3485"/>
                    </a:lnTo>
                    <a:lnTo>
                      <a:pt x="585" y="3495"/>
                    </a:lnTo>
                    <a:lnTo>
                      <a:pt x="646" y="3504"/>
                    </a:lnTo>
                    <a:lnTo>
                      <a:pt x="709" y="3511"/>
                    </a:lnTo>
                    <a:lnTo>
                      <a:pt x="771" y="3516"/>
                    </a:lnTo>
                    <a:lnTo>
                      <a:pt x="834" y="3520"/>
                    </a:lnTo>
                    <a:lnTo>
                      <a:pt x="897" y="3522"/>
                    </a:lnTo>
                    <a:lnTo>
                      <a:pt x="962" y="3523"/>
                    </a:lnTo>
                    <a:lnTo>
                      <a:pt x="1024" y="3522"/>
                    </a:lnTo>
                    <a:lnTo>
                      <a:pt x="1085" y="3520"/>
                    </a:lnTo>
                    <a:lnTo>
                      <a:pt x="1146" y="3516"/>
                    </a:lnTo>
                    <a:lnTo>
                      <a:pt x="1208" y="3511"/>
                    </a:lnTo>
                    <a:lnTo>
                      <a:pt x="1268" y="3504"/>
                    </a:lnTo>
                    <a:lnTo>
                      <a:pt x="1328" y="3496"/>
                    </a:lnTo>
                    <a:lnTo>
                      <a:pt x="1388" y="3487"/>
                    </a:lnTo>
                    <a:lnTo>
                      <a:pt x="1448" y="3476"/>
                    </a:lnTo>
                    <a:lnTo>
                      <a:pt x="1506" y="3464"/>
                    </a:lnTo>
                    <a:lnTo>
                      <a:pt x="1564" y="3450"/>
                    </a:lnTo>
                    <a:lnTo>
                      <a:pt x="1622" y="3435"/>
                    </a:lnTo>
                    <a:lnTo>
                      <a:pt x="1680" y="3419"/>
                    </a:lnTo>
                    <a:lnTo>
                      <a:pt x="1736" y="3402"/>
                    </a:lnTo>
                    <a:lnTo>
                      <a:pt x="1792" y="3383"/>
                    </a:lnTo>
                    <a:lnTo>
                      <a:pt x="1847" y="3363"/>
                    </a:lnTo>
                    <a:lnTo>
                      <a:pt x="1903" y="3340"/>
                    </a:lnTo>
                    <a:lnTo>
                      <a:pt x="1537" y="10"/>
                    </a:lnTo>
                    <a:lnTo>
                      <a:pt x="1520" y="8"/>
                    </a:lnTo>
                    <a:lnTo>
                      <a:pt x="1503" y="6"/>
                    </a:lnTo>
                    <a:lnTo>
                      <a:pt x="1487" y="4"/>
                    </a:lnTo>
                    <a:lnTo>
                      <a:pt x="147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12" name="Freeform 13"/>
              <p:cNvSpPr>
                <a:spLocks/>
              </p:cNvSpPr>
              <p:nvPr/>
            </p:nvSpPr>
            <p:spPr bwMode="auto">
              <a:xfrm>
                <a:off x="11136" y="313693"/>
                <a:ext cx="289552" cy="341522"/>
              </a:xfrm>
              <a:custGeom>
                <a:avLst/>
                <a:gdLst>
                  <a:gd name="T0" fmla="*/ 2765 w 2816"/>
                  <a:gd name="T1" fmla="*/ 0 h 3305"/>
                  <a:gd name="T2" fmla="*/ 0 w 2816"/>
                  <a:gd name="T3" fmla="*/ 1820 h 3305"/>
                  <a:gd name="T4" fmla="*/ 19 w 2816"/>
                  <a:gd name="T5" fmla="*/ 1879 h 3305"/>
                  <a:gd name="T6" fmla="*/ 39 w 2816"/>
                  <a:gd name="T7" fmla="*/ 1938 h 3305"/>
                  <a:gd name="T8" fmla="*/ 60 w 2816"/>
                  <a:gd name="T9" fmla="*/ 1996 h 3305"/>
                  <a:gd name="T10" fmla="*/ 83 w 2816"/>
                  <a:gd name="T11" fmla="*/ 2053 h 3305"/>
                  <a:gd name="T12" fmla="*/ 107 w 2816"/>
                  <a:gd name="T13" fmla="*/ 2109 h 3305"/>
                  <a:gd name="T14" fmla="*/ 132 w 2816"/>
                  <a:gd name="T15" fmla="*/ 2166 h 3305"/>
                  <a:gd name="T16" fmla="*/ 159 w 2816"/>
                  <a:gd name="T17" fmla="*/ 2221 h 3305"/>
                  <a:gd name="T18" fmla="*/ 186 w 2816"/>
                  <a:gd name="T19" fmla="*/ 2276 h 3305"/>
                  <a:gd name="T20" fmla="*/ 215 w 2816"/>
                  <a:gd name="T21" fmla="*/ 2329 h 3305"/>
                  <a:gd name="T22" fmla="*/ 246 w 2816"/>
                  <a:gd name="T23" fmla="*/ 2382 h 3305"/>
                  <a:gd name="T24" fmla="*/ 278 w 2816"/>
                  <a:gd name="T25" fmla="*/ 2434 h 3305"/>
                  <a:gd name="T26" fmla="*/ 311 w 2816"/>
                  <a:gd name="T27" fmla="*/ 2486 h 3305"/>
                  <a:gd name="T28" fmla="*/ 345 w 2816"/>
                  <a:gd name="T29" fmla="*/ 2536 h 3305"/>
                  <a:gd name="T30" fmla="*/ 380 w 2816"/>
                  <a:gd name="T31" fmla="*/ 2586 h 3305"/>
                  <a:gd name="T32" fmla="*/ 417 w 2816"/>
                  <a:gd name="T33" fmla="*/ 2634 h 3305"/>
                  <a:gd name="T34" fmla="*/ 454 w 2816"/>
                  <a:gd name="T35" fmla="*/ 2682 h 3305"/>
                  <a:gd name="T36" fmla="*/ 494 w 2816"/>
                  <a:gd name="T37" fmla="*/ 2728 h 3305"/>
                  <a:gd name="T38" fmla="*/ 533 w 2816"/>
                  <a:gd name="T39" fmla="*/ 2774 h 3305"/>
                  <a:gd name="T40" fmla="*/ 574 w 2816"/>
                  <a:gd name="T41" fmla="*/ 2820 h 3305"/>
                  <a:gd name="T42" fmla="*/ 616 w 2816"/>
                  <a:gd name="T43" fmla="*/ 2864 h 3305"/>
                  <a:gd name="T44" fmla="*/ 658 w 2816"/>
                  <a:gd name="T45" fmla="*/ 2906 h 3305"/>
                  <a:gd name="T46" fmla="*/ 702 w 2816"/>
                  <a:gd name="T47" fmla="*/ 2948 h 3305"/>
                  <a:gd name="T48" fmla="*/ 748 w 2816"/>
                  <a:gd name="T49" fmla="*/ 2989 h 3305"/>
                  <a:gd name="T50" fmla="*/ 794 w 2816"/>
                  <a:gd name="T51" fmla="*/ 3028 h 3305"/>
                  <a:gd name="T52" fmla="*/ 840 w 2816"/>
                  <a:gd name="T53" fmla="*/ 3067 h 3305"/>
                  <a:gd name="T54" fmla="*/ 888 w 2816"/>
                  <a:gd name="T55" fmla="*/ 3104 h 3305"/>
                  <a:gd name="T56" fmla="*/ 936 w 2816"/>
                  <a:gd name="T57" fmla="*/ 3141 h 3305"/>
                  <a:gd name="T58" fmla="*/ 987 w 2816"/>
                  <a:gd name="T59" fmla="*/ 3176 h 3305"/>
                  <a:gd name="T60" fmla="*/ 1037 w 2816"/>
                  <a:gd name="T61" fmla="*/ 3210 h 3305"/>
                  <a:gd name="T62" fmla="*/ 1088 w 2816"/>
                  <a:gd name="T63" fmla="*/ 3243 h 3305"/>
                  <a:gd name="T64" fmla="*/ 1140 w 2816"/>
                  <a:gd name="T65" fmla="*/ 3274 h 3305"/>
                  <a:gd name="T66" fmla="*/ 1193 w 2816"/>
                  <a:gd name="T67" fmla="*/ 3305 h 3305"/>
                  <a:gd name="T68" fmla="*/ 2816 w 2816"/>
                  <a:gd name="T69" fmla="*/ 46 h 3305"/>
                  <a:gd name="T70" fmla="*/ 2802 w 2816"/>
                  <a:gd name="T71" fmla="*/ 35 h 3305"/>
                  <a:gd name="T72" fmla="*/ 2789 w 2816"/>
                  <a:gd name="T73" fmla="*/ 24 h 3305"/>
                  <a:gd name="T74" fmla="*/ 2777 w 2816"/>
                  <a:gd name="T75" fmla="*/ 12 h 3305"/>
                  <a:gd name="T76" fmla="*/ 2765 w 2816"/>
                  <a:gd name="T77" fmla="*/ 0 h 3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16" h="3305">
                    <a:moveTo>
                      <a:pt x="2765" y="0"/>
                    </a:moveTo>
                    <a:lnTo>
                      <a:pt x="0" y="1820"/>
                    </a:lnTo>
                    <a:lnTo>
                      <a:pt x="19" y="1879"/>
                    </a:lnTo>
                    <a:lnTo>
                      <a:pt x="39" y="1938"/>
                    </a:lnTo>
                    <a:lnTo>
                      <a:pt x="60" y="1996"/>
                    </a:lnTo>
                    <a:lnTo>
                      <a:pt x="83" y="2053"/>
                    </a:lnTo>
                    <a:lnTo>
                      <a:pt x="107" y="2109"/>
                    </a:lnTo>
                    <a:lnTo>
                      <a:pt x="132" y="2166"/>
                    </a:lnTo>
                    <a:lnTo>
                      <a:pt x="159" y="2221"/>
                    </a:lnTo>
                    <a:lnTo>
                      <a:pt x="186" y="2276"/>
                    </a:lnTo>
                    <a:lnTo>
                      <a:pt x="215" y="2329"/>
                    </a:lnTo>
                    <a:lnTo>
                      <a:pt x="246" y="2382"/>
                    </a:lnTo>
                    <a:lnTo>
                      <a:pt x="278" y="2434"/>
                    </a:lnTo>
                    <a:lnTo>
                      <a:pt x="311" y="2486"/>
                    </a:lnTo>
                    <a:lnTo>
                      <a:pt x="345" y="2536"/>
                    </a:lnTo>
                    <a:lnTo>
                      <a:pt x="380" y="2586"/>
                    </a:lnTo>
                    <a:lnTo>
                      <a:pt x="417" y="2634"/>
                    </a:lnTo>
                    <a:lnTo>
                      <a:pt x="454" y="2682"/>
                    </a:lnTo>
                    <a:lnTo>
                      <a:pt x="494" y="2728"/>
                    </a:lnTo>
                    <a:lnTo>
                      <a:pt x="533" y="2774"/>
                    </a:lnTo>
                    <a:lnTo>
                      <a:pt x="574" y="2820"/>
                    </a:lnTo>
                    <a:lnTo>
                      <a:pt x="616" y="2864"/>
                    </a:lnTo>
                    <a:lnTo>
                      <a:pt x="658" y="2906"/>
                    </a:lnTo>
                    <a:lnTo>
                      <a:pt x="702" y="2948"/>
                    </a:lnTo>
                    <a:lnTo>
                      <a:pt x="748" y="2989"/>
                    </a:lnTo>
                    <a:lnTo>
                      <a:pt x="794" y="3028"/>
                    </a:lnTo>
                    <a:lnTo>
                      <a:pt x="840" y="3067"/>
                    </a:lnTo>
                    <a:lnTo>
                      <a:pt x="888" y="3104"/>
                    </a:lnTo>
                    <a:lnTo>
                      <a:pt x="936" y="3141"/>
                    </a:lnTo>
                    <a:lnTo>
                      <a:pt x="987" y="3176"/>
                    </a:lnTo>
                    <a:lnTo>
                      <a:pt x="1037" y="3210"/>
                    </a:lnTo>
                    <a:lnTo>
                      <a:pt x="1088" y="3243"/>
                    </a:lnTo>
                    <a:lnTo>
                      <a:pt x="1140" y="3274"/>
                    </a:lnTo>
                    <a:lnTo>
                      <a:pt x="1193" y="3305"/>
                    </a:lnTo>
                    <a:lnTo>
                      <a:pt x="2816" y="46"/>
                    </a:lnTo>
                    <a:lnTo>
                      <a:pt x="2802" y="35"/>
                    </a:lnTo>
                    <a:lnTo>
                      <a:pt x="2789" y="24"/>
                    </a:lnTo>
                    <a:lnTo>
                      <a:pt x="2777" y="12"/>
                    </a:lnTo>
                    <a:lnTo>
                      <a:pt x="276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13" name="Freeform 14"/>
              <p:cNvSpPr>
                <a:spLocks/>
              </p:cNvSpPr>
              <p:nvPr/>
            </p:nvSpPr>
            <p:spPr bwMode="auto">
              <a:xfrm>
                <a:off x="332860" y="319881"/>
                <a:ext cx="176948" cy="335336"/>
              </a:xfrm>
              <a:custGeom>
                <a:avLst/>
                <a:gdLst>
                  <a:gd name="T0" fmla="*/ 0 w 1719"/>
                  <a:gd name="T1" fmla="*/ 38 h 3256"/>
                  <a:gd name="T2" fmla="*/ 517 w 1719"/>
                  <a:gd name="T3" fmla="*/ 3256 h 3256"/>
                  <a:gd name="T4" fmla="*/ 571 w 1719"/>
                  <a:gd name="T5" fmla="*/ 3226 h 3256"/>
                  <a:gd name="T6" fmla="*/ 623 w 1719"/>
                  <a:gd name="T7" fmla="*/ 3194 h 3256"/>
                  <a:gd name="T8" fmla="*/ 676 w 1719"/>
                  <a:gd name="T9" fmla="*/ 3161 h 3256"/>
                  <a:gd name="T10" fmla="*/ 726 w 1719"/>
                  <a:gd name="T11" fmla="*/ 3127 h 3256"/>
                  <a:gd name="T12" fmla="*/ 776 w 1719"/>
                  <a:gd name="T13" fmla="*/ 3092 h 3256"/>
                  <a:gd name="T14" fmla="*/ 825 w 1719"/>
                  <a:gd name="T15" fmla="*/ 3054 h 3256"/>
                  <a:gd name="T16" fmla="*/ 873 w 1719"/>
                  <a:gd name="T17" fmla="*/ 3017 h 3256"/>
                  <a:gd name="T18" fmla="*/ 921 w 1719"/>
                  <a:gd name="T19" fmla="*/ 2978 h 3256"/>
                  <a:gd name="T20" fmla="*/ 967 w 1719"/>
                  <a:gd name="T21" fmla="*/ 2938 h 3256"/>
                  <a:gd name="T22" fmla="*/ 1013 w 1719"/>
                  <a:gd name="T23" fmla="*/ 2898 h 3256"/>
                  <a:gd name="T24" fmla="*/ 1057 w 1719"/>
                  <a:gd name="T25" fmla="*/ 2856 h 3256"/>
                  <a:gd name="T26" fmla="*/ 1100 w 1719"/>
                  <a:gd name="T27" fmla="*/ 2813 h 3256"/>
                  <a:gd name="T28" fmla="*/ 1142 w 1719"/>
                  <a:gd name="T29" fmla="*/ 2769 h 3256"/>
                  <a:gd name="T30" fmla="*/ 1184 w 1719"/>
                  <a:gd name="T31" fmla="*/ 2723 h 3256"/>
                  <a:gd name="T32" fmla="*/ 1224 w 1719"/>
                  <a:gd name="T33" fmla="*/ 2676 h 3256"/>
                  <a:gd name="T34" fmla="*/ 1263 w 1719"/>
                  <a:gd name="T35" fmla="*/ 2630 h 3256"/>
                  <a:gd name="T36" fmla="*/ 1300 w 1719"/>
                  <a:gd name="T37" fmla="*/ 2582 h 3256"/>
                  <a:gd name="T38" fmla="*/ 1337 w 1719"/>
                  <a:gd name="T39" fmla="*/ 2533 h 3256"/>
                  <a:gd name="T40" fmla="*/ 1372 w 1719"/>
                  <a:gd name="T41" fmla="*/ 2483 h 3256"/>
                  <a:gd name="T42" fmla="*/ 1408 w 1719"/>
                  <a:gd name="T43" fmla="*/ 2432 h 3256"/>
                  <a:gd name="T44" fmla="*/ 1441 w 1719"/>
                  <a:gd name="T45" fmla="*/ 2380 h 3256"/>
                  <a:gd name="T46" fmla="*/ 1472 w 1719"/>
                  <a:gd name="T47" fmla="*/ 2327 h 3256"/>
                  <a:gd name="T48" fmla="*/ 1503 w 1719"/>
                  <a:gd name="T49" fmla="*/ 2274 h 3256"/>
                  <a:gd name="T50" fmla="*/ 1532 w 1719"/>
                  <a:gd name="T51" fmla="*/ 2220 h 3256"/>
                  <a:gd name="T52" fmla="*/ 1560 w 1719"/>
                  <a:gd name="T53" fmla="*/ 2165 h 3256"/>
                  <a:gd name="T54" fmla="*/ 1587 w 1719"/>
                  <a:gd name="T55" fmla="*/ 2110 h 3256"/>
                  <a:gd name="T56" fmla="*/ 1612 w 1719"/>
                  <a:gd name="T57" fmla="*/ 2052 h 3256"/>
                  <a:gd name="T58" fmla="*/ 1637 w 1719"/>
                  <a:gd name="T59" fmla="*/ 1995 h 3256"/>
                  <a:gd name="T60" fmla="*/ 1659 w 1719"/>
                  <a:gd name="T61" fmla="*/ 1938 h 3256"/>
                  <a:gd name="T62" fmla="*/ 1681 w 1719"/>
                  <a:gd name="T63" fmla="*/ 1879 h 3256"/>
                  <a:gd name="T64" fmla="*/ 1700 w 1719"/>
                  <a:gd name="T65" fmla="*/ 1820 h 3256"/>
                  <a:gd name="T66" fmla="*/ 1719 w 1719"/>
                  <a:gd name="T67" fmla="*/ 1760 h 3256"/>
                  <a:gd name="T68" fmla="*/ 81 w 1719"/>
                  <a:gd name="T69" fmla="*/ 0 h 3256"/>
                  <a:gd name="T70" fmla="*/ 62 w 1719"/>
                  <a:gd name="T71" fmla="*/ 11 h 3256"/>
                  <a:gd name="T72" fmla="*/ 42 w 1719"/>
                  <a:gd name="T73" fmla="*/ 22 h 3256"/>
                  <a:gd name="T74" fmla="*/ 21 w 1719"/>
                  <a:gd name="T75" fmla="*/ 31 h 3256"/>
                  <a:gd name="T76" fmla="*/ 0 w 1719"/>
                  <a:gd name="T77" fmla="*/ 38 h 3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719" h="3256">
                    <a:moveTo>
                      <a:pt x="0" y="38"/>
                    </a:moveTo>
                    <a:lnTo>
                      <a:pt x="517" y="3256"/>
                    </a:lnTo>
                    <a:lnTo>
                      <a:pt x="571" y="3226"/>
                    </a:lnTo>
                    <a:lnTo>
                      <a:pt x="623" y="3194"/>
                    </a:lnTo>
                    <a:lnTo>
                      <a:pt x="676" y="3161"/>
                    </a:lnTo>
                    <a:lnTo>
                      <a:pt x="726" y="3127"/>
                    </a:lnTo>
                    <a:lnTo>
                      <a:pt x="776" y="3092"/>
                    </a:lnTo>
                    <a:lnTo>
                      <a:pt x="825" y="3054"/>
                    </a:lnTo>
                    <a:lnTo>
                      <a:pt x="873" y="3017"/>
                    </a:lnTo>
                    <a:lnTo>
                      <a:pt x="921" y="2978"/>
                    </a:lnTo>
                    <a:lnTo>
                      <a:pt x="967" y="2938"/>
                    </a:lnTo>
                    <a:lnTo>
                      <a:pt x="1013" y="2898"/>
                    </a:lnTo>
                    <a:lnTo>
                      <a:pt x="1057" y="2856"/>
                    </a:lnTo>
                    <a:lnTo>
                      <a:pt x="1100" y="2813"/>
                    </a:lnTo>
                    <a:lnTo>
                      <a:pt x="1142" y="2769"/>
                    </a:lnTo>
                    <a:lnTo>
                      <a:pt x="1184" y="2723"/>
                    </a:lnTo>
                    <a:lnTo>
                      <a:pt x="1224" y="2676"/>
                    </a:lnTo>
                    <a:lnTo>
                      <a:pt x="1263" y="2630"/>
                    </a:lnTo>
                    <a:lnTo>
                      <a:pt x="1300" y="2582"/>
                    </a:lnTo>
                    <a:lnTo>
                      <a:pt x="1337" y="2533"/>
                    </a:lnTo>
                    <a:lnTo>
                      <a:pt x="1372" y="2483"/>
                    </a:lnTo>
                    <a:lnTo>
                      <a:pt x="1408" y="2432"/>
                    </a:lnTo>
                    <a:lnTo>
                      <a:pt x="1441" y="2380"/>
                    </a:lnTo>
                    <a:lnTo>
                      <a:pt x="1472" y="2327"/>
                    </a:lnTo>
                    <a:lnTo>
                      <a:pt x="1503" y="2274"/>
                    </a:lnTo>
                    <a:lnTo>
                      <a:pt x="1532" y="2220"/>
                    </a:lnTo>
                    <a:lnTo>
                      <a:pt x="1560" y="2165"/>
                    </a:lnTo>
                    <a:lnTo>
                      <a:pt x="1587" y="2110"/>
                    </a:lnTo>
                    <a:lnTo>
                      <a:pt x="1612" y="2052"/>
                    </a:lnTo>
                    <a:lnTo>
                      <a:pt x="1637" y="1995"/>
                    </a:lnTo>
                    <a:lnTo>
                      <a:pt x="1659" y="1938"/>
                    </a:lnTo>
                    <a:lnTo>
                      <a:pt x="1681" y="1879"/>
                    </a:lnTo>
                    <a:lnTo>
                      <a:pt x="1700" y="1820"/>
                    </a:lnTo>
                    <a:lnTo>
                      <a:pt x="1719" y="1760"/>
                    </a:lnTo>
                    <a:lnTo>
                      <a:pt x="81" y="0"/>
                    </a:lnTo>
                    <a:lnTo>
                      <a:pt x="62" y="11"/>
                    </a:lnTo>
                    <a:lnTo>
                      <a:pt x="42" y="22"/>
                    </a:lnTo>
                    <a:lnTo>
                      <a:pt x="21" y="31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14" name="Freeform 15"/>
              <p:cNvSpPr>
                <a:spLocks/>
              </p:cNvSpPr>
              <p:nvPr/>
            </p:nvSpPr>
            <p:spPr bwMode="auto">
              <a:xfrm>
                <a:off x="66820" y="167680"/>
                <a:ext cx="232631" cy="112604"/>
              </a:xfrm>
              <a:custGeom>
                <a:avLst/>
                <a:gdLst>
                  <a:gd name="T0" fmla="*/ 2261 w 2261"/>
                  <a:gd name="T1" fmla="*/ 923 h 1092"/>
                  <a:gd name="T2" fmla="*/ 1733 w 2261"/>
                  <a:gd name="T3" fmla="*/ 0 h 1092"/>
                  <a:gd name="T4" fmla="*/ 1669 w 2261"/>
                  <a:gd name="T5" fmla="*/ 5 h 1092"/>
                  <a:gd name="T6" fmla="*/ 1605 w 2261"/>
                  <a:gd name="T7" fmla="*/ 11 h 1092"/>
                  <a:gd name="T8" fmla="*/ 1541 w 2261"/>
                  <a:gd name="T9" fmla="*/ 18 h 1092"/>
                  <a:gd name="T10" fmla="*/ 1479 w 2261"/>
                  <a:gd name="T11" fmla="*/ 27 h 1092"/>
                  <a:gd name="T12" fmla="*/ 1417 w 2261"/>
                  <a:gd name="T13" fmla="*/ 38 h 1092"/>
                  <a:gd name="T14" fmla="*/ 1354 w 2261"/>
                  <a:gd name="T15" fmla="*/ 50 h 1092"/>
                  <a:gd name="T16" fmla="*/ 1293 w 2261"/>
                  <a:gd name="T17" fmla="*/ 64 h 1092"/>
                  <a:gd name="T18" fmla="*/ 1233 w 2261"/>
                  <a:gd name="T19" fmla="*/ 79 h 1092"/>
                  <a:gd name="T20" fmla="*/ 1173 w 2261"/>
                  <a:gd name="T21" fmla="*/ 96 h 1092"/>
                  <a:gd name="T22" fmla="*/ 1113 w 2261"/>
                  <a:gd name="T23" fmla="*/ 114 h 1092"/>
                  <a:gd name="T24" fmla="*/ 1054 w 2261"/>
                  <a:gd name="T25" fmla="*/ 133 h 1092"/>
                  <a:gd name="T26" fmla="*/ 996 w 2261"/>
                  <a:gd name="T27" fmla="*/ 154 h 1092"/>
                  <a:gd name="T28" fmla="*/ 939 w 2261"/>
                  <a:gd name="T29" fmla="*/ 177 h 1092"/>
                  <a:gd name="T30" fmla="*/ 881 w 2261"/>
                  <a:gd name="T31" fmla="*/ 201 h 1092"/>
                  <a:gd name="T32" fmla="*/ 826 w 2261"/>
                  <a:gd name="T33" fmla="*/ 226 h 1092"/>
                  <a:gd name="T34" fmla="*/ 770 w 2261"/>
                  <a:gd name="T35" fmla="*/ 252 h 1092"/>
                  <a:gd name="T36" fmla="*/ 716 w 2261"/>
                  <a:gd name="T37" fmla="*/ 280 h 1092"/>
                  <a:gd name="T38" fmla="*/ 662 w 2261"/>
                  <a:gd name="T39" fmla="*/ 308 h 1092"/>
                  <a:gd name="T40" fmla="*/ 609 w 2261"/>
                  <a:gd name="T41" fmla="*/ 338 h 1092"/>
                  <a:gd name="T42" fmla="*/ 557 w 2261"/>
                  <a:gd name="T43" fmla="*/ 370 h 1092"/>
                  <a:gd name="T44" fmla="*/ 505 w 2261"/>
                  <a:gd name="T45" fmla="*/ 402 h 1092"/>
                  <a:gd name="T46" fmla="*/ 455 w 2261"/>
                  <a:gd name="T47" fmla="*/ 436 h 1092"/>
                  <a:gd name="T48" fmla="*/ 405 w 2261"/>
                  <a:gd name="T49" fmla="*/ 471 h 1092"/>
                  <a:gd name="T50" fmla="*/ 356 w 2261"/>
                  <a:gd name="T51" fmla="*/ 507 h 1092"/>
                  <a:gd name="T52" fmla="*/ 308 w 2261"/>
                  <a:gd name="T53" fmla="*/ 545 h 1092"/>
                  <a:gd name="T54" fmla="*/ 261 w 2261"/>
                  <a:gd name="T55" fmla="*/ 583 h 1092"/>
                  <a:gd name="T56" fmla="*/ 216 w 2261"/>
                  <a:gd name="T57" fmla="*/ 622 h 1092"/>
                  <a:gd name="T58" fmla="*/ 170 w 2261"/>
                  <a:gd name="T59" fmla="*/ 663 h 1092"/>
                  <a:gd name="T60" fmla="*/ 126 w 2261"/>
                  <a:gd name="T61" fmla="*/ 704 h 1092"/>
                  <a:gd name="T62" fmla="*/ 83 w 2261"/>
                  <a:gd name="T63" fmla="*/ 746 h 1092"/>
                  <a:gd name="T64" fmla="*/ 41 w 2261"/>
                  <a:gd name="T65" fmla="*/ 790 h 1092"/>
                  <a:gd name="T66" fmla="*/ 0 w 2261"/>
                  <a:gd name="T67" fmla="*/ 834 h 1092"/>
                  <a:gd name="T68" fmla="*/ 2148 w 2261"/>
                  <a:gd name="T69" fmla="*/ 1092 h 1092"/>
                  <a:gd name="T70" fmla="*/ 2152 w 2261"/>
                  <a:gd name="T71" fmla="*/ 1079 h 1092"/>
                  <a:gd name="T72" fmla="*/ 2157 w 2261"/>
                  <a:gd name="T73" fmla="*/ 1067 h 1092"/>
                  <a:gd name="T74" fmla="*/ 2162 w 2261"/>
                  <a:gd name="T75" fmla="*/ 1055 h 1092"/>
                  <a:gd name="T76" fmla="*/ 2167 w 2261"/>
                  <a:gd name="T77" fmla="*/ 1043 h 1092"/>
                  <a:gd name="T78" fmla="*/ 2179 w 2261"/>
                  <a:gd name="T79" fmla="*/ 1020 h 1092"/>
                  <a:gd name="T80" fmla="*/ 2192 w 2261"/>
                  <a:gd name="T81" fmla="*/ 998 h 1092"/>
                  <a:gd name="T82" fmla="*/ 2207 w 2261"/>
                  <a:gd name="T83" fmla="*/ 978 h 1092"/>
                  <a:gd name="T84" fmla="*/ 2223 w 2261"/>
                  <a:gd name="T85" fmla="*/ 958 h 1092"/>
                  <a:gd name="T86" fmla="*/ 2241 w 2261"/>
                  <a:gd name="T87" fmla="*/ 940 h 1092"/>
                  <a:gd name="T88" fmla="*/ 2261 w 2261"/>
                  <a:gd name="T89" fmla="*/ 923 h 10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261" h="1092">
                    <a:moveTo>
                      <a:pt x="2261" y="923"/>
                    </a:moveTo>
                    <a:lnTo>
                      <a:pt x="1733" y="0"/>
                    </a:lnTo>
                    <a:lnTo>
                      <a:pt x="1669" y="5"/>
                    </a:lnTo>
                    <a:lnTo>
                      <a:pt x="1605" y="11"/>
                    </a:lnTo>
                    <a:lnTo>
                      <a:pt x="1541" y="18"/>
                    </a:lnTo>
                    <a:lnTo>
                      <a:pt x="1479" y="27"/>
                    </a:lnTo>
                    <a:lnTo>
                      <a:pt x="1417" y="38"/>
                    </a:lnTo>
                    <a:lnTo>
                      <a:pt x="1354" y="50"/>
                    </a:lnTo>
                    <a:lnTo>
                      <a:pt x="1293" y="64"/>
                    </a:lnTo>
                    <a:lnTo>
                      <a:pt x="1233" y="79"/>
                    </a:lnTo>
                    <a:lnTo>
                      <a:pt x="1173" y="96"/>
                    </a:lnTo>
                    <a:lnTo>
                      <a:pt x="1113" y="114"/>
                    </a:lnTo>
                    <a:lnTo>
                      <a:pt x="1054" y="133"/>
                    </a:lnTo>
                    <a:lnTo>
                      <a:pt x="996" y="154"/>
                    </a:lnTo>
                    <a:lnTo>
                      <a:pt x="939" y="177"/>
                    </a:lnTo>
                    <a:lnTo>
                      <a:pt x="881" y="201"/>
                    </a:lnTo>
                    <a:lnTo>
                      <a:pt x="826" y="226"/>
                    </a:lnTo>
                    <a:lnTo>
                      <a:pt x="770" y="252"/>
                    </a:lnTo>
                    <a:lnTo>
                      <a:pt x="716" y="280"/>
                    </a:lnTo>
                    <a:lnTo>
                      <a:pt x="662" y="308"/>
                    </a:lnTo>
                    <a:lnTo>
                      <a:pt x="609" y="338"/>
                    </a:lnTo>
                    <a:lnTo>
                      <a:pt x="557" y="370"/>
                    </a:lnTo>
                    <a:lnTo>
                      <a:pt x="505" y="402"/>
                    </a:lnTo>
                    <a:lnTo>
                      <a:pt x="455" y="436"/>
                    </a:lnTo>
                    <a:lnTo>
                      <a:pt x="405" y="471"/>
                    </a:lnTo>
                    <a:lnTo>
                      <a:pt x="356" y="507"/>
                    </a:lnTo>
                    <a:lnTo>
                      <a:pt x="308" y="545"/>
                    </a:lnTo>
                    <a:lnTo>
                      <a:pt x="261" y="583"/>
                    </a:lnTo>
                    <a:lnTo>
                      <a:pt x="216" y="622"/>
                    </a:lnTo>
                    <a:lnTo>
                      <a:pt x="170" y="663"/>
                    </a:lnTo>
                    <a:lnTo>
                      <a:pt x="126" y="704"/>
                    </a:lnTo>
                    <a:lnTo>
                      <a:pt x="83" y="746"/>
                    </a:lnTo>
                    <a:lnTo>
                      <a:pt x="41" y="790"/>
                    </a:lnTo>
                    <a:lnTo>
                      <a:pt x="0" y="834"/>
                    </a:lnTo>
                    <a:lnTo>
                      <a:pt x="2148" y="1092"/>
                    </a:lnTo>
                    <a:lnTo>
                      <a:pt x="2152" y="1079"/>
                    </a:lnTo>
                    <a:lnTo>
                      <a:pt x="2157" y="1067"/>
                    </a:lnTo>
                    <a:lnTo>
                      <a:pt x="2162" y="1055"/>
                    </a:lnTo>
                    <a:lnTo>
                      <a:pt x="2167" y="1043"/>
                    </a:lnTo>
                    <a:lnTo>
                      <a:pt x="2179" y="1020"/>
                    </a:lnTo>
                    <a:lnTo>
                      <a:pt x="2192" y="998"/>
                    </a:lnTo>
                    <a:lnTo>
                      <a:pt x="2207" y="978"/>
                    </a:lnTo>
                    <a:lnTo>
                      <a:pt x="2223" y="958"/>
                    </a:lnTo>
                    <a:lnTo>
                      <a:pt x="2241" y="940"/>
                    </a:lnTo>
                    <a:lnTo>
                      <a:pt x="2261" y="9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15" name="Freeform 16"/>
              <p:cNvSpPr>
                <a:spLocks/>
              </p:cNvSpPr>
              <p:nvPr/>
            </p:nvSpPr>
            <p:spPr bwMode="auto">
              <a:xfrm>
                <a:off x="351422" y="277809"/>
                <a:ext cx="169523" cy="189323"/>
              </a:xfrm>
              <a:custGeom>
                <a:avLst/>
                <a:gdLst>
                  <a:gd name="T0" fmla="*/ 58 w 1648"/>
                  <a:gd name="T1" fmla="*/ 136 h 1845"/>
                  <a:gd name="T2" fmla="*/ 56 w 1648"/>
                  <a:gd name="T3" fmla="*/ 160 h 1845"/>
                  <a:gd name="T4" fmla="*/ 53 w 1648"/>
                  <a:gd name="T5" fmla="*/ 184 h 1845"/>
                  <a:gd name="T6" fmla="*/ 48 w 1648"/>
                  <a:gd name="T7" fmla="*/ 207 h 1845"/>
                  <a:gd name="T8" fmla="*/ 41 w 1648"/>
                  <a:gd name="T9" fmla="*/ 230 h 1845"/>
                  <a:gd name="T10" fmla="*/ 33 w 1648"/>
                  <a:gd name="T11" fmla="*/ 252 h 1845"/>
                  <a:gd name="T12" fmla="*/ 23 w 1648"/>
                  <a:gd name="T13" fmla="*/ 273 h 1845"/>
                  <a:gd name="T14" fmla="*/ 12 w 1648"/>
                  <a:gd name="T15" fmla="*/ 293 h 1845"/>
                  <a:gd name="T16" fmla="*/ 0 w 1648"/>
                  <a:gd name="T17" fmla="*/ 313 h 1845"/>
                  <a:gd name="T18" fmla="*/ 1617 w 1648"/>
                  <a:gd name="T19" fmla="*/ 1845 h 1845"/>
                  <a:gd name="T20" fmla="*/ 1624 w 1648"/>
                  <a:gd name="T21" fmla="*/ 1797 h 1845"/>
                  <a:gd name="T22" fmla="*/ 1630 w 1648"/>
                  <a:gd name="T23" fmla="*/ 1748 h 1845"/>
                  <a:gd name="T24" fmla="*/ 1635 w 1648"/>
                  <a:gd name="T25" fmla="*/ 1700 h 1845"/>
                  <a:gd name="T26" fmla="*/ 1640 w 1648"/>
                  <a:gd name="T27" fmla="*/ 1651 h 1845"/>
                  <a:gd name="T28" fmla="*/ 1643 w 1648"/>
                  <a:gd name="T29" fmla="*/ 1602 h 1845"/>
                  <a:gd name="T30" fmla="*/ 1646 w 1648"/>
                  <a:gd name="T31" fmla="*/ 1552 h 1845"/>
                  <a:gd name="T32" fmla="*/ 1647 w 1648"/>
                  <a:gd name="T33" fmla="*/ 1503 h 1845"/>
                  <a:gd name="T34" fmla="*/ 1648 w 1648"/>
                  <a:gd name="T35" fmla="*/ 1452 h 1845"/>
                  <a:gd name="T36" fmla="*/ 1647 w 1648"/>
                  <a:gd name="T37" fmla="*/ 1401 h 1845"/>
                  <a:gd name="T38" fmla="*/ 1646 w 1648"/>
                  <a:gd name="T39" fmla="*/ 1351 h 1845"/>
                  <a:gd name="T40" fmla="*/ 1643 w 1648"/>
                  <a:gd name="T41" fmla="*/ 1301 h 1845"/>
                  <a:gd name="T42" fmla="*/ 1640 w 1648"/>
                  <a:gd name="T43" fmla="*/ 1251 h 1845"/>
                  <a:gd name="T44" fmla="*/ 1635 w 1648"/>
                  <a:gd name="T45" fmla="*/ 1202 h 1845"/>
                  <a:gd name="T46" fmla="*/ 1630 w 1648"/>
                  <a:gd name="T47" fmla="*/ 1153 h 1845"/>
                  <a:gd name="T48" fmla="*/ 1624 w 1648"/>
                  <a:gd name="T49" fmla="*/ 1103 h 1845"/>
                  <a:gd name="T50" fmla="*/ 1616 w 1648"/>
                  <a:gd name="T51" fmla="*/ 1054 h 1845"/>
                  <a:gd name="T52" fmla="*/ 1608 w 1648"/>
                  <a:gd name="T53" fmla="*/ 1006 h 1845"/>
                  <a:gd name="T54" fmla="*/ 1599 w 1648"/>
                  <a:gd name="T55" fmla="*/ 958 h 1845"/>
                  <a:gd name="T56" fmla="*/ 1589 w 1648"/>
                  <a:gd name="T57" fmla="*/ 911 h 1845"/>
                  <a:gd name="T58" fmla="*/ 1578 w 1648"/>
                  <a:gd name="T59" fmla="*/ 863 h 1845"/>
                  <a:gd name="T60" fmla="*/ 1567 w 1648"/>
                  <a:gd name="T61" fmla="*/ 816 h 1845"/>
                  <a:gd name="T62" fmla="*/ 1554 w 1648"/>
                  <a:gd name="T63" fmla="*/ 769 h 1845"/>
                  <a:gd name="T64" fmla="*/ 1540 w 1648"/>
                  <a:gd name="T65" fmla="*/ 723 h 1845"/>
                  <a:gd name="T66" fmla="*/ 1526 w 1648"/>
                  <a:gd name="T67" fmla="*/ 677 h 1845"/>
                  <a:gd name="T68" fmla="*/ 1511 w 1648"/>
                  <a:gd name="T69" fmla="*/ 631 h 1845"/>
                  <a:gd name="T70" fmla="*/ 1495 w 1648"/>
                  <a:gd name="T71" fmla="*/ 586 h 1845"/>
                  <a:gd name="T72" fmla="*/ 1478 w 1648"/>
                  <a:gd name="T73" fmla="*/ 542 h 1845"/>
                  <a:gd name="T74" fmla="*/ 1460 w 1648"/>
                  <a:gd name="T75" fmla="*/ 497 h 1845"/>
                  <a:gd name="T76" fmla="*/ 1441 w 1648"/>
                  <a:gd name="T77" fmla="*/ 453 h 1845"/>
                  <a:gd name="T78" fmla="*/ 1421 w 1648"/>
                  <a:gd name="T79" fmla="*/ 409 h 1845"/>
                  <a:gd name="T80" fmla="*/ 1401 w 1648"/>
                  <a:gd name="T81" fmla="*/ 366 h 1845"/>
                  <a:gd name="T82" fmla="*/ 1381 w 1648"/>
                  <a:gd name="T83" fmla="*/ 324 h 1845"/>
                  <a:gd name="T84" fmla="*/ 1359 w 1648"/>
                  <a:gd name="T85" fmla="*/ 281 h 1845"/>
                  <a:gd name="T86" fmla="*/ 1337 w 1648"/>
                  <a:gd name="T87" fmla="*/ 240 h 1845"/>
                  <a:gd name="T88" fmla="*/ 1313 w 1648"/>
                  <a:gd name="T89" fmla="*/ 199 h 1845"/>
                  <a:gd name="T90" fmla="*/ 1289 w 1648"/>
                  <a:gd name="T91" fmla="*/ 158 h 1845"/>
                  <a:gd name="T92" fmla="*/ 1265 w 1648"/>
                  <a:gd name="T93" fmla="*/ 118 h 1845"/>
                  <a:gd name="T94" fmla="*/ 1240 w 1648"/>
                  <a:gd name="T95" fmla="*/ 77 h 1845"/>
                  <a:gd name="T96" fmla="*/ 1214 w 1648"/>
                  <a:gd name="T97" fmla="*/ 38 h 1845"/>
                  <a:gd name="T98" fmla="*/ 1186 w 1648"/>
                  <a:gd name="T99" fmla="*/ 0 h 1845"/>
                  <a:gd name="T100" fmla="*/ 58 w 1648"/>
                  <a:gd name="T101" fmla="*/ 136 h 1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48" h="1845">
                    <a:moveTo>
                      <a:pt x="58" y="136"/>
                    </a:moveTo>
                    <a:lnTo>
                      <a:pt x="56" y="160"/>
                    </a:lnTo>
                    <a:lnTo>
                      <a:pt x="53" y="184"/>
                    </a:lnTo>
                    <a:lnTo>
                      <a:pt x="48" y="207"/>
                    </a:lnTo>
                    <a:lnTo>
                      <a:pt x="41" y="230"/>
                    </a:lnTo>
                    <a:lnTo>
                      <a:pt x="33" y="252"/>
                    </a:lnTo>
                    <a:lnTo>
                      <a:pt x="23" y="273"/>
                    </a:lnTo>
                    <a:lnTo>
                      <a:pt x="12" y="293"/>
                    </a:lnTo>
                    <a:lnTo>
                      <a:pt x="0" y="313"/>
                    </a:lnTo>
                    <a:lnTo>
                      <a:pt x="1617" y="1845"/>
                    </a:lnTo>
                    <a:lnTo>
                      <a:pt x="1624" y="1797"/>
                    </a:lnTo>
                    <a:lnTo>
                      <a:pt x="1630" y="1748"/>
                    </a:lnTo>
                    <a:lnTo>
                      <a:pt x="1635" y="1700"/>
                    </a:lnTo>
                    <a:lnTo>
                      <a:pt x="1640" y="1651"/>
                    </a:lnTo>
                    <a:lnTo>
                      <a:pt x="1643" y="1602"/>
                    </a:lnTo>
                    <a:lnTo>
                      <a:pt x="1646" y="1552"/>
                    </a:lnTo>
                    <a:lnTo>
                      <a:pt x="1647" y="1503"/>
                    </a:lnTo>
                    <a:lnTo>
                      <a:pt x="1648" y="1452"/>
                    </a:lnTo>
                    <a:lnTo>
                      <a:pt x="1647" y="1401"/>
                    </a:lnTo>
                    <a:lnTo>
                      <a:pt x="1646" y="1351"/>
                    </a:lnTo>
                    <a:lnTo>
                      <a:pt x="1643" y="1301"/>
                    </a:lnTo>
                    <a:lnTo>
                      <a:pt x="1640" y="1251"/>
                    </a:lnTo>
                    <a:lnTo>
                      <a:pt x="1635" y="1202"/>
                    </a:lnTo>
                    <a:lnTo>
                      <a:pt x="1630" y="1153"/>
                    </a:lnTo>
                    <a:lnTo>
                      <a:pt x="1624" y="1103"/>
                    </a:lnTo>
                    <a:lnTo>
                      <a:pt x="1616" y="1054"/>
                    </a:lnTo>
                    <a:lnTo>
                      <a:pt x="1608" y="1006"/>
                    </a:lnTo>
                    <a:lnTo>
                      <a:pt x="1599" y="958"/>
                    </a:lnTo>
                    <a:lnTo>
                      <a:pt x="1589" y="911"/>
                    </a:lnTo>
                    <a:lnTo>
                      <a:pt x="1578" y="863"/>
                    </a:lnTo>
                    <a:lnTo>
                      <a:pt x="1567" y="816"/>
                    </a:lnTo>
                    <a:lnTo>
                      <a:pt x="1554" y="769"/>
                    </a:lnTo>
                    <a:lnTo>
                      <a:pt x="1540" y="723"/>
                    </a:lnTo>
                    <a:lnTo>
                      <a:pt x="1526" y="677"/>
                    </a:lnTo>
                    <a:lnTo>
                      <a:pt x="1511" y="631"/>
                    </a:lnTo>
                    <a:lnTo>
                      <a:pt x="1495" y="586"/>
                    </a:lnTo>
                    <a:lnTo>
                      <a:pt x="1478" y="542"/>
                    </a:lnTo>
                    <a:lnTo>
                      <a:pt x="1460" y="497"/>
                    </a:lnTo>
                    <a:lnTo>
                      <a:pt x="1441" y="453"/>
                    </a:lnTo>
                    <a:lnTo>
                      <a:pt x="1421" y="409"/>
                    </a:lnTo>
                    <a:lnTo>
                      <a:pt x="1401" y="366"/>
                    </a:lnTo>
                    <a:lnTo>
                      <a:pt x="1381" y="324"/>
                    </a:lnTo>
                    <a:lnTo>
                      <a:pt x="1359" y="281"/>
                    </a:lnTo>
                    <a:lnTo>
                      <a:pt x="1337" y="240"/>
                    </a:lnTo>
                    <a:lnTo>
                      <a:pt x="1313" y="199"/>
                    </a:lnTo>
                    <a:lnTo>
                      <a:pt x="1289" y="158"/>
                    </a:lnTo>
                    <a:lnTo>
                      <a:pt x="1265" y="118"/>
                    </a:lnTo>
                    <a:lnTo>
                      <a:pt x="1240" y="77"/>
                    </a:lnTo>
                    <a:lnTo>
                      <a:pt x="1214" y="38"/>
                    </a:lnTo>
                    <a:lnTo>
                      <a:pt x="1186" y="0"/>
                    </a:lnTo>
                    <a:lnTo>
                      <a:pt x="58" y="1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16" name="Freeform 17"/>
              <p:cNvSpPr>
                <a:spLocks/>
              </p:cNvSpPr>
              <p:nvPr/>
            </p:nvSpPr>
            <p:spPr bwMode="auto">
              <a:xfrm>
                <a:off x="0" y="281521"/>
                <a:ext cx="288314" cy="188085"/>
              </a:xfrm>
              <a:custGeom>
                <a:avLst/>
                <a:gdLst>
                  <a:gd name="T0" fmla="*/ 2782 w 2801"/>
                  <a:gd name="T1" fmla="*/ 123 h 1832"/>
                  <a:gd name="T2" fmla="*/ 436 w 2801"/>
                  <a:gd name="T3" fmla="*/ 0 h 1832"/>
                  <a:gd name="T4" fmla="*/ 410 w 2801"/>
                  <a:gd name="T5" fmla="*/ 38 h 1832"/>
                  <a:gd name="T6" fmla="*/ 386 w 2801"/>
                  <a:gd name="T7" fmla="*/ 77 h 1832"/>
                  <a:gd name="T8" fmla="*/ 362 w 2801"/>
                  <a:gd name="T9" fmla="*/ 116 h 1832"/>
                  <a:gd name="T10" fmla="*/ 337 w 2801"/>
                  <a:gd name="T11" fmla="*/ 155 h 1832"/>
                  <a:gd name="T12" fmla="*/ 315 w 2801"/>
                  <a:gd name="T13" fmla="*/ 195 h 1832"/>
                  <a:gd name="T14" fmla="*/ 293 w 2801"/>
                  <a:gd name="T15" fmla="*/ 236 h 1832"/>
                  <a:gd name="T16" fmla="*/ 272 w 2801"/>
                  <a:gd name="T17" fmla="*/ 276 h 1832"/>
                  <a:gd name="T18" fmla="*/ 251 w 2801"/>
                  <a:gd name="T19" fmla="*/ 317 h 1832"/>
                  <a:gd name="T20" fmla="*/ 232 w 2801"/>
                  <a:gd name="T21" fmla="*/ 359 h 1832"/>
                  <a:gd name="T22" fmla="*/ 213 w 2801"/>
                  <a:gd name="T23" fmla="*/ 401 h 1832"/>
                  <a:gd name="T24" fmla="*/ 195 w 2801"/>
                  <a:gd name="T25" fmla="*/ 444 h 1832"/>
                  <a:gd name="T26" fmla="*/ 177 w 2801"/>
                  <a:gd name="T27" fmla="*/ 487 h 1832"/>
                  <a:gd name="T28" fmla="*/ 160 w 2801"/>
                  <a:gd name="T29" fmla="*/ 530 h 1832"/>
                  <a:gd name="T30" fmla="*/ 145 w 2801"/>
                  <a:gd name="T31" fmla="*/ 574 h 1832"/>
                  <a:gd name="T32" fmla="*/ 129 w 2801"/>
                  <a:gd name="T33" fmla="*/ 618 h 1832"/>
                  <a:gd name="T34" fmla="*/ 114 w 2801"/>
                  <a:gd name="T35" fmla="*/ 662 h 1832"/>
                  <a:gd name="T36" fmla="*/ 101 w 2801"/>
                  <a:gd name="T37" fmla="*/ 707 h 1832"/>
                  <a:gd name="T38" fmla="*/ 88 w 2801"/>
                  <a:gd name="T39" fmla="*/ 753 h 1832"/>
                  <a:gd name="T40" fmla="*/ 76 w 2801"/>
                  <a:gd name="T41" fmla="*/ 798 h 1832"/>
                  <a:gd name="T42" fmla="*/ 65 w 2801"/>
                  <a:gd name="T43" fmla="*/ 844 h 1832"/>
                  <a:gd name="T44" fmla="*/ 55 w 2801"/>
                  <a:gd name="T45" fmla="*/ 890 h 1832"/>
                  <a:gd name="T46" fmla="*/ 45 w 2801"/>
                  <a:gd name="T47" fmla="*/ 936 h 1832"/>
                  <a:gd name="T48" fmla="*/ 37 w 2801"/>
                  <a:gd name="T49" fmla="*/ 983 h 1832"/>
                  <a:gd name="T50" fmla="*/ 29 w 2801"/>
                  <a:gd name="T51" fmla="*/ 1030 h 1832"/>
                  <a:gd name="T52" fmla="*/ 22 w 2801"/>
                  <a:gd name="T53" fmla="*/ 1077 h 1832"/>
                  <a:gd name="T54" fmla="*/ 17 w 2801"/>
                  <a:gd name="T55" fmla="*/ 1126 h 1832"/>
                  <a:gd name="T56" fmla="*/ 12 w 2801"/>
                  <a:gd name="T57" fmla="*/ 1173 h 1832"/>
                  <a:gd name="T58" fmla="*/ 7 w 2801"/>
                  <a:gd name="T59" fmla="*/ 1221 h 1832"/>
                  <a:gd name="T60" fmla="*/ 4 w 2801"/>
                  <a:gd name="T61" fmla="*/ 1270 h 1832"/>
                  <a:gd name="T62" fmla="*/ 2 w 2801"/>
                  <a:gd name="T63" fmla="*/ 1318 h 1832"/>
                  <a:gd name="T64" fmla="*/ 0 w 2801"/>
                  <a:gd name="T65" fmla="*/ 1367 h 1832"/>
                  <a:gd name="T66" fmla="*/ 0 w 2801"/>
                  <a:gd name="T67" fmla="*/ 1416 h 1832"/>
                  <a:gd name="T68" fmla="*/ 1 w 2801"/>
                  <a:gd name="T69" fmla="*/ 1470 h 1832"/>
                  <a:gd name="T70" fmla="*/ 2 w 2801"/>
                  <a:gd name="T71" fmla="*/ 1522 h 1832"/>
                  <a:gd name="T72" fmla="*/ 5 w 2801"/>
                  <a:gd name="T73" fmla="*/ 1575 h 1832"/>
                  <a:gd name="T74" fmla="*/ 9 w 2801"/>
                  <a:gd name="T75" fmla="*/ 1627 h 1832"/>
                  <a:gd name="T76" fmla="*/ 14 w 2801"/>
                  <a:gd name="T77" fmla="*/ 1678 h 1832"/>
                  <a:gd name="T78" fmla="*/ 20 w 2801"/>
                  <a:gd name="T79" fmla="*/ 1730 h 1832"/>
                  <a:gd name="T80" fmla="*/ 27 w 2801"/>
                  <a:gd name="T81" fmla="*/ 1782 h 1832"/>
                  <a:gd name="T82" fmla="*/ 35 w 2801"/>
                  <a:gd name="T83" fmla="*/ 1832 h 1832"/>
                  <a:gd name="T84" fmla="*/ 2801 w 2801"/>
                  <a:gd name="T85" fmla="*/ 208 h 1832"/>
                  <a:gd name="T86" fmla="*/ 2794 w 2801"/>
                  <a:gd name="T87" fmla="*/ 188 h 1832"/>
                  <a:gd name="T88" fmla="*/ 2789 w 2801"/>
                  <a:gd name="T89" fmla="*/ 167 h 1832"/>
                  <a:gd name="T90" fmla="*/ 2785 w 2801"/>
                  <a:gd name="T91" fmla="*/ 145 h 1832"/>
                  <a:gd name="T92" fmla="*/ 2782 w 2801"/>
                  <a:gd name="T93" fmla="*/ 123 h 1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801" h="1832">
                    <a:moveTo>
                      <a:pt x="2782" y="123"/>
                    </a:moveTo>
                    <a:lnTo>
                      <a:pt x="436" y="0"/>
                    </a:lnTo>
                    <a:lnTo>
                      <a:pt x="410" y="38"/>
                    </a:lnTo>
                    <a:lnTo>
                      <a:pt x="386" y="77"/>
                    </a:lnTo>
                    <a:lnTo>
                      <a:pt x="362" y="116"/>
                    </a:lnTo>
                    <a:lnTo>
                      <a:pt x="337" y="155"/>
                    </a:lnTo>
                    <a:lnTo>
                      <a:pt x="315" y="195"/>
                    </a:lnTo>
                    <a:lnTo>
                      <a:pt x="293" y="236"/>
                    </a:lnTo>
                    <a:lnTo>
                      <a:pt x="272" y="276"/>
                    </a:lnTo>
                    <a:lnTo>
                      <a:pt x="251" y="317"/>
                    </a:lnTo>
                    <a:lnTo>
                      <a:pt x="232" y="359"/>
                    </a:lnTo>
                    <a:lnTo>
                      <a:pt x="213" y="401"/>
                    </a:lnTo>
                    <a:lnTo>
                      <a:pt x="195" y="444"/>
                    </a:lnTo>
                    <a:lnTo>
                      <a:pt x="177" y="487"/>
                    </a:lnTo>
                    <a:lnTo>
                      <a:pt x="160" y="530"/>
                    </a:lnTo>
                    <a:lnTo>
                      <a:pt x="145" y="574"/>
                    </a:lnTo>
                    <a:lnTo>
                      <a:pt x="129" y="618"/>
                    </a:lnTo>
                    <a:lnTo>
                      <a:pt x="114" y="662"/>
                    </a:lnTo>
                    <a:lnTo>
                      <a:pt x="101" y="707"/>
                    </a:lnTo>
                    <a:lnTo>
                      <a:pt x="88" y="753"/>
                    </a:lnTo>
                    <a:lnTo>
                      <a:pt x="76" y="798"/>
                    </a:lnTo>
                    <a:lnTo>
                      <a:pt x="65" y="844"/>
                    </a:lnTo>
                    <a:lnTo>
                      <a:pt x="55" y="890"/>
                    </a:lnTo>
                    <a:lnTo>
                      <a:pt x="45" y="936"/>
                    </a:lnTo>
                    <a:lnTo>
                      <a:pt x="37" y="983"/>
                    </a:lnTo>
                    <a:lnTo>
                      <a:pt x="29" y="1030"/>
                    </a:lnTo>
                    <a:lnTo>
                      <a:pt x="22" y="1077"/>
                    </a:lnTo>
                    <a:lnTo>
                      <a:pt x="17" y="1126"/>
                    </a:lnTo>
                    <a:lnTo>
                      <a:pt x="12" y="1173"/>
                    </a:lnTo>
                    <a:lnTo>
                      <a:pt x="7" y="1221"/>
                    </a:lnTo>
                    <a:lnTo>
                      <a:pt x="4" y="1270"/>
                    </a:lnTo>
                    <a:lnTo>
                      <a:pt x="2" y="1318"/>
                    </a:lnTo>
                    <a:lnTo>
                      <a:pt x="0" y="1367"/>
                    </a:lnTo>
                    <a:lnTo>
                      <a:pt x="0" y="1416"/>
                    </a:lnTo>
                    <a:lnTo>
                      <a:pt x="1" y="1470"/>
                    </a:lnTo>
                    <a:lnTo>
                      <a:pt x="2" y="1522"/>
                    </a:lnTo>
                    <a:lnTo>
                      <a:pt x="5" y="1575"/>
                    </a:lnTo>
                    <a:lnTo>
                      <a:pt x="9" y="1627"/>
                    </a:lnTo>
                    <a:lnTo>
                      <a:pt x="14" y="1678"/>
                    </a:lnTo>
                    <a:lnTo>
                      <a:pt x="20" y="1730"/>
                    </a:lnTo>
                    <a:lnTo>
                      <a:pt x="27" y="1782"/>
                    </a:lnTo>
                    <a:lnTo>
                      <a:pt x="35" y="1832"/>
                    </a:lnTo>
                    <a:lnTo>
                      <a:pt x="2801" y="208"/>
                    </a:lnTo>
                    <a:lnTo>
                      <a:pt x="2794" y="188"/>
                    </a:lnTo>
                    <a:lnTo>
                      <a:pt x="2789" y="167"/>
                    </a:lnTo>
                    <a:lnTo>
                      <a:pt x="2785" y="145"/>
                    </a:lnTo>
                    <a:lnTo>
                      <a:pt x="2782" y="1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17" name="Freeform 18"/>
              <p:cNvSpPr>
                <a:spLocks/>
              </p:cNvSpPr>
              <p:nvPr/>
            </p:nvSpPr>
            <p:spPr bwMode="auto">
              <a:xfrm>
                <a:off x="277178" y="167680"/>
                <a:ext cx="176948" cy="108891"/>
              </a:xfrm>
              <a:custGeom>
                <a:avLst/>
                <a:gdLst>
                  <a:gd name="T0" fmla="*/ 442 w 1714"/>
                  <a:gd name="T1" fmla="*/ 845 h 1055"/>
                  <a:gd name="T2" fmla="*/ 467 w 1714"/>
                  <a:gd name="T3" fmla="*/ 846 h 1055"/>
                  <a:gd name="T4" fmla="*/ 493 w 1714"/>
                  <a:gd name="T5" fmla="*/ 850 h 1055"/>
                  <a:gd name="T6" fmla="*/ 518 w 1714"/>
                  <a:gd name="T7" fmla="*/ 855 h 1055"/>
                  <a:gd name="T8" fmla="*/ 542 w 1714"/>
                  <a:gd name="T9" fmla="*/ 862 h 1055"/>
                  <a:gd name="T10" fmla="*/ 565 w 1714"/>
                  <a:gd name="T11" fmla="*/ 871 h 1055"/>
                  <a:gd name="T12" fmla="*/ 587 w 1714"/>
                  <a:gd name="T13" fmla="*/ 881 h 1055"/>
                  <a:gd name="T14" fmla="*/ 608 w 1714"/>
                  <a:gd name="T15" fmla="*/ 893 h 1055"/>
                  <a:gd name="T16" fmla="*/ 629 w 1714"/>
                  <a:gd name="T17" fmla="*/ 906 h 1055"/>
                  <a:gd name="T18" fmla="*/ 648 w 1714"/>
                  <a:gd name="T19" fmla="*/ 920 h 1055"/>
                  <a:gd name="T20" fmla="*/ 666 w 1714"/>
                  <a:gd name="T21" fmla="*/ 936 h 1055"/>
                  <a:gd name="T22" fmla="*/ 684 w 1714"/>
                  <a:gd name="T23" fmla="*/ 953 h 1055"/>
                  <a:gd name="T24" fmla="*/ 699 w 1714"/>
                  <a:gd name="T25" fmla="*/ 971 h 1055"/>
                  <a:gd name="T26" fmla="*/ 714 w 1714"/>
                  <a:gd name="T27" fmla="*/ 991 h 1055"/>
                  <a:gd name="T28" fmla="*/ 727 w 1714"/>
                  <a:gd name="T29" fmla="*/ 1011 h 1055"/>
                  <a:gd name="T30" fmla="*/ 739 w 1714"/>
                  <a:gd name="T31" fmla="*/ 1032 h 1055"/>
                  <a:gd name="T32" fmla="*/ 750 w 1714"/>
                  <a:gd name="T33" fmla="*/ 1055 h 1055"/>
                  <a:gd name="T34" fmla="*/ 1714 w 1714"/>
                  <a:gd name="T35" fmla="*/ 825 h 1055"/>
                  <a:gd name="T36" fmla="*/ 1672 w 1714"/>
                  <a:gd name="T37" fmla="*/ 781 h 1055"/>
                  <a:gd name="T38" fmla="*/ 1631 w 1714"/>
                  <a:gd name="T39" fmla="*/ 739 h 1055"/>
                  <a:gd name="T40" fmla="*/ 1588 w 1714"/>
                  <a:gd name="T41" fmla="*/ 697 h 1055"/>
                  <a:gd name="T42" fmla="*/ 1545 w 1714"/>
                  <a:gd name="T43" fmla="*/ 656 h 1055"/>
                  <a:gd name="T44" fmla="*/ 1500 w 1714"/>
                  <a:gd name="T45" fmla="*/ 616 h 1055"/>
                  <a:gd name="T46" fmla="*/ 1455 w 1714"/>
                  <a:gd name="T47" fmla="*/ 577 h 1055"/>
                  <a:gd name="T48" fmla="*/ 1408 w 1714"/>
                  <a:gd name="T49" fmla="*/ 540 h 1055"/>
                  <a:gd name="T50" fmla="*/ 1360 w 1714"/>
                  <a:gd name="T51" fmla="*/ 502 h 1055"/>
                  <a:gd name="T52" fmla="*/ 1312 w 1714"/>
                  <a:gd name="T53" fmla="*/ 467 h 1055"/>
                  <a:gd name="T54" fmla="*/ 1263 w 1714"/>
                  <a:gd name="T55" fmla="*/ 432 h 1055"/>
                  <a:gd name="T56" fmla="*/ 1213 w 1714"/>
                  <a:gd name="T57" fmla="*/ 399 h 1055"/>
                  <a:gd name="T58" fmla="*/ 1162 w 1714"/>
                  <a:gd name="T59" fmla="*/ 367 h 1055"/>
                  <a:gd name="T60" fmla="*/ 1110 w 1714"/>
                  <a:gd name="T61" fmla="*/ 336 h 1055"/>
                  <a:gd name="T62" fmla="*/ 1058 w 1714"/>
                  <a:gd name="T63" fmla="*/ 307 h 1055"/>
                  <a:gd name="T64" fmla="*/ 1005 w 1714"/>
                  <a:gd name="T65" fmla="*/ 278 h 1055"/>
                  <a:gd name="T66" fmla="*/ 950 w 1714"/>
                  <a:gd name="T67" fmla="*/ 251 h 1055"/>
                  <a:gd name="T68" fmla="*/ 896 w 1714"/>
                  <a:gd name="T69" fmla="*/ 225 h 1055"/>
                  <a:gd name="T70" fmla="*/ 841 w 1714"/>
                  <a:gd name="T71" fmla="*/ 201 h 1055"/>
                  <a:gd name="T72" fmla="*/ 785 w 1714"/>
                  <a:gd name="T73" fmla="*/ 177 h 1055"/>
                  <a:gd name="T74" fmla="*/ 727 w 1714"/>
                  <a:gd name="T75" fmla="*/ 154 h 1055"/>
                  <a:gd name="T76" fmla="*/ 670 w 1714"/>
                  <a:gd name="T77" fmla="*/ 134 h 1055"/>
                  <a:gd name="T78" fmla="*/ 612 w 1714"/>
                  <a:gd name="T79" fmla="*/ 114 h 1055"/>
                  <a:gd name="T80" fmla="*/ 554 w 1714"/>
                  <a:gd name="T81" fmla="*/ 96 h 1055"/>
                  <a:gd name="T82" fmla="*/ 494 w 1714"/>
                  <a:gd name="T83" fmla="*/ 80 h 1055"/>
                  <a:gd name="T84" fmla="*/ 434 w 1714"/>
                  <a:gd name="T85" fmla="*/ 65 h 1055"/>
                  <a:gd name="T86" fmla="*/ 374 w 1714"/>
                  <a:gd name="T87" fmla="*/ 51 h 1055"/>
                  <a:gd name="T88" fmla="*/ 313 w 1714"/>
                  <a:gd name="T89" fmla="*/ 39 h 1055"/>
                  <a:gd name="T90" fmla="*/ 251 w 1714"/>
                  <a:gd name="T91" fmla="*/ 28 h 1055"/>
                  <a:gd name="T92" fmla="*/ 189 w 1714"/>
                  <a:gd name="T93" fmla="*/ 19 h 1055"/>
                  <a:gd name="T94" fmla="*/ 127 w 1714"/>
                  <a:gd name="T95" fmla="*/ 11 h 1055"/>
                  <a:gd name="T96" fmla="*/ 64 w 1714"/>
                  <a:gd name="T97" fmla="*/ 4 h 1055"/>
                  <a:gd name="T98" fmla="*/ 0 w 1714"/>
                  <a:gd name="T99" fmla="*/ 0 h 1055"/>
                  <a:gd name="T100" fmla="*/ 357 w 1714"/>
                  <a:gd name="T101" fmla="*/ 855 h 1055"/>
                  <a:gd name="T102" fmla="*/ 377 w 1714"/>
                  <a:gd name="T103" fmla="*/ 851 h 1055"/>
                  <a:gd name="T104" fmla="*/ 398 w 1714"/>
                  <a:gd name="T105" fmla="*/ 848 h 1055"/>
                  <a:gd name="T106" fmla="*/ 420 w 1714"/>
                  <a:gd name="T107" fmla="*/ 845 h 1055"/>
                  <a:gd name="T108" fmla="*/ 442 w 1714"/>
                  <a:gd name="T109" fmla="*/ 845 h 10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14" h="1055">
                    <a:moveTo>
                      <a:pt x="442" y="845"/>
                    </a:moveTo>
                    <a:lnTo>
                      <a:pt x="467" y="846"/>
                    </a:lnTo>
                    <a:lnTo>
                      <a:pt x="493" y="850"/>
                    </a:lnTo>
                    <a:lnTo>
                      <a:pt x="518" y="855"/>
                    </a:lnTo>
                    <a:lnTo>
                      <a:pt x="542" y="862"/>
                    </a:lnTo>
                    <a:lnTo>
                      <a:pt x="565" y="871"/>
                    </a:lnTo>
                    <a:lnTo>
                      <a:pt x="587" y="881"/>
                    </a:lnTo>
                    <a:lnTo>
                      <a:pt x="608" y="893"/>
                    </a:lnTo>
                    <a:lnTo>
                      <a:pt x="629" y="906"/>
                    </a:lnTo>
                    <a:lnTo>
                      <a:pt x="648" y="920"/>
                    </a:lnTo>
                    <a:lnTo>
                      <a:pt x="666" y="936"/>
                    </a:lnTo>
                    <a:lnTo>
                      <a:pt x="684" y="953"/>
                    </a:lnTo>
                    <a:lnTo>
                      <a:pt x="699" y="971"/>
                    </a:lnTo>
                    <a:lnTo>
                      <a:pt x="714" y="991"/>
                    </a:lnTo>
                    <a:lnTo>
                      <a:pt x="727" y="1011"/>
                    </a:lnTo>
                    <a:lnTo>
                      <a:pt x="739" y="1032"/>
                    </a:lnTo>
                    <a:lnTo>
                      <a:pt x="750" y="1055"/>
                    </a:lnTo>
                    <a:lnTo>
                      <a:pt x="1714" y="825"/>
                    </a:lnTo>
                    <a:lnTo>
                      <a:pt x="1672" y="781"/>
                    </a:lnTo>
                    <a:lnTo>
                      <a:pt x="1631" y="739"/>
                    </a:lnTo>
                    <a:lnTo>
                      <a:pt x="1588" y="697"/>
                    </a:lnTo>
                    <a:lnTo>
                      <a:pt x="1545" y="656"/>
                    </a:lnTo>
                    <a:lnTo>
                      <a:pt x="1500" y="616"/>
                    </a:lnTo>
                    <a:lnTo>
                      <a:pt x="1455" y="577"/>
                    </a:lnTo>
                    <a:lnTo>
                      <a:pt x="1408" y="540"/>
                    </a:lnTo>
                    <a:lnTo>
                      <a:pt x="1360" y="502"/>
                    </a:lnTo>
                    <a:lnTo>
                      <a:pt x="1312" y="467"/>
                    </a:lnTo>
                    <a:lnTo>
                      <a:pt x="1263" y="432"/>
                    </a:lnTo>
                    <a:lnTo>
                      <a:pt x="1213" y="399"/>
                    </a:lnTo>
                    <a:lnTo>
                      <a:pt x="1162" y="367"/>
                    </a:lnTo>
                    <a:lnTo>
                      <a:pt x="1110" y="336"/>
                    </a:lnTo>
                    <a:lnTo>
                      <a:pt x="1058" y="307"/>
                    </a:lnTo>
                    <a:lnTo>
                      <a:pt x="1005" y="278"/>
                    </a:lnTo>
                    <a:lnTo>
                      <a:pt x="950" y="251"/>
                    </a:lnTo>
                    <a:lnTo>
                      <a:pt x="896" y="225"/>
                    </a:lnTo>
                    <a:lnTo>
                      <a:pt x="841" y="201"/>
                    </a:lnTo>
                    <a:lnTo>
                      <a:pt x="785" y="177"/>
                    </a:lnTo>
                    <a:lnTo>
                      <a:pt x="727" y="154"/>
                    </a:lnTo>
                    <a:lnTo>
                      <a:pt x="670" y="134"/>
                    </a:lnTo>
                    <a:lnTo>
                      <a:pt x="612" y="114"/>
                    </a:lnTo>
                    <a:lnTo>
                      <a:pt x="554" y="96"/>
                    </a:lnTo>
                    <a:lnTo>
                      <a:pt x="494" y="80"/>
                    </a:lnTo>
                    <a:lnTo>
                      <a:pt x="434" y="65"/>
                    </a:lnTo>
                    <a:lnTo>
                      <a:pt x="374" y="51"/>
                    </a:lnTo>
                    <a:lnTo>
                      <a:pt x="313" y="39"/>
                    </a:lnTo>
                    <a:lnTo>
                      <a:pt x="251" y="28"/>
                    </a:lnTo>
                    <a:lnTo>
                      <a:pt x="189" y="19"/>
                    </a:lnTo>
                    <a:lnTo>
                      <a:pt x="127" y="11"/>
                    </a:lnTo>
                    <a:lnTo>
                      <a:pt x="64" y="4"/>
                    </a:lnTo>
                    <a:lnTo>
                      <a:pt x="0" y="0"/>
                    </a:lnTo>
                    <a:lnTo>
                      <a:pt x="357" y="855"/>
                    </a:lnTo>
                    <a:lnTo>
                      <a:pt x="377" y="851"/>
                    </a:lnTo>
                    <a:lnTo>
                      <a:pt x="398" y="848"/>
                    </a:lnTo>
                    <a:lnTo>
                      <a:pt x="420" y="845"/>
                    </a:lnTo>
                    <a:lnTo>
                      <a:pt x="442" y="8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8898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36">
          <p15:clr>
            <a:srgbClr val="FBAE40"/>
          </p15:clr>
        </p15:guide>
        <p15:guide id="2" orient="horz" pos="217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185601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СОДЕРЖАНИЕ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2115819" y="976313"/>
            <a:ext cx="9479516" cy="446197"/>
          </a:xfrm>
        </p:spPr>
        <p:txBody>
          <a:bodyPr anchor="ctr"/>
          <a:lstStyle>
            <a:lvl1pPr>
              <a:defRPr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2" hasCustomPrompt="1"/>
          </p:nvPr>
        </p:nvSpPr>
        <p:spPr>
          <a:xfrm>
            <a:off x="1014254" y="981180"/>
            <a:ext cx="383357" cy="436463"/>
          </a:xfrm>
        </p:spPr>
        <p:txBody>
          <a:bodyPr lIns="0" rIns="0" anchor="ctr"/>
          <a:lstStyle>
            <a:lvl1pPr>
              <a:defRPr sz="32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3" name="Текст 5"/>
          <p:cNvSpPr>
            <a:spLocks noGrp="1"/>
          </p:cNvSpPr>
          <p:nvPr>
            <p:ph type="body" sz="quarter" idx="13" hasCustomPrompt="1"/>
          </p:nvPr>
        </p:nvSpPr>
        <p:spPr>
          <a:xfrm>
            <a:off x="2115819" y="1561990"/>
            <a:ext cx="9479516" cy="446197"/>
          </a:xfrm>
        </p:spPr>
        <p:txBody>
          <a:bodyPr anchor="ctr"/>
          <a:lstStyle>
            <a:lvl1pPr>
              <a:defRPr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4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1014254" y="1566857"/>
            <a:ext cx="383357" cy="436463"/>
          </a:xfrm>
        </p:spPr>
        <p:txBody>
          <a:bodyPr lIns="0" rIns="0" anchor="ctr"/>
          <a:lstStyle>
            <a:lvl1pPr>
              <a:defRPr sz="32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2115819" y="2147667"/>
            <a:ext cx="9479516" cy="446197"/>
          </a:xfrm>
        </p:spPr>
        <p:txBody>
          <a:bodyPr anchor="ctr"/>
          <a:lstStyle>
            <a:lvl1pPr>
              <a:defRPr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7" name="Текст 10"/>
          <p:cNvSpPr>
            <a:spLocks noGrp="1"/>
          </p:cNvSpPr>
          <p:nvPr>
            <p:ph type="body" sz="quarter" idx="16" hasCustomPrompt="1"/>
          </p:nvPr>
        </p:nvSpPr>
        <p:spPr>
          <a:xfrm>
            <a:off x="1014254" y="2152534"/>
            <a:ext cx="383357" cy="436463"/>
          </a:xfrm>
        </p:spPr>
        <p:txBody>
          <a:bodyPr lIns="0" rIns="0" anchor="ctr"/>
          <a:lstStyle>
            <a:lvl1pPr>
              <a:defRPr sz="32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№</a:t>
            </a:r>
            <a:endParaRPr lang="ru-RU" dirty="0"/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2115819" y="2733344"/>
            <a:ext cx="9479516" cy="446197"/>
          </a:xfrm>
        </p:spPr>
        <p:txBody>
          <a:bodyPr anchor="ctr"/>
          <a:lstStyle>
            <a:lvl1pPr>
              <a:defRPr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20" name="Текст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14254" y="2738211"/>
            <a:ext cx="383357" cy="436463"/>
          </a:xfrm>
        </p:spPr>
        <p:txBody>
          <a:bodyPr lIns="0" rIns="0" anchor="ctr"/>
          <a:lstStyle>
            <a:lvl1pPr>
              <a:defRPr sz="32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№</a:t>
            </a:r>
            <a:endParaRPr lang="ru-RU" dirty="0"/>
          </a:p>
        </p:txBody>
      </p:sp>
      <p:sp>
        <p:nvSpPr>
          <p:cNvPr id="22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2115819" y="3319021"/>
            <a:ext cx="9479516" cy="446197"/>
          </a:xfrm>
        </p:spPr>
        <p:txBody>
          <a:bodyPr anchor="ctr"/>
          <a:lstStyle>
            <a:lvl1pPr>
              <a:defRPr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23" name="Текст 10"/>
          <p:cNvSpPr>
            <a:spLocks noGrp="1"/>
          </p:cNvSpPr>
          <p:nvPr>
            <p:ph type="body" sz="quarter" idx="20" hasCustomPrompt="1"/>
          </p:nvPr>
        </p:nvSpPr>
        <p:spPr>
          <a:xfrm>
            <a:off x="1014254" y="3323888"/>
            <a:ext cx="383357" cy="436463"/>
          </a:xfrm>
        </p:spPr>
        <p:txBody>
          <a:bodyPr lIns="0" rIns="0" anchor="ctr"/>
          <a:lstStyle>
            <a:lvl1pPr>
              <a:defRPr sz="32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№</a:t>
            </a:r>
            <a:endParaRPr lang="ru-RU" dirty="0"/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13" hasCustomPrompt="1"/>
          </p:nvPr>
        </p:nvSpPr>
        <p:spPr>
          <a:xfrm>
            <a:off x="2115819" y="3904698"/>
            <a:ext cx="9479516" cy="446197"/>
          </a:xfrm>
        </p:spPr>
        <p:txBody>
          <a:bodyPr anchor="ctr"/>
          <a:lstStyle>
            <a:lvl1pPr>
              <a:defRPr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26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1014254" y="3909565"/>
            <a:ext cx="383357" cy="436463"/>
          </a:xfrm>
        </p:spPr>
        <p:txBody>
          <a:bodyPr lIns="0" rIns="0" anchor="ctr"/>
          <a:lstStyle>
            <a:lvl1pPr>
              <a:defRPr sz="32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№</a:t>
            </a:r>
            <a:endParaRPr lang="ru-RU" dirty="0"/>
          </a:p>
        </p:txBody>
      </p:sp>
      <p:sp>
        <p:nvSpPr>
          <p:cNvPr id="28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2115819" y="4490377"/>
            <a:ext cx="9479516" cy="446197"/>
          </a:xfrm>
        </p:spPr>
        <p:txBody>
          <a:bodyPr anchor="ctr"/>
          <a:lstStyle>
            <a:lvl1pPr>
              <a:defRPr baseline="0"/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29" name="Текст 10"/>
          <p:cNvSpPr>
            <a:spLocks noGrp="1"/>
          </p:cNvSpPr>
          <p:nvPr>
            <p:ph type="body" sz="quarter" idx="16" hasCustomPrompt="1"/>
          </p:nvPr>
        </p:nvSpPr>
        <p:spPr>
          <a:xfrm>
            <a:off x="1014254" y="4495244"/>
            <a:ext cx="383357" cy="436463"/>
          </a:xfrm>
        </p:spPr>
        <p:txBody>
          <a:bodyPr lIns="0" rIns="0" anchor="ctr"/>
          <a:lstStyle>
            <a:lvl1pPr>
              <a:defRPr sz="32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№</a:t>
            </a:r>
            <a:endParaRPr lang="ru-RU" dirty="0"/>
          </a:p>
        </p:txBody>
      </p:sp>
      <p:sp>
        <p:nvSpPr>
          <p:cNvPr id="30" name="Объект 15"/>
          <p:cNvSpPr txBox="1">
            <a:spLocks/>
          </p:cNvSpPr>
          <p:nvPr userDrawn="1"/>
        </p:nvSpPr>
        <p:spPr>
          <a:xfrm>
            <a:off x="-2040904" y="980551"/>
            <a:ext cx="1920220" cy="4558772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marR="0" indent="-180975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0838" indent="-169863" algn="l" defTabSz="914400" rtl="0" eaLnBrk="1" latinLnBrk="0" hangingPunct="1">
              <a:spcBef>
                <a:spcPts val="600"/>
              </a:spcBef>
              <a:buClr>
                <a:srgbClr val="4F81BD"/>
              </a:buClr>
              <a:buSzPct val="105000"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>
                <a:solidFill>
                  <a:schemeClr val="tx1">
                    <a:lumMod val="60000"/>
                    <a:lumOff val="40000"/>
                  </a:schemeClr>
                </a:solidFill>
              </a:rPr>
              <a:t>Содержание </a:t>
            </a:r>
            <a:br>
              <a:rPr lang="ru-RU" b="1" dirty="0">
                <a:solidFill>
                  <a:schemeClr val="tx1">
                    <a:lumMod val="60000"/>
                    <a:lumOff val="40000"/>
                  </a:schemeClr>
                </a:solidFill>
              </a:rPr>
            </a:br>
            <a:r>
              <a:rPr lang="ru-RU" b="1" dirty="0">
                <a:solidFill>
                  <a:schemeClr val="tx1">
                    <a:lumMod val="60000"/>
                    <a:lumOff val="40000"/>
                  </a:schemeClr>
                </a:solidFill>
              </a:rPr>
              <a:t>без подразделов </a:t>
            </a:r>
            <a:r>
              <a:rPr lang="en-US" b="1" dirty="0">
                <a:solidFill>
                  <a:schemeClr val="tx1">
                    <a:lumMod val="60000"/>
                    <a:lumOff val="40000"/>
                  </a:schemeClr>
                </a:solidFill>
              </a:rPr>
              <a:t/>
            </a:r>
            <a:br>
              <a:rPr lang="en-US" b="1" dirty="0">
                <a:solidFill>
                  <a:schemeClr val="tx1">
                    <a:lumMod val="60000"/>
                    <a:lumOff val="40000"/>
                  </a:schemeClr>
                </a:solidFill>
              </a:rPr>
            </a:br>
            <a:r>
              <a:rPr lang="ru-RU" dirty="0">
                <a:solidFill>
                  <a:schemeClr val="tx1">
                    <a:lumMod val="60000"/>
                    <a:lumOff val="40000"/>
                  </a:schemeClr>
                </a:solidFill>
              </a:rPr>
              <a:t>рекомендуется </a:t>
            </a:r>
            <a:br>
              <a:rPr lang="ru-RU" dirty="0">
                <a:solidFill>
                  <a:schemeClr val="tx1">
                    <a:lumMod val="60000"/>
                    <a:lumOff val="40000"/>
                  </a:schemeClr>
                </a:solidFill>
              </a:rPr>
            </a:br>
            <a:r>
              <a:rPr lang="ru-RU" dirty="0">
                <a:solidFill>
                  <a:schemeClr val="tx1">
                    <a:lumMod val="60000"/>
                    <a:lumOff val="40000"/>
                  </a:schemeClr>
                </a:solidFill>
              </a:rPr>
              <a:t>для использования </a:t>
            </a:r>
            <a:r>
              <a:rPr lang="en-US" dirty="0">
                <a:solidFill>
                  <a:schemeClr val="tx1">
                    <a:lumMod val="60000"/>
                    <a:lumOff val="40000"/>
                  </a:schemeClr>
                </a:solidFill>
              </a:rPr>
              <a:t/>
            </a:r>
            <a:br>
              <a:rPr lang="en-US" dirty="0">
                <a:solidFill>
                  <a:schemeClr val="tx1">
                    <a:lumMod val="60000"/>
                    <a:lumOff val="40000"/>
                  </a:schemeClr>
                </a:solidFill>
              </a:rPr>
            </a:br>
            <a:r>
              <a:rPr lang="ru-RU" dirty="0">
                <a:solidFill>
                  <a:schemeClr val="tx1">
                    <a:lumMod val="60000"/>
                    <a:lumOff val="40000"/>
                  </a:schemeClr>
                </a:solidFill>
              </a:rPr>
              <a:t>в презентации </a:t>
            </a:r>
            <a:br>
              <a:rPr lang="ru-RU" dirty="0">
                <a:solidFill>
                  <a:schemeClr val="tx1">
                    <a:lumMod val="60000"/>
                    <a:lumOff val="40000"/>
                  </a:schemeClr>
                </a:solidFill>
              </a:rPr>
            </a:br>
            <a:r>
              <a:rPr lang="ru-RU" dirty="0">
                <a:solidFill>
                  <a:schemeClr val="tx1">
                    <a:lumMod val="60000"/>
                    <a:lumOff val="40000"/>
                  </a:schemeClr>
                </a:solidFill>
              </a:rPr>
              <a:t>для показа на экране.</a:t>
            </a:r>
          </a:p>
          <a:p>
            <a:r>
              <a:rPr lang="ru-RU" dirty="0">
                <a:solidFill>
                  <a:schemeClr val="tx1">
                    <a:lumMod val="60000"/>
                    <a:lumOff val="40000"/>
                  </a:schemeClr>
                </a:solidFill>
              </a:rPr>
              <a:t>Содержание</a:t>
            </a:r>
            <a:r>
              <a:rPr lang="ru-RU" baseline="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 помогает аудитории ориентироваться в структуре презентации.</a:t>
            </a:r>
            <a:endParaRPr lang="ru-RU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00344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Объект 4"/>
          <p:cNvSpPr>
            <a:spLocks noGrp="1"/>
          </p:cNvSpPr>
          <p:nvPr>
            <p:ph sz="quarter" idx="10"/>
          </p:nvPr>
        </p:nvSpPr>
        <p:spPr>
          <a:xfrm>
            <a:off x="599440" y="975360"/>
            <a:ext cx="11003280" cy="5396865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0328881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зображение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599440" y="975360"/>
            <a:ext cx="11003280" cy="5405120"/>
          </a:xfrm>
          <a:prstGeom prst="rect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1172269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2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5" name="Объект 3"/>
          <p:cNvSpPr>
            <a:spLocks noGrp="1"/>
          </p:cNvSpPr>
          <p:nvPr>
            <p:ph sz="quarter" idx="18"/>
          </p:nvPr>
        </p:nvSpPr>
        <p:spPr>
          <a:xfrm>
            <a:off x="6380480" y="976313"/>
            <a:ext cx="5222240" cy="53990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7" name="Объект 3"/>
          <p:cNvSpPr>
            <a:spLocks noGrp="1"/>
          </p:cNvSpPr>
          <p:nvPr>
            <p:ph sz="quarter" idx="19"/>
          </p:nvPr>
        </p:nvSpPr>
        <p:spPr>
          <a:xfrm>
            <a:off x="613997" y="976313"/>
            <a:ext cx="5222240" cy="53990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-1800201" y="976313"/>
            <a:ext cx="1800201" cy="332398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dirty="0">
                <a:solidFill>
                  <a:schemeClr val="accent4"/>
                </a:solidFill>
              </a:rPr>
              <a:t>Макет настроен </a:t>
            </a:r>
            <a:br>
              <a:rPr lang="ru-RU" sz="1400" dirty="0">
                <a:solidFill>
                  <a:schemeClr val="accent4"/>
                </a:solidFill>
              </a:rPr>
            </a:br>
            <a:r>
              <a:rPr lang="ru-RU" sz="1400" dirty="0">
                <a:solidFill>
                  <a:schemeClr val="accent4"/>
                </a:solidFill>
              </a:rPr>
              <a:t>для вывода любого содержимого в двух колонках, однако рекомендуется </a:t>
            </a:r>
            <a:br>
              <a:rPr lang="ru-RU" sz="1400" dirty="0">
                <a:solidFill>
                  <a:schemeClr val="accent4"/>
                </a:solidFill>
              </a:rPr>
            </a:br>
            <a:r>
              <a:rPr lang="ru-RU" sz="1400" dirty="0">
                <a:solidFill>
                  <a:schemeClr val="accent4"/>
                </a:solidFill>
              </a:rPr>
              <a:t>не использовать его </a:t>
            </a:r>
            <a:br>
              <a:rPr lang="ru-RU" sz="1400" dirty="0">
                <a:solidFill>
                  <a:schemeClr val="accent4"/>
                </a:solidFill>
              </a:rPr>
            </a:br>
            <a:r>
              <a:rPr lang="ru-RU" sz="1400" dirty="0">
                <a:solidFill>
                  <a:schemeClr val="accent4"/>
                </a:solidFill>
              </a:rPr>
              <a:t>для вывода только текстовых блоков: в случае большого количества текста лучше разделить текст на несколько модулей (3-4), по возможности добавить иконки или иные графические объекты.</a:t>
            </a:r>
          </a:p>
        </p:txBody>
      </p:sp>
    </p:spTree>
    <p:extLst>
      <p:ext uri="{BB962C8B-B14F-4D97-AF65-F5344CB8AC3E}">
        <p14:creationId xmlns:p14="http://schemas.microsoft.com/office/powerpoint/2010/main" val="1160134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79">
          <p15:clr>
            <a:srgbClr val="FBAE40"/>
          </p15:clr>
        </p15:guide>
        <p15:guide id="2" pos="4007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дзаголовок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Текст 4"/>
          <p:cNvSpPr>
            <a:spLocks noGrp="1"/>
          </p:cNvSpPr>
          <p:nvPr>
            <p:ph type="body" sz="quarter" idx="17" hasCustomPrompt="1"/>
          </p:nvPr>
        </p:nvSpPr>
        <p:spPr>
          <a:xfrm>
            <a:off x="599440" y="990321"/>
            <a:ext cx="11003279" cy="503518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Объект 3"/>
          <p:cNvSpPr>
            <a:spLocks noGrp="1"/>
          </p:cNvSpPr>
          <p:nvPr>
            <p:ph sz="quarter" idx="18"/>
          </p:nvPr>
        </p:nvSpPr>
        <p:spPr>
          <a:xfrm>
            <a:off x="6380480" y="1615440"/>
            <a:ext cx="5222240" cy="475996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599440" y="1615440"/>
            <a:ext cx="5212080" cy="475996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66190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61">
          <p15:clr>
            <a:srgbClr val="FBAE40"/>
          </p15:clr>
        </p15:guide>
        <p15:guide id="2" pos="4019">
          <p15:clr>
            <a:srgbClr val="FBAE40"/>
          </p15:clr>
        </p15:guide>
        <p15:guide id="3" orient="horz" pos="954">
          <p15:clr>
            <a:srgbClr val="FBAE40"/>
          </p15:clr>
        </p15:guide>
        <p15:guide id="4" orient="horz" pos="101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объект" type="obj">
  <p:cSld name="OBJECT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" name="Google Shape;20;p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дзаголовок, объект,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Текст 4"/>
          <p:cNvSpPr>
            <a:spLocks noGrp="1"/>
          </p:cNvSpPr>
          <p:nvPr>
            <p:ph type="body" sz="quarter" idx="17" hasCustomPrompt="1"/>
          </p:nvPr>
        </p:nvSpPr>
        <p:spPr>
          <a:xfrm>
            <a:off x="600075" y="976313"/>
            <a:ext cx="5211763" cy="538162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Объект 3"/>
          <p:cNvSpPr>
            <a:spLocks noGrp="1"/>
          </p:cNvSpPr>
          <p:nvPr>
            <p:ph sz="quarter" idx="18"/>
          </p:nvPr>
        </p:nvSpPr>
        <p:spPr>
          <a:xfrm>
            <a:off x="6380480" y="976313"/>
            <a:ext cx="5222240" cy="53990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4" name="Рисунок 3"/>
          <p:cNvSpPr>
            <a:spLocks noGrp="1"/>
          </p:cNvSpPr>
          <p:nvPr>
            <p:ph type="pic" sz="quarter" idx="19"/>
          </p:nvPr>
        </p:nvSpPr>
        <p:spPr>
          <a:xfrm>
            <a:off x="600075" y="1616075"/>
            <a:ext cx="5211763" cy="4767263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</p:spTree>
    <p:extLst>
      <p:ext uri="{BB962C8B-B14F-4D97-AF65-F5344CB8AC3E}">
        <p14:creationId xmlns:p14="http://schemas.microsoft.com/office/powerpoint/2010/main" val="2261861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61">
          <p15:clr>
            <a:srgbClr val="FBAE40"/>
          </p15:clr>
        </p15:guide>
        <p15:guide id="2" pos="4019">
          <p15:clr>
            <a:srgbClr val="FBAE40"/>
          </p15:clr>
        </p15:guide>
        <p15:guide id="3" orient="horz" pos="954">
          <p15:clr>
            <a:srgbClr val="FBAE40"/>
          </p15:clr>
        </p15:guide>
        <p15:guide id="4" orient="horz" pos="101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дзаголовок, объект,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Текст 4"/>
          <p:cNvSpPr>
            <a:spLocks noGrp="1"/>
          </p:cNvSpPr>
          <p:nvPr>
            <p:ph type="body" sz="quarter" idx="17" hasCustomPrompt="1"/>
          </p:nvPr>
        </p:nvSpPr>
        <p:spPr>
          <a:xfrm>
            <a:off x="6391275" y="976313"/>
            <a:ext cx="5211763" cy="538162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1600" b="0" i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Объект 3"/>
          <p:cNvSpPr>
            <a:spLocks noGrp="1"/>
          </p:cNvSpPr>
          <p:nvPr>
            <p:ph sz="quarter" idx="18"/>
          </p:nvPr>
        </p:nvSpPr>
        <p:spPr>
          <a:xfrm>
            <a:off x="613997" y="976313"/>
            <a:ext cx="5222240" cy="5399087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4" name="Рисунок 3"/>
          <p:cNvSpPr>
            <a:spLocks noGrp="1"/>
          </p:cNvSpPr>
          <p:nvPr>
            <p:ph type="pic" sz="quarter" idx="19"/>
          </p:nvPr>
        </p:nvSpPr>
        <p:spPr>
          <a:xfrm>
            <a:off x="6391275" y="1616075"/>
            <a:ext cx="5211763" cy="4767263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</p:spTree>
    <p:extLst>
      <p:ext uri="{BB962C8B-B14F-4D97-AF65-F5344CB8AC3E}">
        <p14:creationId xmlns:p14="http://schemas.microsoft.com/office/powerpoint/2010/main" val="3299722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61">
          <p15:clr>
            <a:srgbClr val="FBAE40"/>
          </p15:clr>
        </p15:guide>
        <p15:guide id="2" pos="4019">
          <p15:clr>
            <a:srgbClr val="FBAE40"/>
          </p15:clr>
        </p15:guide>
        <p15:guide id="3" orient="horz" pos="954">
          <p15:clr>
            <a:srgbClr val="FBAE40"/>
          </p15:clr>
        </p15:guide>
        <p15:guide id="4" orient="horz" pos="101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дзаголовок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Рисунок 3"/>
          <p:cNvSpPr>
            <a:spLocks noGrp="1"/>
          </p:cNvSpPr>
          <p:nvPr>
            <p:ph type="pic" sz="quarter" idx="18"/>
          </p:nvPr>
        </p:nvSpPr>
        <p:spPr>
          <a:xfrm>
            <a:off x="6383338" y="1616076"/>
            <a:ext cx="5215482" cy="4759324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9"/>
          </p:nvPr>
        </p:nvSpPr>
        <p:spPr>
          <a:xfrm>
            <a:off x="605473" y="1616076"/>
            <a:ext cx="5203190" cy="4759324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9" name="Текст 4"/>
          <p:cNvSpPr>
            <a:spLocks noGrp="1"/>
          </p:cNvSpPr>
          <p:nvPr>
            <p:ph type="body" sz="quarter" idx="17" hasCustomPrompt="1"/>
          </p:nvPr>
        </p:nvSpPr>
        <p:spPr>
          <a:xfrm>
            <a:off x="599440" y="990321"/>
            <a:ext cx="11003279" cy="503518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35305727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59">
          <p15:clr>
            <a:srgbClr val="FBAE40"/>
          </p15:clr>
        </p15:guide>
        <p15:guide id="2" pos="4021">
          <p15:clr>
            <a:srgbClr val="FBAE40"/>
          </p15:clr>
        </p15:guide>
        <p15:guide id="3" orient="horz" pos="1018">
          <p15:clr>
            <a:srgbClr val="FBAE40"/>
          </p15:clr>
        </p15:guide>
        <p15:guide id="4" orient="horz" pos="95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д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4"/>
          <p:cNvSpPr>
            <a:spLocks noGrp="1"/>
          </p:cNvSpPr>
          <p:nvPr>
            <p:ph type="body" sz="quarter" idx="16" hasCustomPrompt="1"/>
          </p:nvPr>
        </p:nvSpPr>
        <p:spPr>
          <a:xfrm>
            <a:off x="605473" y="980728"/>
            <a:ext cx="5203190" cy="513361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7" name="Текст 4"/>
          <p:cNvSpPr>
            <a:spLocks noGrp="1"/>
          </p:cNvSpPr>
          <p:nvPr>
            <p:ph type="body" sz="quarter" idx="18" hasCustomPrompt="1"/>
          </p:nvPr>
        </p:nvSpPr>
        <p:spPr>
          <a:xfrm>
            <a:off x="6380480" y="3928716"/>
            <a:ext cx="5222240" cy="521364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2" name="Заголовок 1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9"/>
          </p:nvPr>
        </p:nvSpPr>
        <p:spPr>
          <a:xfrm>
            <a:off x="605474" y="1624014"/>
            <a:ext cx="5203189" cy="1799168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21"/>
          </p:nvPr>
        </p:nvSpPr>
        <p:spPr>
          <a:xfrm>
            <a:off x="6380480" y="4561841"/>
            <a:ext cx="5222558" cy="1809328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9" name="Текст 4"/>
          <p:cNvSpPr>
            <a:spLocks noGrp="1"/>
          </p:cNvSpPr>
          <p:nvPr>
            <p:ph type="body" sz="quarter" idx="22" hasCustomPrompt="1"/>
          </p:nvPr>
        </p:nvSpPr>
        <p:spPr>
          <a:xfrm>
            <a:off x="6380480" y="990320"/>
            <a:ext cx="5222240" cy="513360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4"/>
          </p:nvPr>
        </p:nvSpPr>
        <p:spPr>
          <a:xfrm>
            <a:off x="6380480" y="1615441"/>
            <a:ext cx="5222558" cy="1813560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3" name="Текст 4"/>
          <p:cNvSpPr>
            <a:spLocks noGrp="1"/>
          </p:cNvSpPr>
          <p:nvPr>
            <p:ph type="body" sz="quarter" idx="25" hasCustomPrompt="1"/>
          </p:nvPr>
        </p:nvSpPr>
        <p:spPr>
          <a:xfrm>
            <a:off x="605473" y="3928715"/>
            <a:ext cx="5203190" cy="521365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24" name="Объект 3"/>
          <p:cNvSpPr>
            <a:spLocks noGrp="1"/>
          </p:cNvSpPr>
          <p:nvPr>
            <p:ph sz="quarter" idx="26"/>
          </p:nvPr>
        </p:nvSpPr>
        <p:spPr>
          <a:xfrm>
            <a:off x="605474" y="4561840"/>
            <a:ext cx="5203189" cy="1809329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88926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59">
          <p15:clr>
            <a:srgbClr val="FBAE40"/>
          </p15:clr>
        </p15:guide>
        <p15:guide id="2" pos="4021">
          <p15:clr>
            <a:srgbClr val="FBAE40"/>
          </p15:clr>
        </p15:guide>
        <p15:guide id="3" orient="horz" pos="947">
          <p15:clr>
            <a:srgbClr val="FBAE40"/>
          </p15:clr>
        </p15:guide>
        <p15:guide id="4" orient="horz" pos="1018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470">
          <p15:clr>
            <a:srgbClr val="FBAE40"/>
          </p15:clr>
        </p15:guide>
        <p15:guide id="7" orient="horz" pos="2803">
          <p15:clr>
            <a:srgbClr val="FBAE40"/>
          </p15:clr>
        </p15:guide>
        <p15:guide id="8" orient="horz" pos="287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д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бъект 3"/>
          <p:cNvSpPr>
            <a:spLocks noGrp="1"/>
          </p:cNvSpPr>
          <p:nvPr>
            <p:ph sz="quarter" idx="12"/>
          </p:nvPr>
        </p:nvSpPr>
        <p:spPr>
          <a:xfrm>
            <a:off x="600076" y="981075"/>
            <a:ext cx="5208588" cy="2442465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21"/>
          </p:nvPr>
        </p:nvSpPr>
        <p:spPr>
          <a:xfrm>
            <a:off x="6380480" y="3921760"/>
            <a:ext cx="5222240" cy="2458720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Текст 4"/>
          <p:cNvSpPr>
            <a:spLocks noGrp="1"/>
          </p:cNvSpPr>
          <p:nvPr>
            <p:ph type="body" sz="quarter" idx="16" hasCustomPrompt="1"/>
          </p:nvPr>
        </p:nvSpPr>
        <p:spPr>
          <a:xfrm>
            <a:off x="605473" y="3928715"/>
            <a:ext cx="5203190" cy="521365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7" name="Объект 3"/>
          <p:cNvSpPr>
            <a:spLocks noGrp="1"/>
          </p:cNvSpPr>
          <p:nvPr>
            <p:ph sz="quarter" idx="19"/>
          </p:nvPr>
        </p:nvSpPr>
        <p:spPr>
          <a:xfrm>
            <a:off x="605474" y="4572001"/>
            <a:ext cx="5203189" cy="1799168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Текст 4"/>
          <p:cNvSpPr>
            <a:spLocks noGrp="1"/>
          </p:cNvSpPr>
          <p:nvPr>
            <p:ph type="body" sz="quarter" idx="22" hasCustomPrompt="1"/>
          </p:nvPr>
        </p:nvSpPr>
        <p:spPr>
          <a:xfrm>
            <a:off x="6380480" y="990320"/>
            <a:ext cx="5222240" cy="513360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4"/>
          </p:nvPr>
        </p:nvSpPr>
        <p:spPr>
          <a:xfrm>
            <a:off x="6380480" y="1615441"/>
            <a:ext cx="5222558" cy="1798319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2097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59">
          <p15:clr>
            <a:srgbClr val="FBAE40"/>
          </p15:clr>
        </p15:guide>
        <p15:guide id="2" pos="4021">
          <p15:clr>
            <a:srgbClr val="FBAE40"/>
          </p15:clr>
        </p15:guide>
        <p15:guide id="3" orient="horz" pos="2470">
          <p15:clr>
            <a:srgbClr val="FBAE40"/>
          </p15:clr>
        </p15:guide>
        <p15:guide id="4" orient="horz" pos="215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дзаголовок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8315888" y="1615440"/>
            <a:ext cx="3283200" cy="4759960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Текст 4"/>
          <p:cNvSpPr>
            <a:spLocks noGrp="1"/>
          </p:cNvSpPr>
          <p:nvPr>
            <p:ph type="body" sz="quarter" idx="19" hasCustomPrompt="1"/>
          </p:nvPr>
        </p:nvSpPr>
        <p:spPr>
          <a:xfrm>
            <a:off x="8315888" y="980160"/>
            <a:ext cx="3283200" cy="523519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7" name="Объект 3"/>
          <p:cNvSpPr>
            <a:spLocks noGrp="1"/>
          </p:cNvSpPr>
          <p:nvPr>
            <p:ph sz="quarter" idx="20"/>
          </p:nvPr>
        </p:nvSpPr>
        <p:spPr>
          <a:xfrm>
            <a:off x="613232" y="1615440"/>
            <a:ext cx="3283200" cy="4759960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Текст 4"/>
          <p:cNvSpPr>
            <a:spLocks noGrp="1"/>
          </p:cNvSpPr>
          <p:nvPr>
            <p:ph type="body" sz="quarter" idx="21" hasCustomPrompt="1"/>
          </p:nvPr>
        </p:nvSpPr>
        <p:spPr>
          <a:xfrm>
            <a:off x="613232" y="980160"/>
            <a:ext cx="3283200" cy="523519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2"/>
          </p:nvPr>
        </p:nvSpPr>
        <p:spPr>
          <a:xfrm>
            <a:off x="4459712" y="1615440"/>
            <a:ext cx="3283200" cy="4759960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0" name="Текст 4"/>
          <p:cNvSpPr>
            <a:spLocks noGrp="1"/>
          </p:cNvSpPr>
          <p:nvPr>
            <p:ph type="body" sz="quarter" idx="23" hasCustomPrompt="1"/>
          </p:nvPr>
        </p:nvSpPr>
        <p:spPr>
          <a:xfrm>
            <a:off x="4459712" y="980160"/>
            <a:ext cx="3283200" cy="523519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35928454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03">
          <p15:clr>
            <a:srgbClr val="FBAE40"/>
          </p15:clr>
        </p15:guide>
        <p15:guide id="2" pos="2464">
          <p15:clr>
            <a:srgbClr val="FBAE40"/>
          </p15:clr>
        </p15:guide>
        <p15:guide id="3" pos="4883">
          <p15:clr>
            <a:srgbClr val="FBAE40"/>
          </p15:clr>
        </p15:guide>
        <p15:guide id="4" pos="5235">
          <p15:clr>
            <a:srgbClr val="FBAE40"/>
          </p15:clr>
        </p15:guide>
        <p15:guide id="5" orient="horz" pos="1018">
          <p15:clr>
            <a:srgbClr val="FBAE40"/>
          </p15:clr>
        </p15:guide>
        <p15:guide id="6" orient="horz" pos="94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одзаголовок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2" name="Объект 3"/>
          <p:cNvSpPr>
            <a:spLocks noGrp="1"/>
          </p:cNvSpPr>
          <p:nvPr>
            <p:ph sz="quarter" idx="18"/>
          </p:nvPr>
        </p:nvSpPr>
        <p:spPr>
          <a:xfrm>
            <a:off x="8315888" y="4562475"/>
            <a:ext cx="3283200" cy="1820863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33" name="Текст 4"/>
          <p:cNvSpPr>
            <a:spLocks noGrp="1"/>
          </p:cNvSpPr>
          <p:nvPr>
            <p:ph type="body" sz="quarter" idx="19" hasCustomPrompt="1"/>
          </p:nvPr>
        </p:nvSpPr>
        <p:spPr>
          <a:xfrm>
            <a:off x="8315888" y="3942649"/>
            <a:ext cx="3283200" cy="486000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34" name="Объект 3"/>
          <p:cNvSpPr>
            <a:spLocks noGrp="1"/>
          </p:cNvSpPr>
          <p:nvPr>
            <p:ph sz="quarter" idx="20"/>
          </p:nvPr>
        </p:nvSpPr>
        <p:spPr>
          <a:xfrm>
            <a:off x="613232" y="4562475"/>
            <a:ext cx="3283200" cy="1820863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35" name="Текст 4"/>
          <p:cNvSpPr>
            <a:spLocks noGrp="1"/>
          </p:cNvSpPr>
          <p:nvPr>
            <p:ph type="body" sz="quarter" idx="21" hasCustomPrompt="1"/>
          </p:nvPr>
        </p:nvSpPr>
        <p:spPr>
          <a:xfrm>
            <a:off x="613232" y="3942649"/>
            <a:ext cx="3283200" cy="486000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36" name="Объект 3"/>
          <p:cNvSpPr>
            <a:spLocks noGrp="1"/>
          </p:cNvSpPr>
          <p:nvPr>
            <p:ph sz="quarter" idx="22"/>
          </p:nvPr>
        </p:nvSpPr>
        <p:spPr>
          <a:xfrm>
            <a:off x="4459712" y="4562475"/>
            <a:ext cx="3283200" cy="1820863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37" name="Текст 4"/>
          <p:cNvSpPr>
            <a:spLocks noGrp="1"/>
          </p:cNvSpPr>
          <p:nvPr>
            <p:ph type="body" sz="quarter" idx="23" hasCustomPrompt="1"/>
          </p:nvPr>
        </p:nvSpPr>
        <p:spPr>
          <a:xfrm>
            <a:off x="4459712" y="3942649"/>
            <a:ext cx="3283200" cy="486000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38" name="Объект 3"/>
          <p:cNvSpPr>
            <a:spLocks noGrp="1"/>
          </p:cNvSpPr>
          <p:nvPr>
            <p:ph sz="quarter" idx="24"/>
          </p:nvPr>
        </p:nvSpPr>
        <p:spPr>
          <a:xfrm>
            <a:off x="8315888" y="1616075"/>
            <a:ext cx="3283200" cy="1807845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39" name="Текст 4"/>
          <p:cNvSpPr>
            <a:spLocks noGrp="1"/>
          </p:cNvSpPr>
          <p:nvPr>
            <p:ph type="body" sz="quarter" idx="25" hasCustomPrompt="1"/>
          </p:nvPr>
        </p:nvSpPr>
        <p:spPr>
          <a:xfrm>
            <a:off x="8315888" y="980160"/>
            <a:ext cx="3283200" cy="523519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40" name="Объект 3"/>
          <p:cNvSpPr>
            <a:spLocks noGrp="1"/>
          </p:cNvSpPr>
          <p:nvPr>
            <p:ph sz="quarter" idx="26"/>
          </p:nvPr>
        </p:nvSpPr>
        <p:spPr>
          <a:xfrm>
            <a:off x="613232" y="1616075"/>
            <a:ext cx="3283200" cy="1807845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41" name="Текст 4"/>
          <p:cNvSpPr>
            <a:spLocks noGrp="1"/>
          </p:cNvSpPr>
          <p:nvPr>
            <p:ph type="body" sz="quarter" idx="27" hasCustomPrompt="1"/>
          </p:nvPr>
        </p:nvSpPr>
        <p:spPr>
          <a:xfrm>
            <a:off x="613232" y="980160"/>
            <a:ext cx="3283200" cy="523519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42" name="Объект 3"/>
          <p:cNvSpPr>
            <a:spLocks noGrp="1"/>
          </p:cNvSpPr>
          <p:nvPr>
            <p:ph sz="quarter" idx="28"/>
          </p:nvPr>
        </p:nvSpPr>
        <p:spPr>
          <a:xfrm>
            <a:off x="4459712" y="1616075"/>
            <a:ext cx="3283200" cy="1807845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43" name="Текст 4"/>
          <p:cNvSpPr>
            <a:spLocks noGrp="1"/>
          </p:cNvSpPr>
          <p:nvPr>
            <p:ph type="body" sz="quarter" idx="29" hasCustomPrompt="1"/>
          </p:nvPr>
        </p:nvSpPr>
        <p:spPr>
          <a:xfrm>
            <a:off x="4459712" y="980160"/>
            <a:ext cx="3283200" cy="523519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817646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58">
          <p15:clr>
            <a:srgbClr val="FBAE40"/>
          </p15:clr>
        </p15:guide>
        <p15:guide id="2" pos="2803">
          <p15:clr>
            <a:srgbClr val="FBAE40"/>
          </p15:clr>
        </p15:guide>
        <p15:guide id="3" pos="5229">
          <p15:clr>
            <a:srgbClr val="FBAE40"/>
          </p15:clr>
        </p15:guide>
        <p15:guide id="4" pos="4890">
          <p15:clr>
            <a:srgbClr val="FBAE40"/>
          </p15:clr>
        </p15:guide>
        <p15:guide id="5" orient="horz" pos="947">
          <p15:clr>
            <a:srgbClr val="FBAE40"/>
          </p15:clr>
        </p15:guide>
        <p15:guide id="6" orient="horz" pos="2478">
          <p15:clr>
            <a:srgbClr val="FBAE40"/>
          </p15:clr>
        </p15:guide>
        <p15:guide id="7" orient="horz" pos="2157">
          <p15:clr>
            <a:srgbClr val="FBAE40"/>
          </p15:clr>
        </p15:guide>
        <p15:guide id="8" orient="horz" pos="1018">
          <p15:clr>
            <a:srgbClr val="FBAE40"/>
          </p15:clr>
        </p15:guide>
        <p15:guide id="9" orient="horz" pos="2874">
          <p15:clr>
            <a:srgbClr val="FBAE40"/>
          </p15:clr>
        </p15:guide>
        <p15:guide id="10" orient="horz" pos="2803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вертикальны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9" name="Объект 3"/>
          <p:cNvSpPr>
            <a:spLocks noGrp="1"/>
          </p:cNvSpPr>
          <p:nvPr>
            <p:ph sz="quarter" idx="18"/>
          </p:nvPr>
        </p:nvSpPr>
        <p:spPr>
          <a:xfrm>
            <a:off x="8315888" y="976313"/>
            <a:ext cx="3283200" cy="5399087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20"/>
          </p:nvPr>
        </p:nvSpPr>
        <p:spPr>
          <a:xfrm>
            <a:off x="613232" y="976313"/>
            <a:ext cx="3283200" cy="5399087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22"/>
          </p:nvPr>
        </p:nvSpPr>
        <p:spPr>
          <a:xfrm>
            <a:off x="4459712" y="976313"/>
            <a:ext cx="3283200" cy="5399087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69854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64">
          <p15:clr>
            <a:srgbClr val="FBAE40"/>
          </p15:clr>
        </p15:guide>
        <p15:guide id="2" pos="2803">
          <p15:clr>
            <a:srgbClr val="FBAE40"/>
          </p15:clr>
        </p15:guide>
        <p15:guide id="3" pos="5235">
          <p15:clr>
            <a:srgbClr val="FBAE40"/>
          </p15:clr>
        </p15:guide>
        <p15:guide id="4" pos="4883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дзаголовок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Объект 3"/>
          <p:cNvSpPr>
            <a:spLocks noGrp="1"/>
          </p:cNvSpPr>
          <p:nvPr>
            <p:ph sz="quarter" idx="12"/>
          </p:nvPr>
        </p:nvSpPr>
        <p:spPr>
          <a:xfrm>
            <a:off x="9272904" y="1616075"/>
            <a:ext cx="2323628" cy="4759325"/>
          </a:xfrm>
          <a:prstGeom prst="rect">
            <a:avLst/>
          </a:prstGeom>
        </p:spPr>
        <p:txBody>
          <a:bodyPr lIns="0" rIns="0"/>
          <a:lstStyle>
            <a:lvl1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defRPr sz="1400"/>
            </a:lvl1pPr>
            <a:lvl2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defRPr sz="1400"/>
            </a:lvl2pPr>
            <a:lvl3pPr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Текст 4"/>
          <p:cNvSpPr>
            <a:spLocks noGrp="1"/>
          </p:cNvSpPr>
          <p:nvPr>
            <p:ph type="body" sz="quarter" idx="17" hasCustomPrompt="1"/>
          </p:nvPr>
        </p:nvSpPr>
        <p:spPr>
          <a:xfrm>
            <a:off x="9280688" y="990321"/>
            <a:ext cx="2318400" cy="486000"/>
          </a:xfrm>
          <a:prstGeom prst="rect">
            <a:avLst/>
          </a:prstGeom>
        </p:spPr>
        <p:txBody>
          <a:bodyPr lIns="0" rIns="0" anchor="t" anchorCtr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24"/>
          </p:nvPr>
        </p:nvSpPr>
        <p:spPr>
          <a:xfrm>
            <a:off x="6388099" y="1616075"/>
            <a:ext cx="2346325" cy="4759325"/>
          </a:xfrm>
          <a:prstGeom prst="rect">
            <a:avLst/>
          </a:prstGeom>
        </p:spPr>
        <p:txBody>
          <a:bodyPr lIns="0" rIns="0"/>
          <a:lstStyle>
            <a:lvl1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defRPr sz="1400"/>
            </a:lvl1pPr>
            <a:lvl2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defRPr sz="1400"/>
            </a:lvl2pPr>
            <a:lvl3pPr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7" name="Текст 4"/>
          <p:cNvSpPr>
            <a:spLocks noGrp="1"/>
          </p:cNvSpPr>
          <p:nvPr>
            <p:ph type="body" sz="quarter" idx="25" hasCustomPrompt="1"/>
          </p:nvPr>
        </p:nvSpPr>
        <p:spPr>
          <a:xfrm>
            <a:off x="6398259" y="990321"/>
            <a:ext cx="2318400" cy="486000"/>
          </a:xfrm>
          <a:prstGeom prst="rect">
            <a:avLst/>
          </a:prstGeom>
        </p:spPr>
        <p:txBody>
          <a:bodyPr lIns="0" rIns="0" anchor="t" anchorCtr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26"/>
          </p:nvPr>
        </p:nvSpPr>
        <p:spPr>
          <a:xfrm>
            <a:off x="3484880" y="1616075"/>
            <a:ext cx="2323628" cy="4759325"/>
          </a:xfrm>
          <a:prstGeom prst="rect">
            <a:avLst/>
          </a:prstGeom>
        </p:spPr>
        <p:txBody>
          <a:bodyPr lIns="0" rIns="0"/>
          <a:lstStyle>
            <a:lvl1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defRPr sz="1400"/>
            </a:lvl1pPr>
            <a:lvl2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defRPr sz="1400"/>
            </a:lvl2pPr>
            <a:lvl3pPr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9" name="Текст 4"/>
          <p:cNvSpPr>
            <a:spLocks noGrp="1"/>
          </p:cNvSpPr>
          <p:nvPr>
            <p:ph type="body" sz="quarter" idx="27" hasCustomPrompt="1"/>
          </p:nvPr>
        </p:nvSpPr>
        <p:spPr>
          <a:xfrm>
            <a:off x="3492664" y="990321"/>
            <a:ext cx="2318400" cy="486000"/>
          </a:xfrm>
          <a:prstGeom prst="rect">
            <a:avLst/>
          </a:prstGeom>
        </p:spPr>
        <p:txBody>
          <a:bodyPr lIns="0" rIns="0" anchor="t" anchorCtr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8"/>
          </p:nvPr>
        </p:nvSpPr>
        <p:spPr>
          <a:xfrm>
            <a:off x="600075" y="1616075"/>
            <a:ext cx="2346325" cy="4759325"/>
          </a:xfrm>
          <a:prstGeom prst="rect">
            <a:avLst/>
          </a:prstGeom>
        </p:spPr>
        <p:txBody>
          <a:bodyPr lIns="0" rIns="0"/>
          <a:lstStyle>
            <a:lvl1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defRPr sz="1400"/>
            </a:lvl1pPr>
            <a:lvl2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defRPr sz="1400"/>
            </a:lvl2pPr>
            <a:lvl3pPr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1" name="Текст 4"/>
          <p:cNvSpPr>
            <a:spLocks noGrp="1"/>
          </p:cNvSpPr>
          <p:nvPr>
            <p:ph type="body" sz="quarter" idx="29" hasCustomPrompt="1"/>
          </p:nvPr>
        </p:nvSpPr>
        <p:spPr>
          <a:xfrm>
            <a:off x="610235" y="990321"/>
            <a:ext cx="2318400" cy="486000"/>
          </a:xfrm>
          <a:prstGeom prst="rect">
            <a:avLst/>
          </a:prstGeom>
        </p:spPr>
        <p:txBody>
          <a:bodyPr lIns="0" rIns="0" anchor="t" anchorCtr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3728590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21">
          <p15:clr>
            <a:srgbClr val="FBAE40"/>
          </p15:clr>
        </p15:guide>
        <p15:guide id="2" pos="3659">
          <p15:clr>
            <a:srgbClr val="FBAE40"/>
          </p15:clr>
        </p15:guide>
        <p15:guide id="3" pos="2195">
          <p15:clr>
            <a:srgbClr val="FBAE40"/>
          </p15:clr>
        </p15:guide>
        <p15:guide id="4" pos="1856">
          <p15:clr>
            <a:srgbClr val="FBAE40"/>
          </p15:clr>
        </p15:guide>
        <p15:guide id="5" pos="5504">
          <p15:clr>
            <a:srgbClr val="FBAE40"/>
          </p15:clr>
        </p15:guide>
        <p15:guide id="6" pos="5836">
          <p15:clr>
            <a:srgbClr val="FBAE40"/>
          </p15:clr>
        </p15:guide>
        <p15:guide id="7" orient="horz" pos="1018">
          <p15:clr>
            <a:srgbClr val="FBAE40"/>
          </p15:clr>
        </p15:guide>
        <p15:guide id="8" orient="horz" pos="94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Подзаголовок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Объект 3"/>
          <p:cNvSpPr>
            <a:spLocks noGrp="1"/>
          </p:cNvSpPr>
          <p:nvPr>
            <p:ph sz="quarter" idx="12"/>
          </p:nvPr>
        </p:nvSpPr>
        <p:spPr>
          <a:xfrm>
            <a:off x="600076" y="981076"/>
            <a:ext cx="11002962" cy="2447924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23" name="Объект 3"/>
          <p:cNvSpPr>
            <a:spLocks noGrp="1"/>
          </p:cNvSpPr>
          <p:nvPr>
            <p:ph sz="quarter" idx="18"/>
          </p:nvPr>
        </p:nvSpPr>
        <p:spPr>
          <a:xfrm>
            <a:off x="8315888" y="4562475"/>
            <a:ext cx="3283200" cy="1820863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4" name="Текст 4"/>
          <p:cNvSpPr>
            <a:spLocks noGrp="1"/>
          </p:cNvSpPr>
          <p:nvPr>
            <p:ph type="body" sz="quarter" idx="19" hasCustomPrompt="1"/>
          </p:nvPr>
        </p:nvSpPr>
        <p:spPr>
          <a:xfrm>
            <a:off x="8315888" y="3942649"/>
            <a:ext cx="3283200" cy="486000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25" name="Объект 3"/>
          <p:cNvSpPr>
            <a:spLocks noGrp="1"/>
          </p:cNvSpPr>
          <p:nvPr>
            <p:ph sz="quarter" idx="20"/>
          </p:nvPr>
        </p:nvSpPr>
        <p:spPr>
          <a:xfrm>
            <a:off x="613232" y="4562475"/>
            <a:ext cx="3283200" cy="1820863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6" name="Текст 4"/>
          <p:cNvSpPr>
            <a:spLocks noGrp="1"/>
          </p:cNvSpPr>
          <p:nvPr>
            <p:ph type="body" sz="quarter" idx="21" hasCustomPrompt="1"/>
          </p:nvPr>
        </p:nvSpPr>
        <p:spPr>
          <a:xfrm>
            <a:off x="613232" y="3942649"/>
            <a:ext cx="3283200" cy="486000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27" name="Объект 3"/>
          <p:cNvSpPr>
            <a:spLocks noGrp="1"/>
          </p:cNvSpPr>
          <p:nvPr>
            <p:ph sz="quarter" idx="22"/>
          </p:nvPr>
        </p:nvSpPr>
        <p:spPr>
          <a:xfrm>
            <a:off x="4459712" y="4562475"/>
            <a:ext cx="3283200" cy="1820863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8" name="Текст 4"/>
          <p:cNvSpPr>
            <a:spLocks noGrp="1"/>
          </p:cNvSpPr>
          <p:nvPr>
            <p:ph type="body" sz="quarter" idx="23" hasCustomPrompt="1"/>
          </p:nvPr>
        </p:nvSpPr>
        <p:spPr>
          <a:xfrm>
            <a:off x="4459712" y="3942649"/>
            <a:ext cx="3283200" cy="486000"/>
          </a:xfrm>
          <a:prstGeom prst="rect">
            <a:avLst/>
          </a:prstGeom>
        </p:spPr>
        <p:txBody>
          <a:bodyPr lIns="0" rIns="0" anchor="t" anchorCtr="0"/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412922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64">
          <p15:clr>
            <a:srgbClr val="FBAE40"/>
          </p15:clr>
        </p15:guide>
        <p15:guide id="2" pos="2797">
          <p15:clr>
            <a:srgbClr val="FBAE40"/>
          </p15:clr>
        </p15:guide>
        <p15:guide id="3" pos="4890">
          <p15:clr>
            <a:srgbClr val="FBAE40"/>
          </p15:clr>
        </p15:guide>
        <p15:guide id="4" pos="523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483">
          <p15:clr>
            <a:srgbClr val="FBAE40"/>
          </p15:clr>
        </p15:guide>
        <p15:guide id="7" orient="horz" pos="2797">
          <p15:clr>
            <a:srgbClr val="FBAE40"/>
          </p15:clr>
        </p15:guide>
        <p15:guide id="8" orient="horz" pos="287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а объекта" type="twoObj">
  <p:cSld name="TWO_OBJECTS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" name="Google Shape;32;p5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" name="Google Shape;33;p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руговые заполнители под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600075" y="976313"/>
            <a:ext cx="2020639" cy="2020639"/>
          </a:xfrm>
          <a:prstGeom prst="ellipse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1"/>
          </p:nvPr>
        </p:nvSpPr>
        <p:spPr>
          <a:xfrm>
            <a:off x="4440238" y="976313"/>
            <a:ext cx="2020639" cy="2020639"/>
          </a:xfrm>
          <a:prstGeom prst="ellipse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2"/>
          </p:nvPr>
        </p:nvSpPr>
        <p:spPr>
          <a:xfrm>
            <a:off x="8310563" y="976313"/>
            <a:ext cx="2020639" cy="2020639"/>
          </a:xfrm>
          <a:prstGeom prst="ellipse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6"/>
          </p:nvPr>
        </p:nvSpPr>
        <p:spPr>
          <a:xfrm>
            <a:off x="600075" y="3110601"/>
            <a:ext cx="3311525" cy="432048"/>
          </a:xfrm>
        </p:spPr>
        <p:txBody>
          <a:bodyPr lIns="0" rIns="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Текст 6"/>
          <p:cNvSpPr>
            <a:spLocks noGrp="1"/>
          </p:cNvSpPr>
          <p:nvPr>
            <p:ph type="body" sz="quarter" idx="17"/>
          </p:nvPr>
        </p:nvSpPr>
        <p:spPr>
          <a:xfrm>
            <a:off x="4442961" y="3110601"/>
            <a:ext cx="3311525" cy="432048"/>
          </a:xfrm>
        </p:spPr>
        <p:txBody>
          <a:bodyPr lIns="0" rIns="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Текст 6"/>
          <p:cNvSpPr>
            <a:spLocks noGrp="1"/>
          </p:cNvSpPr>
          <p:nvPr>
            <p:ph type="body" sz="quarter" idx="18"/>
          </p:nvPr>
        </p:nvSpPr>
        <p:spPr>
          <a:xfrm>
            <a:off x="8314782" y="3110601"/>
            <a:ext cx="3311525" cy="432048"/>
          </a:xfrm>
        </p:spPr>
        <p:txBody>
          <a:bodyPr lIns="0" rIns="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1" name="Рисунок 3"/>
          <p:cNvSpPr>
            <a:spLocks noGrp="1"/>
          </p:cNvSpPr>
          <p:nvPr>
            <p:ph type="pic" sz="quarter" idx="19"/>
          </p:nvPr>
        </p:nvSpPr>
        <p:spPr>
          <a:xfrm>
            <a:off x="600075" y="3815651"/>
            <a:ext cx="2020639" cy="2020639"/>
          </a:xfrm>
          <a:prstGeom prst="ellipse">
            <a:avLst/>
          </a:prstGeom>
        </p:spPr>
        <p:txBody>
          <a:bodyPr lIns="0" rIns="0"/>
          <a:lstStyle/>
          <a:p>
            <a:r>
              <a:rPr lang="ru-RU"/>
              <a:t>Вставка рисунка</a:t>
            </a:r>
          </a:p>
        </p:txBody>
      </p:sp>
      <p:sp>
        <p:nvSpPr>
          <p:cNvPr id="32" name="Рисунок 3"/>
          <p:cNvSpPr>
            <a:spLocks noGrp="1"/>
          </p:cNvSpPr>
          <p:nvPr>
            <p:ph type="pic" sz="quarter" idx="20"/>
          </p:nvPr>
        </p:nvSpPr>
        <p:spPr>
          <a:xfrm>
            <a:off x="4440238" y="3815651"/>
            <a:ext cx="2020639" cy="2020639"/>
          </a:xfrm>
          <a:prstGeom prst="ellipse">
            <a:avLst/>
          </a:prstGeom>
        </p:spPr>
        <p:txBody>
          <a:bodyPr lIns="0" rIns="0"/>
          <a:lstStyle/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33" name="Рисунок 3"/>
          <p:cNvSpPr>
            <a:spLocks noGrp="1"/>
          </p:cNvSpPr>
          <p:nvPr>
            <p:ph type="pic" sz="quarter" idx="21"/>
          </p:nvPr>
        </p:nvSpPr>
        <p:spPr>
          <a:xfrm>
            <a:off x="8310563" y="3815651"/>
            <a:ext cx="2020639" cy="2020639"/>
          </a:xfrm>
          <a:prstGeom prst="ellipse">
            <a:avLst/>
          </a:prstGeom>
        </p:spPr>
        <p:txBody>
          <a:bodyPr lIns="0" rIns="0"/>
          <a:lstStyle/>
          <a:p>
            <a:r>
              <a:rPr lang="ru-RU"/>
              <a:t>Вставка рисунка</a:t>
            </a:r>
          </a:p>
        </p:txBody>
      </p:sp>
      <p:sp>
        <p:nvSpPr>
          <p:cNvPr id="34" name="Текст 6"/>
          <p:cNvSpPr>
            <a:spLocks noGrp="1"/>
          </p:cNvSpPr>
          <p:nvPr>
            <p:ph type="body" sz="quarter" idx="22"/>
          </p:nvPr>
        </p:nvSpPr>
        <p:spPr>
          <a:xfrm>
            <a:off x="600075" y="5949939"/>
            <a:ext cx="3311525" cy="432048"/>
          </a:xfrm>
        </p:spPr>
        <p:txBody>
          <a:bodyPr lIns="0" rIns="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5" name="Текст 6"/>
          <p:cNvSpPr>
            <a:spLocks noGrp="1"/>
          </p:cNvSpPr>
          <p:nvPr>
            <p:ph type="body" sz="quarter" idx="23"/>
          </p:nvPr>
        </p:nvSpPr>
        <p:spPr>
          <a:xfrm>
            <a:off x="4442961" y="5949939"/>
            <a:ext cx="3311525" cy="432048"/>
          </a:xfrm>
        </p:spPr>
        <p:txBody>
          <a:bodyPr lIns="0" rIns="0"/>
          <a:lstStyle/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6" name="Текст 6"/>
          <p:cNvSpPr>
            <a:spLocks noGrp="1"/>
          </p:cNvSpPr>
          <p:nvPr>
            <p:ph type="body" sz="quarter" idx="24"/>
          </p:nvPr>
        </p:nvSpPr>
        <p:spPr>
          <a:xfrm>
            <a:off x="8314782" y="5949939"/>
            <a:ext cx="3311525" cy="432048"/>
          </a:xfrm>
        </p:spPr>
        <p:txBody>
          <a:bodyPr lIns="0" rIns="0"/>
          <a:lstStyle/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90163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3678">
          <p15:clr>
            <a:srgbClr val="FBAE40"/>
          </p15:clr>
        </p15:guide>
        <p15:guide id="1" pos="2464">
          <p15:clr>
            <a:srgbClr val="FBAE40"/>
          </p15:clr>
        </p15:guide>
        <p15:guide id="2" pos="2797">
          <p15:clr>
            <a:srgbClr val="FBAE40"/>
          </p15:clr>
        </p15:guide>
        <p15:guide id="3" pos="4890">
          <p15:clr>
            <a:srgbClr val="FBAE40"/>
          </p15:clr>
        </p15:guide>
        <p15:guide id="4" pos="5235">
          <p15:clr>
            <a:srgbClr val="FBAE40"/>
          </p15:clr>
        </p15:guide>
        <p15:guide id="5" orient="horz" pos="1950">
          <p15:clr>
            <a:srgbClr val="FBAE40"/>
          </p15:clr>
        </p15:guide>
        <p15:guide id="6" orient="horz" pos="2235">
          <p15:clr>
            <a:srgbClr val="FBAE40"/>
          </p15:clr>
        </p15:guide>
        <p15:guide id="7" orient="horz" pos="2404">
          <p15:clr>
            <a:srgbClr val="FBAE40"/>
          </p15:clr>
        </p15:guide>
        <p15:guide id="8" orient="horz" pos="374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руговые заполнители под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600075" y="976313"/>
            <a:ext cx="2020639" cy="2020639"/>
          </a:xfrm>
          <a:prstGeom prst="ellipse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1"/>
          </p:nvPr>
        </p:nvSpPr>
        <p:spPr>
          <a:xfrm>
            <a:off x="4440238" y="976313"/>
            <a:ext cx="2020639" cy="2020639"/>
          </a:xfrm>
          <a:prstGeom prst="ellipse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2"/>
          </p:nvPr>
        </p:nvSpPr>
        <p:spPr>
          <a:xfrm>
            <a:off x="8310563" y="976313"/>
            <a:ext cx="2020639" cy="2020639"/>
          </a:xfrm>
          <a:prstGeom prst="ellipse">
            <a:avLst/>
          </a:prstGeo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6"/>
          </p:nvPr>
        </p:nvSpPr>
        <p:spPr>
          <a:xfrm>
            <a:off x="600075" y="3110601"/>
            <a:ext cx="3311525" cy="432048"/>
          </a:xfrm>
        </p:spPr>
        <p:txBody>
          <a:bodyPr lIns="0" rIns="0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Текст 6"/>
          <p:cNvSpPr>
            <a:spLocks noGrp="1"/>
          </p:cNvSpPr>
          <p:nvPr>
            <p:ph type="body" sz="quarter" idx="17"/>
          </p:nvPr>
        </p:nvSpPr>
        <p:spPr>
          <a:xfrm>
            <a:off x="4442961" y="3110601"/>
            <a:ext cx="3311525" cy="432048"/>
          </a:xfrm>
        </p:spPr>
        <p:txBody>
          <a:bodyPr lIns="0" rIns="0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Текст 6"/>
          <p:cNvSpPr>
            <a:spLocks noGrp="1"/>
          </p:cNvSpPr>
          <p:nvPr>
            <p:ph type="body" sz="quarter" idx="18"/>
          </p:nvPr>
        </p:nvSpPr>
        <p:spPr>
          <a:xfrm>
            <a:off x="8314782" y="3110601"/>
            <a:ext cx="3311525" cy="432048"/>
          </a:xfrm>
        </p:spPr>
        <p:txBody>
          <a:bodyPr lIns="0" rIns="0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1" name="Рисунок 3"/>
          <p:cNvSpPr>
            <a:spLocks noGrp="1"/>
          </p:cNvSpPr>
          <p:nvPr>
            <p:ph type="pic" sz="quarter" idx="19"/>
          </p:nvPr>
        </p:nvSpPr>
        <p:spPr>
          <a:xfrm>
            <a:off x="2520156" y="3815651"/>
            <a:ext cx="2020639" cy="2020639"/>
          </a:xfrm>
          <a:prstGeom prst="ellipse">
            <a:avLst/>
          </a:prstGeom>
        </p:spPr>
        <p:txBody>
          <a:bodyPr lIns="0" rIns="0"/>
          <a:lstStyle/>
          <a:p>
            <a:r>
              <a:rPr lang="ru-RU"/>
              <a:t>Вставка рисунка</a:t>
            </a:r>
          </a:p>
        </p:txBody>
      </p:sp>
      <p:sp>
        <p:nvSpPr>
          <p:cNvPr id="32" name="Рисунок 3"/>
          <p:cNvSpPr>
            <a:spLocks noGrp="1"/>
          </p:cNvSpPr>
          <p:nvPr>
            <p:ph type="pic" sz="quarter" idx="20"/>
          </p:nvPr>
        </p:nvSpPr>
        <p:spPr>
          <a:xfrm>
            <a:off x="6375400" y="3815651"/>
            <a:ext cx="2020639" cy="2020639"/>
          </a:xfrm>
          <a:prstGeom prst="ellipse">
            <a:avLst/>
          </a:prstGeom>
        </p:spPr>
        <p:txBody>
          <a:bodyPr lIns="0" rIns="0"/>
          <a:lstStyle/>
          <a:p>
            <a:r>
              <a:rPr lang="ru-RU"/>
              <a:t>Вставка рисунка</a:t>
            </a:r>
            <a:endParaRPr lang="ru-RU" dirty="0"/>
          </a:p>
        </p:txBody>
      </p:sp>
      <p:sp>
        <p:nvSpPr>
          <p:cNvPr id="34" name="Текст 6"/>
          <p:cNvSpPr>
            <a:spLocks noGrp="1"/>
          </p:cNvSpPr>
          <p:nvPr>
            <p:ph type="body" sz="quarter" idx="22"/>
          </p:nvPr>
        </p:nvSpPr>
        <p:spPr>
          <a:xfrm>
            <a:off x="2520156" y="5949939"/>
            <a:ext cx="3311525" cy="432048"/>
          </a:xfrm>
        </p:spPr>
        <p:txBody>
          <a:bodyPr lIns="0" rIns="0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5" name="Текст 6"/>
          <p:cNvSpPr>
            <a:spLocks noGrp="1"/>
          </p:cNvSpPr>
          <p:nvPr>
            <p:ph type="body" sz="quarter" idx="23"/>
          </p:nvPr>
        </p:nvSpPr>
        <p:spPr>
          <a:xfrm>
            <a:off x="6375400" y="5949939"/>
            <a:ext cx="3311525" cy="432048"/>
          </a:xfrm>
        </p:spPr>
        <p:txBody>
          <a:bodyPr lIns="0" rIns="0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963238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64">
          <p15:clr>
            <a:srgbClr val="FBAE40"/>
          </p15:clr>
        </p15:guide>
        <p15:guide id="2" pos="2797">
          <p15:clr>
            <a:srgbClr val="FBAE40"/>
          </p15:clr>
        </p15:guide>
        <p15:guide id="3" pos="4890">
          <p15:clr>
            <a:srgbClr val="FBAE40"/>
          </p15:clr>
        </p15:guide>
        <p15:guide id="4" pos="5235">
          <p15:clr>
            <a:srgbClr val="FBAE40"/>
          </p15:clr>
        </p15:guide>
        <p15:guide id="5" orient="horz" pos="1950">
          <p15:clr>
            <a:srgbClr val="FBAE40"/>
          </p15:clr>
        </p15:guide>
        <p15:guide id="6" orient="horz" pos="2235">
          <p15:clr>
            <a:srgbClr val="FBAE40"/>
          </p15:clr>
        </p15:guide>
        <p15:guide id="7" orient="horz" pos="2404">
          <p15:clr>
            <a:srgbClr val="FBAE40"/>
          </p15:clr>
        </p15:guide>
        <p15:guide id="8" orient="horz" pos="3748">
          <p15:clr>
            <a:srgbClr val="FBAE40"/>
          </p15:clr>
        </p15:guide>
        <p15:guide id="9" orient="horz" pos="367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Подзаголовок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4"/>
          </p:nvPr>
        </p:nvSpPr>
        <p:spPr>
          <a:xfrm>
            <a:off x="600076" y="981076"/>
            <a:ext cx="11002962" cy="2447924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7" name="Объект 3"/>
          <p:cNvSpPr>
            <a:spLocks noGrp="1"/>
          </p:cNvSpPr>
          <p:nvPr>
            <p:ph sz="quarter" idx="25"/>
          </p:nvPr>
        </p:nvSpPr>
        <p:spPr>
          <a:xfrm>
            <a:off x="9272904" y="4562475"/>
            <a:ext cx="2323628" cy="1812925"/>
          </a:xfrm>
          <a:prstGeom prst="rect">
            <a:avLst/>
          </a:prstGeom>
        </p:spPr>
        <p:txBody>
          <a:bodyPr lIns="0" r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/>
            </a:lvl1pPr>
            <a:lvl2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/>
            </a:lvl2pPr>
            <a:lvl3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8" name="Объект 3"/>
          <p:cNvSpPr>
            <a:spLocks noGrp="1"/>
          </p:cNvSpPr>
          <p:nvPr>
            <p:ph sz="quarter" idx="26"/>
          </p:nvPr>
        </p:nvSpPr>
        <p:spPr>
          <a:xfrm>
            <a:off x="6388099" y="4562475"/>
            <a:ext cx="2346325" cy="1812925"/>
          </a:xfrm>
          <a:prstGeom prst="rect">
            <a:avLst/>
          </a:prstGeom>
        </p:spPr>
        <p:txBody>
          <a:bodyPr lIns="0" r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/>
            </a:lvl1pPr>
            <a:lvl2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/>
            </a:lvl2pPr>
            <a:lvl3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9" name="Объект 3"/>
          <p:cNvSpPr>
            <a:spLocks noGrp="1"/>
          </p:cNvSpPr>
          <p:nvPr>
            <p:ph sz="quarter" idx="27"/>
          </p:nvPr>
        </p:nvSpPr>
        <p:spPr>
          <a:xfrm>
            <a:off x="3484880" y="4562475"/>
            <a:ext cx="2323628" cy="1812925"/>
          </a:xfrm>
          <a:prstGeom prst="rect">
            <a:avLst/>
          </a:prstGeom>
        </p:spPr>
        <p:txBody>
          <a:bodyPr lIns="0" r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/>
            </a:lvl1pPr>
            <a:lvl2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/>
            </a:lvl2pPr>
            <a:lvl3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30" name="Объект 3"/>
          <p:cNvSpPr>
            <a:spLocks noGrp="1"/>
          </p:cNvSpPr>
          <p:nvPr>
            <p:ph sz="quarter" idx="28"/>
          </p:nvPr>
        </p:nvSpPr>
        <p:spPr>
          <a:xfrm>
            <a:off x="600075" y="4562475"/>
            <a:ext cx="2346325" cy="1812925"/>
          </a:xfrm>
          <a:prstGeom prst="rect">
            <a:avLst/>
          </a:prstGeom>
        </p:spPr>
        <p:txBody>
          <a:bodyPr lIns="0" rIns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/>
            </a:lvl1pPr>
            <a:lvl2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400"/>
            </a:lvl2pPr>
            <a:lvl3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31" name="Текст 4"/>
          <p:cNvSpPr>
            <a:spLocks noGrp="1"/>
          </p:cNvSpPr>
          <p:nvPr>
            <p:ph type="body" sz="quarter" idx="17" hasCustomPrompt="1"/>
          </p:nvPr>
        </p:nvSpPr>
        <p:spPr>
          <a:xfrm>
            <a:off x="9280688" y="3940952"/>
            <a:ext cx="2318400" cy="486000"/>
          </a:xfrm>
          <a:prstGeom prst="rect">
            <a:avLst/>
          </a:prstGeom>
        </p:spPr>
        <p:txBody>
          <a:bodyPr lIns="0" rIns="0" anchor="t" anchorCtr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32" name="Текст 4"/>
          <p:cNvSpPr>
            <a:spLocks noGrp="1"/>
          </p:cNvSpPr>
          <p:nvPr>
            <p:ph type="body" sz="quarter" idx="29" hasCustomPrompt="1"/>
          </p:nvPr>
        </p:nvSpPr>
        <p:spPr>
          <a:xfrm>
            <a:off x="6398258" y="3940952"/>
            <a:ext cx="2339341" cy="486000"/>
          </a:xfrm>
          <a:prstGeom prst="rect">
            <a:avLst/>
          </a:prstGeom>
        </p:spPr>
        <p:txBody>
          <a:bodyPr lIns="0" rIns="0" anchor="t" anchorCtr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33" name="Текст 4"/>
          <p:cNvSpPr>
            <a:spLocks noGrp="1"/>
          </p:cNvSpPr>
          <p:nvPr>
            <p:ph type="body" sz="quarter" idx="30" hasCustomPrompt="1"/>
          </p:nvPr>
        </p:nvSpPr>
        <p:spPr>
          <a:xfrm>
            <a:off x="3492664" y="3940952"/>
            <a:ext cx="2315999" cy="486000"/>
          </a:xfrm>
          <a:prstGeom prst="rect">
            <a:avLst/>
          </a:prstGeom>
        </p:spPr>
        <p:txBody>
          <a:bodyPr lIns="0" rIns="0" anchor="t" anchorCtr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  <p:sp>
        <p:nvSpPr>
          <p:cNvPr id="34" name="Текст 4"/>
          <p:cNvSpPr>
            <a:spLocks noGrp="1"/>
          </p:cNvSpPr>
          <p:nvPr>
            <p:ph type="body" sz="quarter" idx="31" hasCustomPrompt="1"/>
          </p:nvPr>
        </p:nvSpPr>
        <p:spPr>
          <a:xfrm>
            <a:off x="610235" y="3940952"/>
            <a:ext cx="2345690" cy="486000"/>
          </a:xfrm>
          <a:prstGeom prst="rect">
            <a:avLst/>
          </a:prstGeom>
        </p:spPr>
        <p:txBody>
          <a:bodyPr lIns="0" rIns="0" anchor="t" anchorCtr="0"/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32136047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62">
          <p15:clr>
            <a:srgbClr val="FBAE40"/>
          </p15:clr>
        </p15:guide>
        <p15:guide id="2" pos="2195">
          <p15:clr>
            <a:srgbClr val="FBAE40"/>
          </p15:clr>
        </p15:guide>
        <p15:guide id="3" pos="3659">
          <p15:clr>
            <a:srgbClr val="FBAE40"/>
          </p15:clr>
        </p15:guide>
        <p15:guide id="4" pos="4021">
          <p15:clr>
            <a:srgbClr val="FBAE40"/>
          </p15:clr>
        </p15:guide>
        <p15:guide id="5" pos="5504">
          <p15:clr>
            <a:srgbClr val="FBAE40"/>
          </p15:clr>
        </p15:guide>
        <p15:guide id="6" pos="5837">
          <p15:clr>
            <a:srgbClr val="FBAE40"/>
          </p15:clr>
        </p15:guide>
        <p15:guide id="7" orient="horz" pos="2478">
          <p15:clr>
            <a:srgbClr val="FBAE40"/>
          </p15:clr>
        </p15:guide>
        <p15:guide id="8" orient="horz" pos="2160">
          <p15:clr>
            <a:srgbClr val="FBAE40"/>
          </p15:clr>
        </p15:guide>
        <p15:guide id="9" orient="horz" pos="2795">
          <p15:clr>
            <a:srgbClr val="FBAE40"/>
          </p15:clr>
        </p15:guide>
        <p15:guide id="10" orient="horz" pos="2874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с подзаголовками горизонта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600075" y="3933825"/>
            <a:ext cx="11002963" cy="503238"/>
          </a:xfrm>
          <a:prstGeom prst="rect">
            <a:avLst/>
          </a:prstGeom>
        </p:spPr>
        <p:txBody>
          <a:bodyPr lIns="0" rIns="0" anchor="t" anchorCtr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600075" y="4562475"/>
            <a:ext cx="11002963" cy="1808693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spcBef>
                <a:spcPts val="800"/>
              </a:spcBef>
              <a:buFont typeface="Wingdings" pitchFamily="2" charset="2"/>
              <a:defRPr sz="14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7" name="Текст 5"/>
          <p:cNvSpPr>
            <a:spLocks noGrp="1"/>
          </p:cNvSpPr>
          <p:nvPr>
            <p:ph type="body" sz="quarter" idx="31" hasCustomPrompt="1"/>
          </p:nvPr>
        </p:nvSpPr>
        <p:spPr>
          <a:xfrm>
            <a:off x="600075" y="975360"/>
            <a:ext cx="11002963" cy="505112"/>
          </a:xfrm>
          <a:prstGeom prst="rect">
            <a:avLst/>
          </a:prstGeom>
        </p:spPr>
        <p:txBody>
          <a:bodyPr lIns="0" rIns="0" anchor="t" anchorCtr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8" name="Объект 32"/>
          <p:cNvSpPr>
            <a:spLocks noGrp="1"/>
          </p:cNvSpPr>
          <p:nvPr>
            <p:ph sz="quarter" idx="32" hasCustomPrompt="1"/>
          </p:nvPr>
        </p:nvSpPr>
        <p:spPr>
          <a:xfrm>
            <a:off x="600075" y="1616075"/>
            <a:ext cx="11002963" cy="1812926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spcBef>
                <a:spcPts val="800"/>
              </a:spcBef>
              <a:buFont typeface="Wingdings" pitchFamily="2" charset="2"/>
              <a:defRPr sz="14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</p:spTree>
    <p:extLst>
      <p:ext uri="{BB962C8B-B14F-4D97-AF65-F5344CB8AC3E}">
        <p14:creationId xmlns:p14="http://schemas.microsoft.com/office/powerpoint/2010/main" val="5083685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2478">
          <p15:clr>
            <a:srgbClr val="FBAE40"/>
          </p15:clr>
        </p15:guide>
        <p15:guide id="3" orient="horz" pos="2795">
          <p15:clr>
            <a:srgbClr val="FBAE40"/>
          </p15:clr>
        </p15:guide>
        <p15:guide id="4" orient="horz" pos="2874">
          <p15:clr>
            <a:srgbClr val="FBAE40"/>
          </p15:clr>
        </p15:guide>
        <p15:guide id="5" orient="horz" pos="941">
          <p15:clr>
            <a:srgbClr val="FBAE40"/>
          </p15:clr>
        </p15:guide>
        <p15:guide id="6" orient="horz" pos="1018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объекта: дв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600075" y="3921124"/>
            <a:ext cx="11002963" cy="2454275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6383338" y="981075"/>
            <a:ext cx="5219700" cy="2442845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9" name="Объект 3"/>
          <p:cNvSpPr>
            <a:spLocks noGrp="1"/>
          </p:cNvSpPr>
          <p:nvPr>
            <p:ph sz="quarter" idx="17"/>
          </p:nvPr>
        </p:nvSpPr>
        <p:spPr>
          <a:xfrm>
            <a:off x="600076" y="981075"/>
            <a:ext cx="5208588" cy="2442845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05064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21">
          <p15:clr>
            <a:srgbClr val="FBAE40"/>
          </p15:clr>
        </p15:guide>
        <p15:guide id="2" orient="horz" pos="2157">
          <p15:clr>
            <a:srgbClr val="FBAE40"/>
          </p15:clr>
        </p15:guide>
        <p15:guide id="3" orient="horz" pos="2470">
          <p15:clr>
            <a:srgbClr val="FBAE40"/>
          </p15:clr>
        </p15:guide>
        <p15:guide id="4" pos="3659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объекта: дв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383338" y="984847"/>
            <a:ext cx="5219700" cy="2444153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spcBef>
                <a:spcPts val="800"/>
              </a:spcBef>
              <a:buFont typeface="Wingdings" pitchFamily="2" charset="2"/>
              <a:defRPr sz="14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7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383338" y="3933824"/>
            <a:ext cx="5219700" cy="24466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800"/>
              </a:spcBef>
              <a:buFont typeface="Wingdings" pitchFamily="2" charset="2"/>
              <a:defRPr lang="ru-RU" sz="1400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2"/>
          </p:nvPr>
        </p:nvSpPr>
        <p:spPr>
          <a:xfrm>
            <a:off x="600076" y="981075"/>
            <a:ext cx="5208588" cy="5399405"/>
          </a:xfrm>
          <a:prstGeom prst="rect">
            <a:avLst/>
          </a:prstGeom>
        </p:spPr>
        <p:txBody>
          <a:bodyPr lIns="0" rIns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553370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59">
          <p15:clr>
            <a:srgbClr val="FBAE40"/>
          </p15:clr>
        </p15:guide>
        <p15:guide id="2" pos="4021">
          <p15:clr>
            <a:srgbClr val="FBAE40"/>
          </p15:clr>
        </p15:guide>
        <p15:guide id="3" orient="horz" pos="2160">
          <p15:clr>
            <a:srgbClr val="FBAE40"/>
          </p15:clr>
        </p15:guide>
        <p15:guide id="4" orient="horz" pos="2478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11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00075" y="986473"/>
            <a:ext cx="5208588" cy="2444153"/>
          </a:xfrm>
          <a:prstGeom prst="rect">
            <a:avLst/>
          </a:prstGeom>
        </p:spPr>
        <p:txBody>
          <a:bodyPr lIns="0" rIns="0">
            <a:noAutofit/>
          </a:bodyPr>
          <a:lstStyle>
            <a:lvl1pPr>
              <a:spcBef>
                <a:spcPts val="800"/>
              </a:spcBef>
              <a:buFont typeface="Wingdings" pitchFamily="2" charset="2"/>
              <a:defRPr sz="14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2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391388" y="3935450"/>
            <a:ext cx="5208588" cy="24466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800"/>
              </a:spcBef>
              <a:buFont typeface="Wingdings" pitchFamily="2" charset="2"/>
              <a:defRPr lang="ru-RU" sz="1400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3" name="Объект 40"/>
          <p:cNvSpPr>
            <a:spLocks noGrp="1"/>
          </p:cNvSpPr>
          <p:nvPr>
            <p:ph sz="quarter" idx="35" hasCustomPrompt="1"/>
          </p:nvPr>
        </p:nvSpPr>
        <p:spPr>
          <a:xfrm>
            <a:off x="600075" y="3935450"/>
            <a:ext cx="5208588" cy="24466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800"/>
              </a:spcBef>
              <a:buFont typeface="Wingdings" pitchFamily="2" charset="2"/>
              <a:defRPr lang="ru-RU" sz="1400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Объект 40"/>
          <p:cNvSpPr>
            <a:spLocks noGrp="1"/>
          </p:cNvSpPr>
          <p:nvPr>
            <p:ph sz="quarter" idx="36" hasCustomPrompt="1"/>
          </p:nvPr>
        </p:nvSpPr>
        <p:spPr>
          <a:xfrm>
            <a:off x="6389415" y="998220"/>
            <a:ext cx="5208588" cy="24466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800"/>
              </a:spcBef>
              <a:buFont typeface="Wingdings" pitchFamily="2" charset="2"/>
              <a:defRPr lang="ru-RU" sz="1400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</p:spTree>
    <p:extLst>
      <p:ext uri="{BB962C8B-B14F-4D97-AF65-F5344CB8AC3E}">
        <p14:creationId xmlns:p14="http://schemas.microsoft.com/office/powerpoint/2010/main" val="18059741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21">
          <p15:clr>
            <a:srgbClr val="FBAE40"/>
          </p15:clr>
        </p15:guide>
        <p15:guide id="2" orient="horz" pos="2170">
          <p15:clr>
            <a:srgbClr val="FBAE40"/>
          </p15:clr>
        </p15:guide>
        <p15:guide id="3" orient="horz" pos="2477">
          <p15:clr>
            <a:srgbClr val="FBAE40"/>
          </p15:clr>
        </p15:guide>
        <p15:guide id="4" pos="365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ПРИЛОЖЕНИЕ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0"/>
          </p:nvPr>
        </p:nvSpPr>
        <p:spPr>
          <a:xfrm>
            <a:off x="600074" y="981075"/>
            <a:ext cx="11002645" cy="5394325"/>
          </a:xfrm>
        </p:spPr>
        <p:txBody>
          <a:bodyPr lIns="0" r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862930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и объект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Объект 4"/>
          <p:cNvSpPr>
            <a:spLocks noGrp="1"/>
          </p:cNvSpPr>
          <p:nvPr>
            <p:ph sz="quarter" idx="10"/>
          </p:nvPr>
        </p:nvSpPr>
        <p:spPr>
          <a:xfrm>
            <a:off x="599440" y="975360"/>
            <a:ext cx="11003280" cy="539686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 marL="180975" indent="-180975">
              <a:buClr>
                <a:schemeClr val="bg1"/>
              </a:buClr>
              <a:defRPr lang="ru-RU" sz="1400" kern="1200" dirty="0" smtClean="0">
                <a:solidFill>
                  <a:schemeClr val="bg1"/>
                </a:solidFill>
                <a:latin typeface="+mn-lt"/>
                <a:ea typeface="PF Din Text Cond Pro" charset="0"/>
                <a:cs typeface="PF Din Text Cond Pro" charset="0"/>
              </a:defRPr>
            </a:lvl2pPr>
            <a:lvl3pPr marL="350838" indent="-169863">
              <a:buClr>
                <a:schemeClr val="bg1"/>
              </a:buClr>
              <a:defRPr lang="ru-RU" sz="1200" kern="1200" dirty="0" smtClean="0">
                <a:solidFill>
                  <a:schemeClr val="bg1"/>
                </a:solidFill>
                <a:latin typeface="+mn-lt"/>
                <a:ea typeface="PF Din Text Cond Pro" charset="0"/>
                <a:cs typeface="PF Din Text Cond Pro" charset="0"/>
              </a:defRPr>
            </a:lvl3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grpSp>
        <p:nvGrpSpPr>
          <p:cNvPr id="23" name="Группа 22"/>
          <p:cNvGrpSpPr/>
          <p:nvPr userDrawn="1"/>
        </p:nvGrpSpPr>
        <p:grpSpPr>
          <a:xfrm>
            <a:off x="613117" y="323850"/>
            <a:ext cx="1138551" cy="321285"/>
            <a:chOff x="0" y="687388"/>
            <a:chExt cx="1440180" cy="406401"/>
          </a:xfrm>
          <a:solidFill>
            <a:schemeClr val="bg1"/>
          </a:solidFill>
        </p:grpSpPr>
        <p:grpSp>
          <p:nvGrpSpPr>
            <p:cNvPr id="24" name="Группа 23"/>
            <p:cNvGrpSpPr/>
            <p:nvPr userDrawn="1"/>
          </p:nvGrpSpPr>
          <p:grpSpPr>
            <a:xfrm>
              <a:off x="493068" y="808707"/>
              <a:ext cx="947112" cy="176599"/>
              <a:chOff x="614988" y="259248"/>
              <a:chExt cx="1041891" cy="194272"/>
            </a:xfrm>
            <a:grpFill/>
          </p:grpSpPr>
          <p:sp>
            <p:nvSpPr>
              <p:cNvPr id="33" name="Freeform 5"/>
              <p:cNvSpPr>
                <a:spLocks noEditPoints="1"/>
              </p:cNvSpPr>
              <p:nvPr/>
            </p:nvSpPr>
            <p:spPr bwMode="auto">
              <a:xfrm>
                <a:off x="614988" y="260485"/>
                <a:ext cx="122502" cy="190560"/>
              </a:xfrm>
              <a:custGeom>
                <a:avLst/>
                <a:gdLst>
                  <a:gd name="T0" fmla="*/ 723 w 1181"/>
                  <a:gd name="T1" fmla="*/ 773 h 1846"/>
                  <a:gd name="T2" fmla="*/ 688 w 1181"/>
                  <a:gd name="T3" fmla="*/ 793 h 1846"/>
                  <a:gd name="T4" fmla="*/ 650 w 1181"/>
                  <a:gd name="T5" fmla="*/ 806 h 1846"/>
                  <a:gd name="T6" fmla="*/ 611 w 1181"/>
                  <a:gd name="T7" fmla="*/ 813 h 1846"/>
                  <a:gd name="T8" fmla="*/ 385 w 1181"/>
                  <a:gd name="T9" fmla="*/ 813 h 1846"/>
                  <a:gd name="T10" fmla="*/ 587 w 1181"/>
                  <a:gd name="T11" fmla="*/ 355 h 1846"/>
                  <a:gd name="T12" fmla="*/ 635 w 1181"/>
                  <a:gd name="T13" fmla="*/ 358 h 1846"/>
                  <a:gd name="T14" fmla="*/ 677 w 1181"/>
                  <a:gd name="T15" fmla="*/ 368 h 1846"/>
                  <a:gd name="T16" fmla="*/ 696 w 1181"/>
                  <a:gd name="T17" fmla="*/ 375 h 1846"/>
                  <a:gd name="T18" fmla="*/ 714 w 1181"/>
                  <a:gd name="T19" fmla="*/ 384 h 1846"/>
                  <a:gd name="T20" fmla="*/ 731 w 1181"/>
                  <a:gd name="T21" fmla="*/ 395 h 1846"/>
                  <a:gd name="T22" fmla="*/ 746 w 1181"/>
                  <a:gd name="T23" fmla="*/ 407 h 1846"/>
                  <a:gd name="T24" fmla="*/ 759 w 1181"/>
                  <a:gd name="T25" fmla="*/ 421 h 1846"/>
                  <a:gd name="T26" fmla="*/ 772 w 1181"/>
                  <a:gd name="T27" fmla="*/ 437 h 1846"/>
                  <a:gd name="T28" fmla="*/ 782 w 1181"/>
                  <a:gd name="T29" fmla="*/ 455 h 1846"/>
                  <a:gd name="T30" fmla="*/ 790 w 1181"/>
                  <a:gd name="T31" fmla="*/ 476 h 1846"/>
                  <a:gd name="T32" fmla="*/ 797 w 1181"/>
                  <a:gd name="T33" fmla="*/ 498 h 1846"/>
                  <a:gd name="T34" fmla="*/ 801 w 1181"/>
                  <a:gd name="T35" fmla="*/ 522 h 1846"/>
                  <a:gd name="T36" fmla="*/ 805 w 1181"/>
                  <a:gd name="T37" fmla="*/ 578 h 1846"/>
                  <a:gd name="T38" fmla="*/ 804 w 1181"/>
                  <a:gd name="T39" fmla="*/ 610 h 1846"/>
                  <a:gd name="T40" fmla="*/ 801 w 1181"/>
                  <a:gd name="T41" fmla="*/ 639 h 1846"/>
                  <a:gd name="T42" fmla="*/ 796 w 1181"/>
                  <a:gd name="T43" fmla="*/ 665 h 1846"/>
                  <a:gd name="T44" fmla="*/ 789 w 1181"/>
                  <a:gd name="T45" fmla="*/ 689 h 1846"/>
                  <a:gd name="T46" fmla="*/ 780 w 1181"/>
                  <a:gd name="T47" fmla="*/ 710 h 1846"/>
                  <a:gd name="T48" fmla="*/ 769 w 1181"/>
                  <a:gd name="T49" fmla="*/ 730 h 1846"/>
                  <a:gd name="T50" fmla="*/ 754 w 1181"/>
                  <a:gd name="T51" fmla="*/ 746 h 1846"/>
                  <a:gd name="T52" fmla="*/ 739 w 1181"/>
                  <a:gd name="T53" fmla="*/ 761 h 1846"/>
                  <a:gd name="T54" fmla="*/ 1151 w 1181"/>
                  <a:gd name="T55" fmla="*/ 797 h 1846"/>
                  <a:gd name="T56" fmla="*/ 1166 w 1181"/>
                  <a:gd name="T57" fmla="*/ 740 h 1846"/>
                  <a:gd name="T58" fmla="*/ 1176 w 1181"/>
                  <a:gd name="T59" fmla="*/ 680 h 1846"/>
                  <a:gd name="T60" fmla="*/ 1181 w 1181"/>
                  <a:gd name="T61" fmla="*/ 617 h 1846"/>
                  <a:gd name="T62" fmla="*/ 1181 w 1181"/>
                  <a:gd name="T63" fmla="*/ 546 h 1846"/>
                  <a:gd name="T64" fmla="*/ 1175 w 1181"/>
                  <a:gd name="T65" fmla="*/ 476 h 1846"/>
                  <a:gd name="T66" fmla="*/ 1164 w 1181"/>
                  <a:gd name="T67" fmla="*/ 411 h 1846"/>
                  <a:gd name="T68" fmla="*/ 1148 w 1181"/>
                  <a:gd name="T69" fmla="*/ 350 h 1846"/>
                  <a:gd name="T70" fmla="*/ 1127 w 1181"/>
                  <a:gd name="T71" fmla="*/ 295 h 1846"/>
                  <a:gd name="T72" fmla="*/ 1100 w 1181"/>
                  <a:gd name="T73" fmla="*/ 244 h 1846"/>
                  <a:gd name="T74" fmla="*/ 1070 w 1181"/>
                  <a:gd name="T75" fmla="*/ 199 h 1846"/>
                  <a:gd name="T76" fmla="*/ 1035 w 1181"/>
                  <a:gd name="T77" fmla="*/ 159 h 1846"/>
                  <a:gd name="T78" fmla="*/ 995 w 1181"/>
                  <a:gd name="T79" fmla="*/ 123 h 1846"/>
                  <a:gd name="T80" fmla="*/ 952 w 1181"/>
                  <a:gd name="T81" fmla="*/ 92 h 1846"/>
                  <a:gd name="T82" fmla="*/ 905 w 1181"/>
                  <a:gd name="T83" fmla="*/ 65 h 1846"/>
                  <a:gd name="T84" fmla="*/ 854 w 1181"/>
                  <a:gd name="T85" fmla="*/ 44 h 1846"/>
                  <a:gd name="T86" fmla="*/ 799 w 1181"/>
                  <a:gd name="T87" fmla="*/ 26 h 1846"/>
                  <a:gd name="T88" fmla="*/ 741 w 1181"/>
                  <a:gd name="T89" fmla="*/ 13 h 1846"/>
                  <a:gd name="T90" fmla="*/ 681 w 1181"/>
                  <a:gd name="T91" fmla="*/ 5 h 1846"/>
                  <a:gd name="T92" fmla="*/ 619 w 1181"/>
                  <a:gd name="T93" fmla="*/ 1 h 1846"/>
                  <a:gd name="T94" fmla="*/ 0 w 1181"/>
                  <a:gd name="T95" fmla="*/ 0 h 1846"/>
                  <a:gd name="T96" fmla="*/ 385 w 1181"/>
                  <a:gd name="T97" fmla="*/ 1846 h 1846"/>
                  <a:gd name="T98" fmla="*/ 608 w 1181"/>
                  <a:gd name="T99" fmla="*/ 1172 h 1846"/>
                  <a:gd name="T100" fmla="*/ 673 w 1181"/>
                  <a:gd name="T101" fmla="*/ 1169 h 1846"/>
                  <a:gd name="T102" fmla="*/ 734 w 1181"/>
                  <a:gd name="T103" fmla="*/ 1161 h 1846"/>
                  <a:gd name="T104" fmla="*/ 793 w 1181"/>
                  <a:gd name="T105" fmla="*/ 1148 h 1846"/>
                  <a:gd name="T106" fmla="*/ 847 w 1181"/>
                  <a:gd name="T107" fmla="*/ 1129 h 1846"/>
                  <a:gd name="T108" fmla="*/ 898 w 1181"/>
                  <a:gd name="T109" fmla="*/ 1106 h 1846"/>
                  <a:gd name="T110" fmla="*/ 945 w 1181"/>
                  <a:gd name="T111" fmla="*/ 1079 h 1846"/>
                  <a:gd name="T112" fmla="*/ 988 w 1181"/>
                  <a:gd name="T113" fmla="*/ 1047 h 1846"/>
                  <a:gd name="T114" fmla="*/ 1029 w 1181"/>
                  <a:gd name="T115" fmla="*/ 1011 h 1846"/>
                  <a:gd name="T116" fmla="*/ 1063 w 1181"/>
                  <a:gd name="T117" fmla="*/ 971 h 1846"/>
                  <a:gd name="T118" fmla="*/ 1093 w 1181"/>
                  <a:gd name="T119" fmla="*/ 925 h 1846"/>
                  <a:gd name="T120" fmla="*/ 1120 w 1181"/>
                  <a:gd name="T121" fmla="*/ 876 h 1846"/>
                  <a:gd name="T122" fmla="*/ 1142 w 1181"/>
                  <a:gd name="T123" fmla="*/ 824 h 18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81" h="1846">
                    <a:moveTo>
                      <a:pt x="739" y="761"/>
                    </a:moveTo>
                    <a:lnTo>
                      <a:pt x="723" y="773"/>
                    </a:lnTo>
                    <a:lnTo>
                      <a:pt x="706" y="784"/>
                    </a:lnTo>
                    <a:lnTo>
                      <a:pt x="688" y="793"/>
                    </a:lnTo>
                    <a:lnTo>
                      <a:pt x="669" y="801"/>
                    </a:lnTo>
                    <a:lnTo>
                      <a:pt x="650" y="806"/>
                    </a:lnTo>
                    <a:lnTo>
                      <a:pt x="631" y="810"/>
                    </a:lnTo>
                    <a:lnTo>
                      <a:pt x="611" y="813"/>
                    </a:lnTo>
                    <a:lnTo>
                      <a:pt x="590" y="813"/>
                    </a:lnTo>
                    <a:lnTo>
                      <a:pt x="385" y="813"/>
                    </a:lnTo>
                    <a:lnTo>
                      <a:pt x="385" y="355"/>
                    </a:lnTo>
                    <a:lnTo>
                      <a:pt x="587" y="355"/>
                    </a:lnTo>
                    <a:lnTo>
                      <a:pt x="611" y="356"/>
                    </a:lnTo>
                    <a:lnTo>
                      <a:pt x="635" y="358"/>
                    </a:lnTo>
                    <a:lnTo>
                      <a:pt x="657" y="362"/>
                    </a:lnTo>
                    <a:lnTo>
                      <a:pt x="677" y="368"/>
                    </a:lnTo>
                    <a:lnTo>
                      <a:pt x="687" y="372"/>
                    </a:lnTo>
                    <a:lnTo>
                      <a:pt x="696" y="375"/>
                    </a:lnTo>
                    <a:lnTo>
                      <a:pt x="705" y="380"/>
                    </a:lnTo>
                    <a:lnTo>
                      <a:pt x="714" y="384"/>
                    </a:lnTo>
                    <a:lnTo>
                      <a:pt x="723" y="389"/>
                    </a:lnTo>
                    <a:lnTo>
                      <a:pt x="731" y="395"/>
                    </a:lnTo>
                    <a:lnTo>
                      <a:pt x="738" y="401"/>
                    </a:lnTo>
                    <a:lnTo>
                      <a:pt x="746" y="407"/>
                    </a:lnTo>
                    <a:lnTo>
                      <a:pt x="753" y="414"/>
                    </a:lnTo>
                    <a:lnTo>
                      <a:pt x="759" y="421"/>
                    </a:lnTo>
                    <a:lnTo>
                      <a:pt x="767" y="429"/>
                    </a:lnTo>
                    <a:lnTo>
                      <a:pt x="772" y="437"/>
                    </a:lnTo>
                    <a:lnTo>
                      <a:pt x="777" y="446"/>
                    </a:lnTo>
                    <a:lnTo>
                      <a:pt x="782" y="455"/>
                    </a:lnTo>
                    <a:lnTo>
                      <a:pt x="786" y="465"/>
                    </a:lnTo>
                    <a:lnTo>
                      <a:pt x="790" y="476"/>
                    </a:lnTo>
                    <a:lnTo>
                      <a:pt x="794" y="486"/>
                    </a:lnTo>
                    <a:lnTo>
                      <a:pt x="797" y="498"/>
                    </a:lnTo>
                    <a:lnTo>
                      <a:pt x="799" y="510"/>
                    </a:lnTo>
                    <a:lnTo>
                      <a:pt x="801" y="522"/>
                    </a:lnTo>
                    <a:lnTo>
                      <a:pt x="804" y="549"/>
                    </a:lnTo>
                    <a:lnTo>
                      <a:pt x="805" y="578"/>
                    </a:lnTo>
                    <a:lnTo>
                      <a:pt x="805" y="594"/>
                    </a:lnTo>
                    <a:lnTo>
                      <a:pt x="804" y="610"/>
                    </a:lnTo>
                    <a:lnTo>
                      <a:pt x="803" y="625"/>
                    </a:lnTo>
                    <a:lnTo>
                      <a:pt x="801" y="639"/>
                    </a:lnTo>
                    <a:lnTo>
                      <a:pt x="799" y="652"/>
                    </a:lnTo>
                    <a:lnTo>
                      <a:pt x="796" y="665"/>
                    </a:lnTo>
                    <a:lnTo>
                      <a:pt x="793" y="677"/>
                    </a:lnTo>
                    <a:lnTo>
                      <a:pt x="789" y="689"/>
                    </a:lnTo>
                    <a:lnTo>
                      <a:pt x="785" y="700"/>
                    </a:lnTo>
                    <a:lnTo>
                      <a:pt x="780" y="710"/>
                    </a:lnTo>
                    <a:lnTo>
                      <a:pt x="774" y="720"/>
                    </a:lnTo>
                    <a:lnTo>
                      <a:pt x="769" y="730"/>
                    </a:lnTo>
                    <a:lnTo>
                      <a:pt x="761" y="738"/>
                    </a:lnTo>
                    <a:lnTo>
                      <a:pt x="754" y="746"/>
                    </a:lnTo>
                    <a:lnTo>
                      <a:pt x="747" y="754"/>
                    </a:lnTo>
                    <a:lnTo>
                      <a:pt x="739" y="761"/>
                    </a:lnTo>
                    <a:close/>
                    <a:moveTo>
                      <a:pt x="1142" y="824"/>
                    </a:moveTo>
                    <a:lnTo>
                      <a:pt x="1151" y="797"/>
                    </a:lnTo>
                    <a:lnTo>
                      <a:pt x="1159" y="768"/>
                    </a:lnTo>
                    <a:lnTo>
                      <a:pt x="1166" y="740"/>
                    </a:lnTo>
                    <a:lnTo>
                      <a:pt x="1171" y="710"/>
                    </a:lnTo>
                    <a:lnTo>
                      <a:pt x="1176" y="680"/>
                    </a:lnTo>
                    <a:lnTo>
                      <a:pt x="1179" y="649"/>
                    </a:lnTo>
                    <a:lnTo>
                      <a:pt x="1181" y="617"/>
                    </a:lnTo>
                    <a:lnTo>
                      <a:pt x="1181" y="583"/>
                    </a:lnTo>
                    <a:lnTo>
                      <a:pt x="1181" y="546"/>
                    </a:lnTo>
                    <a:lnTo>
                      <a:pt x="1179" y="510"/>
                    </a:lnTo>
                    <a:lnTo>
                      <a:pt x="1175" y="476"/>
                    </a:lnTo>
                    <a:lnTo>
                      <a:pt x="1170" y="442"/>
                    </a:lnTo>
                    <a:lnTo>
                      <a:pt x="1164" y="411"/>
                    </a:lnTo>
                    <a:lnTo>
                      <a:pt x="1157" y="380"/>
                    </a:lnTo>
                    <a:lnTo>
                      <a:pt x="1148" y="350"/>
                    </a:lnTo>
                    <a:lnTo>
                      <a:pt x="1138" y="322"/>
                    </a:lnTo>
                    <a:lnTo>
                      <a:pt x="1127" y="295"/>
                    </a:lnTo>
                    <a:lnTo>
                      <a:pt x="1114" y="269"/>
                    </a:lnTo>
                    <a:lnTo>
                      <a:pt x="1100" y="244"/>
                    </a:lnTo>
                    <a:lnTo>
                      <a:pt x="1086" y="221"/>
                    </a:lnTo>
                    <a:lnTo>
                      <a:pt x="1070" y="199"/>
                    </a:lnTo>
                    <a:lnTo>
                      <a:pt x="1053" y="178"/>
                    </a:lnTo>
                    <a:lnTo>
                      <a:pt x="1035" y="159"/>
                    </a:lnTo>
                    <a:lnTo>
                      <a:pt x="1016" y="140"/>
                    </a:lnTo>
                    <a:lnTo>
                      <a:pt x="995" y="123"/>
                    </a:lnTo>
                    <a:lnTo>
                      <a:pt x="974" y="107"/>
                    </a:lnTo>
                    <a:lnTo>
                      <a:pt x="952" y="92"/>
                    </a:lnTo>
                    <a:lnTo>
                      <a:pt x="929" y="78"/>
                    </a:lnTo>
                    <a:lnTo>
                      <a:pt x="905" y="65"/>
                    </a:lnTo>
                    <a:lnTo>
                      <a:pt x="880" y="54"/>
                    </a:lnTo>
                    <a:lnTo>
                      <a:pt x="854" y="44"/>
                    </a:lnTo>
                    <a:lnTo>
                      <a:pt x="827" y="34"/>
                    </a:lnTo>
                    <a:lnTo>
                      <a:pt x="799" y="26"/>
                    </a:lnTo>
                    <a:lnTo>
                      <a:pt x="771" y="19"/>
                    </a:lnTo>
                    <a:lnTo>
                      <a:pt x="741" y="13"/>
                    </a:lnTo>
                    <a:lnTo>
                      <a:pt x="711" y="8"/>
                    </a:lnTo>
                    <a:lnTo>
                      <a:pt x="681" y="5"/>
                    </a:lnTo>
                    <a:lnTo>
                      <a:pt x="650" y="2"/>
                    </a:lnTo>
                    <a:lnTo>
                      <a:pt x="619" y="1"/>
                    </a:lnTo>
                    <a:lnTo>
                      <a:pt x="587" y="0"/>
                    </a:lnTo>
                    <a:lnTo>
                      <a:pt x="0" y="0"/>
                    </a:lnTo>
                    <a:lnTo>
                      <a:pt x="0" y="1846"/>
                    </a:lnTo>
                    <a:lnTo>
                      <a:pt x="385" y="1846"/>
                    </a:lnTo>
                    <a:lnTo>
                      <a:pt x="385" y="1172"/>
                    </a:lnTo>
                    <a:lnTo>
                      <a:pt x="608" y="1172"/>
                    </a:lnTo>
                    <a:lnTo>
                      <a:pt x="641" y="1171"/>
                    </a:lnTo>
                    <a:lnTo>
                      <a:pt x="673" y="1169"/>
                    </a:lnTo>
                    <a:lnTo>
                      <a:pt x="704" y="1166"/>
                    </a:lnTo>
                    <a:lnTo>
                      <a:pt x="734" y="1161"/>
                    </a:lnTo>
                    <a:lnTo>
                      <a:pt x="763" y="1155"/>
                    </a:lnTo>
                    <a:lnTo>
                      <a:pt x="793" y="1148"/>
                    </a:lnTo>
                    <a:lnTo>
                      <a:pt x="820" y="1139"/>
                    </a:lnTo>
                    <a:lnTo>
                      <a:pt x="847" y="1129"/>
                    </a:lnTo>
                    <a:lnTo>
                      <a:pt x="873" y="1118"/>
                    </a:lnTo>
                    <a:lnTo>
                      <a:pt x="898" y="1106"/>
                    </a:lnTo>
                    <a:lnTo>
                      <a:pt x="922" y="1093"/>
                    </a:lnTo>
                    <a:lnTo>
                      <a:pt x="945" y="1079"/>
                    </a:lnTo>
                    <a:lnTo>
                      <a:pt x="967" y="1063"/>
                    </a:lnTo>
                    <a:lnTo>
                      <a:pt x="988" y="1047"/>
                    </a:lnTo>
                    <a:lnTo>
                      <a:pt x="1009" y="1030"/>
                    </a:lnTo>
                    <a:lnTo>
                      <a:pt x="1029" y="1011"/>
                    </a:lnTo>
                    <a:lnTo>
                      <a:pt x="1046" y="991"/>
                    </a:lnTo>
                    <a:lnTo>
                      <a:pt x="1063" y="971"/>
                    </a:lnTo>
                    <a:lnTo>
                      <a:pt x="1079" y="949"/>
                    </a:lnTo>
                    <a:lnTo>
                      <a:pt x="1093" y="925"/>
                    </a:lnTo>
                    <a:lnTo>
                      <a:pt x="1107" y="901"/>
                    </a:lnTo>
                    <a:lnTo>
                      <a:pt x="1120" y="876"/>
                    </a:lnTo>
                    <a:lnTo>
                      <a:pt x="1131" y="851"/>
                    </a:lnTo>
                    <a:lnTo>
                      <a:pt x="1142" y="8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34" name="Freeform 6"/>
              <p:cNvSpPr>
                <a:spLocks noEditPoints="1"/>
              </p:cNvSpPr>
              <p:nvPr/>
            </p:nvSpPr>
            <p:spPr bwMode="auto">
              <a:xfrm>
                <a:off x="765951" y="259248"/>
                <a:ext cx="122502" cy="194272"/>
              </a:xfrm>
              <a:custGeom>
                <a:avLst/>
                <a:gdLst>
                  <a:gd name="T0" fmla="*/ 386 w 1185"/>
                  <a:gd name="T1" fmla="*/ 542 h 1875"/>
                  <a:gd name="T2" fmla="*/ 410 w 1185"/>
                  <a:gd name="T3" fmla="*/ 473 h 1875"/>
                  <a:gd name="T4" fmla="*/ 446 w 1185"/>
                  <a:gd name="T5" fmla="*/ 427 h 1875"/>
                  <a:gd name="T6" fmla="*/ 478 w 1185"/>
                  <a:gd name="T7" fmla="*/ 402 h 1875"/>
                  <a:gd name="T8" fmla="*/ 519 w 1185"/>
                  <a:gd name="T9" fmla="*/ 382 h 1875"/>
                  <a:gd name="T10" fmla="*/ 568 w 1185"/>
                  <a:gd name="T11" fmla="*/ 372 h 1875"/>
                  <a:gd name="T12" fmla="*/ 624 w 1185"/>
                  <a:gd name="T13" fmla="*/ 372 h 1875"/>
                  <a:gd name="T14" fmla="*/ 672 w 1185"/>
                  <a:gd name="T15" fmla="*/ 384 h 1875"/>
                  <a:gd name="T16" fmla="*/ 728 w 1185"/>
                  <a:gd name="T17" fmla="*/ 418 h 1875"/>
                  <a:gd name="T18" fmla="*/ 756 w 1185"/>
                  <a:gd name="T19" fmla="*/ 447 h 1875"/>
                  <a:gd name="T20" fmla="*/ 789 w 1185"/>
                  <a:gd name="T21" fmla="*/ 514 h 1875"/>
                  <a:gd name="T22" fmla="*/ 797 w 1185"/>
                  <a:gd name="T23" fmla="*/ 575 h 1875"/>
                  <a:gd name="T24" fmla="*/ 792 w 1185"/>
                  <a:gd name="T25" fmla="*/ 1359 h 1875"/>
                  <a:gd name="T26" fmla="*/ 779 w 1185"/>
                  <a:gd name="T27" fmla="*/ 1396 h 1875"/>
                  <a:gd name="T28" fmla="*/ 759 w 1185"/>
                  <a:gd name="T29" fmla="*/ 1429 h 1875"/>
                  <a:gd name="T30" fmla="*/ 723 w 1185"/>
                  <a:gd name="T31" fmla="*/ 1463 h 1875"/>
                  <a:gd name="T32" fmla="*/ 654 w 1185"/>
                  <a:gd name="T33" fmla="*/ 1496 h 1875"/>
                  <a:gd name="T34" fmla="*/ 582 w 1185"/>
                  <a:gd name="T35" fmla="*/ 1503 h 1875"/>
                  <a:gd name="T36" fmla="*/ 531 w 1185"/>
                  <a:gd name="T37" fmla="*/ 1497 h 1875"/>
                  <a:gd name="T38" fmla="*/ 489 w 1185"/>
                  <a:gd name="T39" fmla="*/ 1482 h 1875"/>
                  <a:gd name="T40" fmla="*/ 453 w 1185"/>
                  <a:gd name="T41" fmla="*/ 1458 h 1875"/>
                  <a:gd name="T42" fmla="*/ 421 w 1185"/>
                  <a:gd name="T43" fmla="*/ 1417 h 1875"/>
                  <a:gd name="T44" fmla="*/ 390 w 1185"/>
                  <a:gd name="T45" fmla="*/ 1334 h 1875"/>
                  <a:gd name="T46" fmla="*/ 834 w 1185"/>
                  <a:gd name="T47" fmla="*/ 1834 h 1875"/>
                  <a:gd name="T48" fmla="*/ 934 w 1185"/>
                  <a:gd name="T49" fmla="*/ 1784 h 1875"/>
                  <a:gd name="T50" fmla="*/ 1019 w 1185"/>
                  <a:gd name="T51" fmla="*/ 1715 h 1875"/>
                  <a:gd name="T52" fmla="*/ 1089 w 1185"/>
                  <a:gd name="T53" fmla="*/ 1629 h 1875"/>
                  <a:gd name="T54" fmla="*/ 1141 w 1185"/>
                  <a:gd name="T55" fmla="*/ 1525 h 1875"/>
                  <a:gd name="T56" fmla="*/ 1174 w 1185"/>
                  <a:gd name="T57" fmla="*/ 1409 h 1875"/>
                  <a:gd name="T58" fmla="*/ 1185 w 1185"/>
                  <a:gd name="T59" fmla="*/ 1278 h 1875"/>
                  <a:gd name="T60" fmla="*/ 1180 w 1185"/>
                  <a:gd name="T61" fmla="*/ 510 h 1875"/>
                  <a:gd name="T62" fmla="*/ 1158 w 1185"/>
                  <a:gd name="T63" fmla="*/ 403 h 1875"/>
                  <a:gd name="T64" fmla="*/ 1118 w 1185"/>
                  <a:gd name="T65" fmla="*/ 300 h 1875"/>
                  <a:gd name="T66" fmla="*/ 1060 w 1185"/>
                  <a:gd name="T67" fmla="*/ 207 h 1875"/>
                  <a:gd name="T68" fmla="*/ 983 w 1185"/>
                  <a:gd name="T69" fmla="*/ 128 h 1875"/>
                  <a:gd name="T70" fmla="*/ 886 w 1185"/>
                  <a:gd name="T71" fmla="*/ 65 h 1875"/>
                  <a:gd name="T72" fmla="*/ 770 w 1185"/>
                  <a:gd name="T73" fmla="*/ 20 h 1875"/>
                  <a:gd name="T74" fmla="*/ 633 w 1185"/>
                  <a:gd name="T75" fmla="*/ 1 h 1875"/>
                  <a:gd name="T76" fmla="*/ 481 w 1185"/>
                  <a:gd name="T77" fmla="*/ 7 h 1875"/>
                  <a:gd name="T78" fmla="*/ 396 w 1185"/>
                  <a:gd name="T79" fmla="*/ 25 h 1875"/>
                  <a:gd name="T80" fmla="*/ 335 w 1185"/>
                  <a:gd name="T81" fmla="*/ 47 h 1875"/>
                  <a:gd name="T82" fmla="*/ 242 w 1185"/>
                  <a:gd name="T83" fmla="*/ 99 h 1875"/>
                  <a:gd name="T84" fmla="*/ 155 w 1185"/>
                  <a:gd name="T85" fmla="*/ 172 h 1875"/>
                  <a:gd name="T86" fmla="*/ 88 w 1185"/>
                  <a:gd name="T87" fmla="*/ 259 h 1875"/>
                  <a:gd name="T88" fmla="*/ 41 w 1185"/>
                  <a:gd name="T89" fmla="*/ 357 h 1875"/>
                  <a:gd name="T90" fmla="*/ 14 w 1185"/>
                  <a:gd name="T91" fmla="*/ 461 h 1875"/>
                  <a:gd name="T92" fmla="*/ 0 w 1185"/>
                  <a:gd name="T93" fmla="*/ 565 h 1875"/>
                  <a:gd name="T94" fmla="*/ 2 w 1185"/>
                  <a:gd name="T95" fmla="*/ 1311 h 1875"/>
                  <a:gd name="T96" fmla="*/ 20 w 1185"/>
                  <a:gd name="T97" fmla="*/ 1430 h 1875"/>
                  <a:gd name="T98" fmla="*/ 54 w 1185"/>
                  <a:gd name="T99" fmla="*/ 1543 h 1875"/>
                  <a:gd name="T100" fmla="*/ 106 w 1185"/>
                  <a:gd name="T101" fmla="*/ 1643 h 1875"/>
                  <a:gd name="T102" fmla="*/ 177 w 1185"/>
                  <a:gd name="T103" fmla="*/ 1729 h 1875"/>
                  <a:gd name="T104" fmla="*/ 270 w 1185"/>
                  <a:gd name="T105" fmla="*/ 1797 h 1875"/>
                  <a:gd name="T106" fmla="*/ 353 w 1185"/>
                  <a:gd name="T107" fmla="*/ 1836 h 1875"/>
                  <a:gd name="T108" fmla="*/ 448 w 1185"/>
                  <a:gd name="T109" fmla="*/ 1862 h 1875"/>
                  <a:gd name="T110" fmla="*/ 596 w 1185"/>
                  <a:gd name="T111" fmla="*/ 1875 h 1875"/>
                  <a:gd name="T112" fmla="*/ 721 w 1185"/>
                  <a:gd name="T113" fmla="*/ 1864 h 1875"/>
                  <a:gd name="T114" fmla="*/ 834 w 1185"/>
                  <a:gd name="T115" fmla="*/ 1834 h 1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85" h="1875">
                    <a:moveTo>
                      <a:pt x="383" y="1259"/>
                    </a:moveTo>
                    <a:lnTo>
                      <a:pt x="383" y="575"/>
                    </a:lnTo>
                    <a:lnTo>
                      <a:pt x="384" y="559"/>
                    </a:lnTo>
                    <a:lnTo>
                      <a:pt x="386" y="542"/>
                    </a:lnTo>
                    <a:lnTo>
                      <a:pt x="390" y="525"/>
                    </a:lnTo>
                    <a:lnTo>
                      <a:pt x="395" y="507"/>
                    </a:lnTo>
                    <a:lnTo>
                      <a:pt x="402" y="490"/>
                    </a:lnTo>
                    <a:lnTo>
                      <a:pt x="410" y="473"/>
                    </a:lnTo>
                    <a:lnTo>
                      <a:pt x="420" y="456"/>
                    </a:lnTo>
                    <a:lnTo>
                      <a:pt x="432" y="441"/>
                    </a:lnTo>
                    <a:lnTo>
                      <a:pt x="439" y="434"/>
                    </a:lnTo>
                    <a:lnTo>
                      <a:pt x="446" y="427"/>
                    </a:lnTo>
                    <a:lnTo>
                      <a:pt x="453" y="420"/>
                    </a:lnTo>
                    <a:lnTo>
                      <a:pt x="461" y="414"/>
                    </a:lnTo>
                    <a:lnTo>
                      <a:pt x="469" y="407"/>
                    </a:lnTo>
                    <a:lnTo>
                      <a:pt x="478" y="402"/>
                    </a:lnTo>
                    <a:lnTo>
                      <a:pt x="488" y="396"/>
                    </a:lnTo>
                    <a:lnTo>
                      <a:pt x="498" y="391"/>
                    </a:lnTo>
                    <a:lnTo>
                      <a:pt x="508" y="386"/>
                    </a:lnTo>
                    <a:lnTo>
                      <a:pt x="519" y="382"/>
                    </a:lnTo>
                    <a:lnTo>
                      <a:pt x="531" y="379"/>
                    </a:lnTo>
                    <a:lnTo>
                      <a:pt x="543" y="376"/>
                    </a:lnTo>
                    <a:lnTo>
                      <a:pt x="555" y="374"/>
                    </a:lnTo>
                    <a:lnTo>
                      <a:pt x="568" y="372"/>
                    </a:lnTo>
                    <a:lnTo>
                      <a:pt x="582" y="371"/>
                    </a:lnTo>
                    <a:lnTo>
                      <a:pt x="596" y="371"/>
                    </a:lnTo>
                    <a:lnTo>
                      <a:pt x="610" y="371"/>
                    </a:lnTo>
                    <a:lnTo>
                      <a:pt x="624" y="372"/>
                    </a:lnTo>
                    <a:lnTo>
                      <a:pt x="637" y="374"/>
                    </a:lnTo>
                    <a:lnTo>
                      <a:pt x="649" y="377"/>
                    </a:lnTo>
                    <a:lnTo>
                      <a:pt x="661" y="380"/>
                    </a:lnTo>
                    <a:lnTo>
                      <a:pt x="672" y="384"/>
                    </a:lnTo>
                    <a:lnTo>
                      <a:pt x="682" y="388"/>
                    </a:lnTo>
                    <a:lnTo>
                      <a:pt x="692" y="393"/>
                    </a:lnTo>
                    <a:lnTo>
                      <a:pt x="711" y="405"/>
                    </a:lnTo>
                    <a:lnTo>
                      <a:pt x="728" y="418"/>
                    </a:lnTo>
                    <a:lnTo>
                      <a:pt x="736" y="425"/>
                    </a:lnTo>
                    <a:lnTo>
                      <a:pt x="743" y="432"/>
                    </a:lnTo>
                    <a:lnTo>
                      <a:pt x="750" y="440"/>
                    </a:lnTo>
                    <a:lnTo>
                      <a:pt x="756" y="447"/>
                    </a:lnTo>
                    <a:lnTo>
                      <a:pt x="766" y="464"/>
                    </a:lnTo>
                    <a:lnTo>
                      <a:pt x="776" y="480"/>
                    </a:lnTo>
                    <a:lnTo>
                      <a:pt x="783" y="497"/>
                    </a:lnTo>
                    <a:lnTo>
                      <a:pt x="789" y="514"/>
                    </a:lnTo>
                    <a:lnTo>
                      <a:pt x="793" y="531"/>
                    </a:lnTo>
                    <a:lnTo>
                      <a:pt x="795" y="546"/>
                    </a:lnTo>
                    <a:lnTo>
                      <a:pt x="797" y="561"/>
                    </a:lnTo>
                    <a:lnTo>
                      <a:pt x="797" y="575"/>
                    </a:lnTo>
                    <a:lnTo>
                      <a:pt x="797" y="1305"/>
                    </a:lnTo>
                    <a:lnTo>
                      <a:pt x="797" y="1327"/>
                    </a:lnTo>
                    <a:lnTo>
                      <a:pt x="794" y="1349"/>
                    </a:lnTo>
                    <a:lnTo>
                      <a:pt x="792" y="1359"/>
                    </a:lnTo>
                    <a:lnTo>
                      <a:pt x="789" y="1369"/>
                    </a:lnTo>
                    <a:lnTo>
                      <a:pt x="786" y="1378"/>
                    </a:lnTo>
                    <a:lnTo>
                      <a:pt x="783" y="1388"/>
                    </a:lnTo>
                    <a:lnTo>
                      <a:pt x="779" y="1396"/>
                    </a:lnTo>
                    <a:lnTo>
                      <a:pt x="775" y="1405"/>
                    </a:lnTo>
                    <a:lnTo>
                      <a:pt x="770" y="1413"/>
                    </a:lnTo>
                    <a:lnTo>
                      <a:pt x="764" y="1421"/>
                    </a:lnTo>
                    <a:lnTo>
                      <a:pt x="759" y="1429"/>
                    </a:lnTo>
                    <a:lnTo>
                      <a:pt x="752" y="1436"/>
                    </a:lnTo>
                    <a:lnTo>
                      <a:pt x="745" y="1443"/>
                    </a:lnTo>
                    <a:lnTo>
                      <a:pt x="738" y="1450"/>
                    </a:lnTo>
                    <a:lnTo>
                      <a:pt x="723" y="1463"/>
                    </a:lnTo>
                    <a:lnTo>
                      <a:pt x="706" y="1473"/>
                    </a:lnTo>
                    <a:lnTo>
                      <a:pt x="689" y="1483"/>
                    </a:lnTo>
                    <a:lnTo>
                      <a:pt x="672" y="1490"/>
                    </a:lnTo>
                    <a:lnTo>
                      <a:pt x="654" y="1496"/>
                    </a:lnTo>
                    <a:lnTo>
                      <a:pt x="635" y="1500"/>
                    </a:lnTo>
                    <a:lnTo>
                      <a:pt x="616" y="1502"/>
                    </a:lnTo>
                    <a:lnTo>
                      <a:pt x="596" y="1503"/>
                    </a:lnTo>
                    <a:lnTo>
                      <a:pt x="582" y="1503"/>
                    </a:lnTo>
                    <a:lnTo>
                      <a:pt x="569" y="1502"/>
                    </a:lnTo>
                    <a:lnTo>
                      <a:pt x="556" y="1501"/>
                    </a:lnTo>
                    <a:lnTo>
                      <a:pt x="543" y="1499"/>
                    </a:lnTo>
                    <a:lnTo>
                      <a:pt x="531" y="1497"/>
                    </a:lnTo>
                    <a:lnTo>
                      <a:pt x="520" y="1494"/>
                    </a:lnTo>
                    <a:lnTo>
                      <a:pt x="509" y="1490"/>
                    </a:lnTo>
                    <a:lnTo>
                      <a:pt x="498" y="1486"/>
                    </a:lnTo>
                    <a:lnTo>
                      <a:pt x="489" y="1482"/>
                    </a:lnTo>
                    <a:lnTo>
                      <a:pt x="478" y="1477"/>
                    </a:lnTo>
                    <a:lnTo>
                      <a:pt x="469" y="1471"/>
                    </a:lnTo>
                    <a:lnTo>
                      <a:pt x="461" y="1465"/>
                    </a:lnTo>
                    <a:lnTo>
                      <a:pt x="453" y="1458"/>
                    </a:lnTo>
                    <a:lnTo>
                      <a:pt x="446" y="1451"/>
                    </a:lnTo>
                    <a:lnTo>
                      <a:pt x="439" y="1443"/>
                    </a:lnTo>
                    <a:lnTo>
                      <a:pt x="432" y="1435"/>
                    </a:lnTo>
                    <a:lnTo>
                      <a:pt x="421" y="1417"/>
                    </a:lnTo>
                    <a:lnTo>
                      <a:pt x="411" y="1398"/>
                    </a:lnTo>
                    <a:lnTo>
                      <a:pt x="402" y="1378"/>
                    </a:lnTo>
                    <a:lnTo>
                      <a:pt x="395" y="1357"/>
                    </a:lnTo>
                    <a:lnTo>
                      <a:pt x="390" y="1334"/>
                    </a:lnTo>
                    <a:lnTo>
                      <a:pt x="386" y="1311"/>
                    </a:lnTo>
                    <a:lnTo>
                      <a:pt x="384" y="1285"/>
                    </a:lnTo>
                    <a:lnTo>
                      <a:pt x="383" y="1259"/>
                    </a:lnTo>
                    <a:close/>
                    <a:moveTo>
                      <a:pt x="834" y="1834"/>
                    </a:moveTo>
                    <a:lnTo>
                      <a:pt x="860" y="1823"/>
                    </a:lnTo>
                    <a:lnTo>
                      <a:pt x="886" y="1811"/>
                    </a:lnTo>
                    <a:lnTo>
                      <a:pt x="910" y="1798"/>
                    </a:lnTo>
                    <a:lnTo>
                      <a:pt x="934" y="1784"/>
                    </a:lnTo>
                    <a:lnTo>
                      <a:pt x="957" y="1768"/>
                    </a:lnTo>
                    <a:lnTo>
                      <a:pt x="979" y="1752"/>
                    </a:lnTo>
                    <a:lnTo>
                      <a:pt x="1000" y="1734"/>
                    </a:lnTo>
                    <a:lnTo>
                      <a:pt x="1019" y="1715"/>
                    </a:lnTo>
                    <a:lnTo>
                      <a:pt x="1039" y="1695"/>
                    </a:lnTo>
                    <a:lnTo>
                      <a:pt x="1057" y="1674"/>
                    </a:lnTo>
                    <a:lnTo>
                      <a:pt x="1073" y="1652"/>
                    </a:lnTo>
                    <a:lnTo>
                      <a:pt x="1089" y="1629"/>
                    </a:lnTo>
                    <a:lnTo>
                      <a:pt x="1104" y="1604"/>
                    </a:lnTo>
                    <a:lnTo>
                      <a:pt x="1117" y="1579"/>
                    </a:lnTo>
                    <a:lnTo>
                      <a:pt x="1130" y="1553"/>
                    </a:lnTo>
                    <a:lnTo>
                      <a:pt x="1141" y="1525"/>
                    </a:lnTo>
                    <a:lnTo>
                      <a:pt x="1151" y="1498"/>
                    </a:lnTo>
                    <a:lnTo>
                      <a:pt x="1160" y="1469"/>
                    </a:lnTo>
                    <a:lnTo>
                      <a:pt x="1168" y="1439"/>
                    </a:lnTo>
                    <a:lnTo>
                      <a:pt x="1174" y="1409"/>
                    </a:lnTo>
                    <a:lnTo>
                      <a:pt x="1179" y="1378"/>
                    </a:lnTo>
                    <a:lnTo>
                      <a:pt x="1182" y="1346"/>
                    </a:lnTo>
                    <a:lnTo>
                      <a:pt x="1184" y="1313"/>
                    </a:lnTo>
                    <a:lnTo>
                      <a:pt x="1185" y="1278"/>
                    </a:lnTo>
                    <a:lnTo>
                      <a:pt x="1185" y="591"/>
                    </a:lnTo>
                    <a:lnTo>
                      <a:pt x="1185" y="564"/>
                    </a:lnTo>
                    <a:lnTo>
                      <a:pt x="1183" y="536"/>
                    </a:lnTo>
                    <a:lnTo>
                      <a:pt x="1180" y="510"/>
                    </a:lnTo>
                    <a:lnTo>
                      <a:pt x="1176" y="483"/>
                    </a:lnTo>
                    <a:lnTo>
                      <a:pt x="1171" y="456"/>
                    </a:lnTo>
                    <a:lnTo>
                      <a:pt x="1165" y="429"/>
                    </a:lnTo>
                    <a:lnTo>
                      <a:pt x="1158" y="403"/>
                    </a:lnTo>
                    <a:lnTo>
                      <a:pt x="1149" y="376"/>
                    </a:lnTo>
                    <a:lnTo>
                      <a:pt x="1140" y="350"/>
                    </a:lnTo>
                    <a:lnTo>
                      <a:pt x="1129" y="325"/>
                    </a:lnTo>
                    <a:lnTo>
                      <a:pt x="1118" y="300"/>
                    </a:lnTo>
                    <a:lnTo>
                      <a:pt x="1105" y="275"/>
                    </a:lnTo>
                    <a:lnTo>
                      <a:pt x="1091" y="252"/>
                    </a:lnTo>
                    <a:lnTo>
                      <a:pt x="1076" y="229"/>
                    </a:lnTo>
                    <a:lnTo>
                      <a:pt x="1060" y="207"/>
                    </a:lnTo>
                    <a:lnTo>
                      <a:pt x="1042" y="186"/>
                    </a:lnTo>
                    <a:lnTo>
                      <a:pt x="1024" y="166"/>
                    </a:lnTo>
                    <a:lnTo>
                      <a:pt x="1004" y="147"/>
                    </a:lnTo>
                    <a:lnTo>
                      <a:pt x="983" y="128"/>
                    </a:lnTo>
                    <a:lnTo>
                      <a:pt x="961" y="111"/>
                    </a:lnTo>
                    <a:lnTo>
                      <a:pt x="937" y="95"/>
                    </a:lnTo>
                    <a:lnTo>
                      <a:pt x="912" y="79"/>
                    </a:lnTo>
                    <a:lnTo>
                      <a:pt x="886" y="65"/>
                    </a:lnTo>
                    <a:lnTo>
                      <a:pt x="859" y="52"/>
                    </a:lnTo>
                    <a:lnTo>
                      <a:pt x="830" y="39"/>
                    </a:lnTo>
                    <a:lnTo>
                      <a:pt x="801" y="29"/>
                    </a:lnTo>
                    <a:lnTo>
                      <a:pt x="770" y="20"/>
                    </a:lnTo>
                    <a:lnTo>
                      <a:pt x="738" y="13"/>
                    </a:lnTo>
                    <a:lnTo>
                      <a:pt x="703" y="7"/>
                    </a:lnTo>
                    <a:lnTo>
                      <a:pt x="669" y="3"/>
                    </a:lnTo>
                    <a:lnTo>
                      <a:pt x="633" y="1"/>
                    </a:lnTo>
                    <a:lnTo>
                      <a:pt x="596" y="0"/>
                    </a:lnTo>
                    <a:lnTo>
                      <a:pt x="556" y="1"/>
                    </a:lnTo>
                    <a:lnTo>
                      <a:pt x="518" y="3"/>
                    </a:lnTo>
                    <a:lnTo>
                      <a:pt x="481" y="7"/>
                    </a:lnTo>
                    <a:lnTo>
                      <a:pt x="446" y="13"/>
                    </a:lnTo>
                    <a:lnTo>
                      <a:pt x="429" y="17"/>
                    </a:lnTo>
                    <a:lnTo>
                      <a:pt x="412" y="21"/>
                    </a:lnTo>
                    <a:lnTo>
                      <a:pt x="396" y="25"/>
                    </a:lnTo>
                    <a:lnTo>
                      <a:pt x="380" y="30"/>
                    </a:lnTo>
                    <a:lnTo>
                      <a:pt x="365" y="35"/>
                    </a:lnTo>
                    <a:lnTo>
                      <a:pt x="350" y="41"/>
                    </a:lnTo>
                    <a:lnTo>
                      <a:pt x="335" y="47"/>
                    </a:lnTo>
                    <a:lnTo>
                      <a:pt x="321" y="54"/>
                    </a:lnTo>
                    <a:lnTo>
                      <a:pt x="294" y="68"/>
                    </a:lnTo>
                    <a:lnTo>
                      <a:pt x="268" y="83"/>
                    </a:lnTo>
                    <a:lnTo>
                      <a:pt x="242" y="99"/>
                    </a:lnTo>
                    <a:lnTo>
                      <a:pt x="218" y="116"/>
                    </a:lnTo>
                    <a:lnTo>
                      <a:pt x="196" y="134"/>
                    </a:lnTo>
                    <a:lnTo>
                      <a:pt x="175" y="152"/>
                    </a:lnTo>
                    <a:lnTo>
                      <a:pt x="155" y="172"/>
                    </a:lnTo>
                    <a:lnTo>
                      <a:pt x="137" y="193"/>
                    </a:lnTo>
                    <a:lnTo>
                      <a:pt x="120" y="214"/>
                    </a:lnTo>
                    <a:lnTo>
                      <a:pt x="103" y="236"/>
                    </a:lnTo>
                    <a:lnTo>
                      <a:pt x="88" y="259"/>
                    </a:lnTo>
                    <a:lnTo>
                      <a:pt x="75" y="282"/>
                    </a:lnTo>
                    <a:lnTo>
                      <a:pt x="62" y="307"/>
                    </a:lnTo>
                    <a:lnTo>
                      <a:pt x="51" y="332"/>
                    </a:lnTo>
                    <a:lnTo>
                      <a:pt x="41" y="357"/>
                    </a:lnTo>
                    <a:lnTo>
                      <a:pt x="33" y="383"/>
                    </a:lnTo>
                    <a:lnTo>
                      <a:pt x="26" y="409"/>
                    </a:lnTo>
                    <a:lnTo>
                      <a:pt x="19" y="435"/>
                    </a:lnTo>
                    <a:lnTo>
                      <a:pt x="14" y="461"/>
                    </a:lnTo>
                    <a:lnTo>
                      <a:pt x="8" y="487"/>
                    </a:lnTo>
                    <a:lnTo>
                      <a:pt x="4" y="513"/>
                    </a:lnTo>
                    <a:lnTo>
                      <a:pt x="2" y="539"/>
                    </a:lnTo>
                    <a:lnTo>
                      <a:pt x="0" y="565"/>
                    </a:lnTo>
                    <a:lnTo>
                      <a:pt x="0" y="591"/>
                    </a:lnTo>
                    <a:lnTo>
                      <a:pt x="0" y="1248"/>
                    </a:lnTo>
                    <a:lnTo>
                      <a:pt x="0" y="1279"/>
                    </a:lnTo>
                    <a:lnTo>
                      <a:pt x="2" y="1311"/>
                    </a:lnTo>
                    <a:lnTo>
                      <a:pt x="4" y="1341"/>
                    </a:lnTo>
                    <a:lnTo>
                      <a:pt x="8" y="1371"/>
                    </a:lnTo>
                    <a:lnTo>
                      <a:pt x="14" y="1401"/>
                    </a:lnTo>
                    <a:lnTo>
                      <a:pt x="20" y="1430"/>
                    </a:lnTo>
                    <a:lnTo>
                      <a:pt x="27" y="1459"/>
                    </a:lnTo>
                    <a:lnTo>
                      <a:pt x="34" y="1487"/>
                    </a:lnTo>
                    <a:lnTo>
                      <a:pt x="43" y="1515"/>
                    </a:lnTo>
                    <a:lnTo>
                      <a:pt x="54" y="1543"/>
                    </a:lnTo>
                    <a:lnTo>
                      <a:pt x="65" y="1569"/>
                    </a:lnTo>
                    <a:lnTo>
                      <a:pt x="77" y="1594"/>
                    </a:lnTo>
                    <a:lnTo>
                      <a:pt x="91" y="1619"/>
                    </a:lnTo>
                    <a:lnTo>
                      <a:pt x="106" y="1643"/>
                    </a:lnTo>
                    <a:lnTo>
                      <a:pt x="122" y="1666"/>
                    </a:lnTo>
                    <a:lnTo>
                      <a:pt x="139" y="1688"/>
                    </a:lnTo>
                    <a:lnTo>
                      <a:pt x="157" y="1709"/>
                    </a:lnTo>
                    <a:lnTo>
                      <a:pt x="177" y="1729"/>
                    </a:lnTo>
                    <a:lnTo>
                      <a:pt x="198" y="1747"/>
                    </a:lnTo>
                    <a:lnTo>
                      <a:pt x="221" y="1765"/>
                    </a:lnTo>
                    <a:lnTo>
                      <a:pt x="244" y="1782"/>
                    </a:lnTo>
                    <a:lnTo>
                      <a:pt x="270" y="1797"/>
                    </a:lnTo>
                    <a:lnTo>
                      <a:pt x="296" y="1811"/>
                    </a:lnTo>
                    <a:lnTo>
                      <a:pt x="324" y="1824"/>
                    </a:lnTo>
                    <a:lnTo>
                      <a:pt x="338" y="1830"/>
                    </a:lnTo>
                    <a:lnTo>
                      <a:pt x="353" y="1836"/>
                    </a:lnTo>
                    <a:lnTo>
                      <a:pt x="368" y="1841"/>
                    </a:lnTo>
                    <a:lnTo>
                      <a:pt x="383" y="1846"/>
                    </a:lnTo>
                    <a:lnTo>
                      <a:pt x="415" y="1855"/>
                    </a:lnTo>
                    <a:lnTo>
                      <a:pt x="448" y="1862"/>
                    </a:lnTo>
                    <a:lnTo>
                      <a:pt x="484" y="1868"/>
                    </a:lnTo>
                    <a:lnTo>
                      <a:pt x="520" y="1871"/>
                    </a:lnTo>
                    <a:lnTo>
                      <a:pt x="557" y="1874"/>
                    </a:lnTo>
                    <a:lnTo>
                      <a:pt x="596" y="1875"/>
                    </a:lnTo>
                    <a:lnTo>
                      <a:pt x="628" y="1874"/>
                    </a:lnTo>
                    <a:lnTo>
                      <a:pt x="659" y="1872"/>
                    </a:lnTo>
                    <a:lnTo>
                      <a:pt x="690" y="1869"/>
                    </a:lnTo>
                    <a:lnTo>
                      <a:pt x="721" y="1864"/>
                    </a:lnTo>
                    <a:lnTo>
                      <a:pt x="750" y="1859"/>
                    </a:lnTo>
                    <a:lnTo>
                      <a:pt x="779" y="1852"/>
                    </a:lnTo>
                    <a:lnTo>
                      <a:pt x="806" y="1843"/>
                    </a:lnTo>
                    <a:lnTo>
                      <a:pt x="834" y="18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35" name="Freeform 7"/>
              <p:cNvSpPr>
                <a:spLocks/>
              </p:cNvSpPr>
              <p:nvPr/>
            </p:nvSpPr>
            <p:spPr bwMode="auto">
              <a:xfrm>
                <a:off x="926813" y="259248"/>
                <a:ext cx="121265" cy="194272"/>
              </a:xfrm>
              <a:custGeom>
                <a:avLst/>
                <a:gdLst>
                  <a:gd name="T0" fmla="*/ 197 w 1175"/>
                  <a:gd name="T1" fmla="*/ 1747 h 1875"/>
                  <a:gd name="T2" fmla="*/ 294 w 1175"/>
                  <a:gd name="T3" fmla="*/ 1811 h 1875"/>
                  <a:gd name="T4" fmla="*/ 366 w 1175"/>
                  <a:gd name="T5" fmla="*/ 1841 h 1875"/>
                  <a:gd name="T6" fmla="*/ 481 w 1175"/>
                  <a:gd name="T7" fmla="*/ 1868 h 1875"/>
                  <a:gd name="T8" fmla="*/ 622 w 1175"/>
                  <a:gd name="T9" fmla="*/ 1874 h 1875"/>
                  <a:gd name="T10" fmla="*/ 728 w 1175"/>
                  <a:gd name="T11" fmla="*/ 1863 h 1875"/>
                  <a:gd name="T12" fmla="*/ 826 w 1175"/>
                  <a:gd name="T13" fmla="*/ 1836 h 1875"/>
                  <a:gd name="T14" fmla="*/ 915 w 1175"/>
                  <a:gd name="T15" fmla="*/ 1794 h 1875"/>
                  <a:gd name="T16" fmla="*/ 995 w 1175"/>
                  <a:gd name="T17" fmla="*/ 1737 h 1875"/>
                  <a:gd name="T18" fmla="*/ 1063 w 1175"/>
                  <a:gd name="T19" fmla="*/ 1668 h 1875"/>
                  <a:gd name="T20" fmla="*/ 1116 w 1175"/>
                  <a:gd name="T21" fmla="*/ 1586 h 1875"/>
                  <a:gd name="T22" fmla="*/ 1154 w 1175"/>
                  <a:gd name="T23" fmla="*/ 1493 h 1875"/>
                  <a:gd name="T24" fmla="*/ 806 w 1175"/>
                  <a:gd name="T25" fmla="*/ 1310 h 1875"/>
                  <a:gd name="T26" fmla="*/ 782 w 1175"/>
                  <a:gd name="T27" fmla="*/ 1391 h 1875"/>
                  <a:gd name="T28" fmla="*/ 734 w 1175"/>
                  <a:gd name="T29" fmla="*/ 1452 h 1875"/>
                  <a:gd name="T30" fmla="*/ 669 w 1175"/>
                  <a:gd name="T31" fmla="*/ 1490 h 1875"/>
                  <a:gd name="T32" fmla="*/ 595 w 1175"/>
                  <a:gd name="T33" fmla="*/ 1503 h 1875"/>
                  <a:gd name="T34" fmla="*/ 540 w 1175"/>
                  <a:gd name="T35" fmla="*/ 1499 h 1875"/>
                  <a:gd name="T36" fmla="*/ 496 w 1175"/>
                  <a:gd name="T37" fmla="*/ 1486 h 1875"/>
                  <a:gd name="T38" fmla="*/ 460 w 1175"/>
                  <a:gd name="T39" fmla="*/ 1465 h 1875"/>
                  <a:gd name="T40" fmla="*/ 433 w 1175"/>
                  <a:gd name="T41" fmla="*/ 1435 h 1875"/>
                  <a:gd name="T42" fmla="*/ 398 w 1175"/>
                  <a:gd name="T43" fmla="*/ 1357 h 1875"/>
                  <a:gd name="T44" fmla="*/ 387 w 1175"/>
                  <a:gd name="T45" fmla="*/ 1259 h 1875"/>
                  <a:gd name="T46" fmla="*/ 393 w 1175"/>
                  <a:gd name="T47" fmla="*/ 525 h 1875"/>
                  <a:gd name="T48" fmla="*/ 421 w 1175"/>
                  <a:gd name="T49" fmla="*/ 457 h 1875"/>
                  <a:gd name="T50" fmla="*/ 452 w 1175"/>
                  <a:gd name="T51" fmla="*/ 420 h 1875"/>
                  <a:gd name="T52" fmla="*/ 485 w 1175"/>
                  <a:gd name="T53" fmla="*/ 396 h 1875"/>
                  <a:gd name="T54" fmla="*/ 527 w 1175"/>
                  <a:gd name="T55" fmla="*/ 379 h 1875"/>
                  <a:gd name="T56" fmla="*/ 579 w 1175"/>
                  <a:gd name="T57" fmla="*/ 371 h 1875"/>
                  <a:gd name="T58" fmla="*/ 634 w 1175"/>
                  <a:gd name="T59" fmla="*/ 374 h 1875"/>
                  <a:gd name="T60" fmla="*/ 679 w 1175"/>
                  <a:gd name="T61" fmla="*/ 387 h 1875"/>
                  <a:gd name="T62" fmla="*/ 741 w 1175"/>
                  <a:gd name="T63" fmla="*/ 428 h 1875"/>
                  <a:gd name="T64" fmla="*/ 787 w 1175"/>
                  <a:gd name="T65" fmla="*/ 490 h 1875"/>
                  <a:gd name="T66" fmla="*/ 808 w 1175"/>
                  <a:gd name="T67" fmla="*/ 556 h 1875"/>
                  <a:gd name="T68" fmla="*/ 1165 w 1175"/>
                  <a:gd name="T69" fmla="*/ 417 h 1875"/>
                  <a:gd name="T70" fmla="*/ 1133 w 1175"/>
                  <a:gd name="T71" fmla="*/ 330 h 1875"/>
                  <a:gd name="T72" fmla="*/ 1087 w 1175"/>
                  <a:gd name="T73" fmla="*/ 246 h 1875"/>
                  <a:gd name="T74" fmla="*/ 1028 w 1175"/>
                  <a:gd name="T75" fmla="*/ 173 h 1875"/>
                  <a:gd name="T76" fmla="*/ 957 w 1175"/>
                  <a:gd name="T77" fmla="*/ 110 h 1875"/>
                  <a:gd name="T78" fmla="*/ 871 w 1175"/>
                  <a:gd name="T79" fmla="*/ 59 h 1875"/>
                  <a:gd name="T80" fmla="*/ 770 w 1175"/>
                  <a:gd name="T81" fmla="*/ 21 h 1875"/>
                  <a:gd name="T82" fmla="*/ 656 w 1175"/>
                  <a:gd name="T83" fmla="*/ 2 h 1875"/>
                  <a:gd name="T84" fmla="*/ 516 w 1175"/>
                  <a:gd name="T85" fmla="*/ 3 h 1875"/>
                  <a:gd name="T86" fmla="*/ 410 w 1175"/>
                  <a:gd name="T87" fmla="*/ 21 h 1875"/>
                  <a:gd name="T88" fmla="*/ 348 w 1175"/>
                  <a:gd name="T89" fmla="*/ 41 h 1875"/>
                  <a:gd name="T90" fmla="*/ 265 w 1175"/>
                  <a:gd name="T91" fmla="*/ 83 h 1875"/>
                  <a:gd name="T92" fmla="*/ 174 w 1175"/>
                  <a:gd name="T93" fmla="*/ 152 h 1875"/>
                  <a:gd name="T94" fmla="*/ 102 w 1175"/>
                  <a:gd name="T95" fmla="*/ 236 h 1875"/>
                  <a:gd name="T96" fmla="*/ 51 w 1175"/>
                  <a:gd name="T97" fmla="*/ 332 h 1875"/>
                  <a:gd name="T98" fmla="*/ 19 w 1175"/>
                  <a:gd name="T99" fmla="*/ 435 h 1875"/>
                  <a:gd name="T100" fmla="*/ 2 w 1175"/>
                  <a:gd name="T101" fmla="*/ 539 h 1875"/>
                  <a:gd name="T102" fmla="*/ 1 w 1175"/>
                  <a:gd name="T103" fmla="*/ 1279 h 1875"/>
                  <a:gd name="T104" fmla="*/ 14 w 1175"/>
                  <a:gd name="T105" fmla="*/ 1401 h 1875"/>
                  <a:gd name="T106" fmla="*/ 43 w 1175"/>
                  <a:gd name="T107" fmla="*/ 1515 h 1875"/>
                  <a:gd name="T108" fmla="*/ 90 w 1175"/>
                  <a:gd name="T109" fmla="*/ 1619 h 1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75" h="1875">
                    <a:moveTo>
                      <a:pt x="138" y="1688"/>
                    </a:moveTo>
                    <a:lnTo>
                      <a:pt x="157" y="1709"/>
                    </a:lnTo>
                    <a:lnTo>
                      <a:pt x="176" y="1729"/>
                    </a:lnTo>
                    <a:lnTo>
                      <a:pt x="197" y="1747"/>
                    </a:lnTo>
                    <a:lnTo>
                      <a:pt x="219" y="1765"/>
                    </a:lnTo>
                    <a:lnTo>
                      <a:pt x="243" y="1781"/>
                    </a:lnTo>
                    <a:lnTo>
                      <a:pt x="268" y="1797"/>
                    </a:lnTo>
                    <a:lnTo>
                      <a:pt x="294" y="1811"/>
                    </a:lnTo>
                    <a:lnTo>
                      <a:pt x="321" y="1824"/>
                    </a:lnTo>
                    <a:lnTo>
                      <a:pt x="335" y="1830"/>
                    </a:lnTo>
                    <a:lnTo>
                      <a:pt x="351" y="1836"/>
                    </a:lnTo>
                    <a:lnTo>
                      <a:pt x="366" y="1841"/>
                    </a:lnTo>
                    <a:lnTo>
                      <a:pt x="381" y="1846"/>
                    </a:lnTo>
                    <a:lnTo>
                      <a:pt x="413" y="1855"/>
                    </a:lnTo>
                    <a:lnTo>
                      <a:pt x="446" y="1862"/>
                    </a:lnTo>
                    <a:lnTo>
                      <a:pt x="481" y="1868"/>
                    </a:lnTo>
                    <a:lnTo>
                      <a:pt x="517" y="1872"/>
                    </a:lnTo>
                    <a:lnTo>
                      <a:pt x="555" y="1874"/>
                    </a:lnTo>
                    <a:lnTo>
                      <a:pt x="595" y="1875"/>
                    </a:lnTo>
                    <a:lnTo>
                      <a:pt x="622" y="1874"/>
                    </a:lnTo>
                    <a:lnTo>
                      <a:pt x="650" y="1873"/>
                    </a:lnTo>
                    <a:lnTo>
                      <a:pt x="676" y="1871"/>
                    </a:lnTo>
                    <a:lnTo>
                      <a:pt x="702" y="1867"/>
                    </a:lnTo>
                    <a:lnTo>
                      <a:pt x="728" y="1863"/>
                    </a:lnTo>
                    <a:lnTo>
                      <a:pt x="753" y="1858"/>
                    </a:lnTo>
                    <a:lnTo>
                      <a:pt x="778" y="1851"/>
                    </a:lnTo>
                    <a:lnTo>
                      <a:pt x="802" y="1844"/>
                    </a:lnTo>
                    <a:lnTo>
                      <a:pt x="826" y="1836"/>
                    </a:lnTo>
                    <a:lnTo>
                      <a:pt x="849" y="1827"/>
                    </a:lnTo>
                    <a:lnTo>
                      <a:pt x="872" y="1817"/>
                    </a:lnTo>
                    <a:lnTo>
                      <a:pt x="894" y="1806"/>
                    </a:lnTo>
                    <a:lnTo>
                      <a:pt x="915" y="1794"/>
                    </a:lnTo>
                    <a:lnTo>
                      <a:pt x="936" y="1782"/>
                    </a:lnTo>
                    <a:lnTo>
                      <a:pt x="956" y="1768"/>
                    </a:lnTo>
                    <a:lnTo>
                      <a:pt x="976" y="1753"/>
                    </a:lnTo>
                    <a:lnTo>
                      <a:pt x="995" y="1737"/>
                    </a:lnTo>
                    <a:lnTo>
                      <a:pt x="1013" y="1721"/>
                    </a:lnTo>
                    <a:lnTo>
                      <a:pt x="1030" y="1704"/>
                    </a:lnTo>
                    <a:lnTo>
                      <a:pt x="1046" y="1686"/>
                    </a:lnTo>
                    <a:lnTo>
                      <a:pt x="1063" y="1668"/>
                    </a:lnTo>
                    <a:lnTo>
                      <a:pt x="1077" y="1649"/>
                    </a:lnTo>
                    <a:lnTo>
                      <a:pt x="1091" y="1629"/>
                    </a:lnTo>
                    <a:lnTo>
                      <a:pt x="1104" y="1607"/>
                    </a:lnTo>
                    <a:lnTo>
                      <a:pt x="1116" y="1586"/>
                    </a:lnTo>
                    <a:lnTo>
                      <a:pt x="1127" y="1564"/>
                    </a:lnTo>
                    <a:lnTo>
                      <a:pt x="1137" y="1541"/>
                    </a:lnTo>
                    <a:lnTo>
                      <a:pt x="1146" y="1517"/>
                    </a:lnTo>
                    <a:lnTo>
                      <a:pt x="1154" y="1493"/>
                    </a:lnTo>
                    <a:lnTo>
                      <a:pt x="1161" y="1468"/>
                    </a:lnTo>
                    <a:lnTo>
                      <a:pt x="1167" y="1442"/>
                    </a:lnTo>
                    <a:lnTo>
                      <a:pt x="1173" y="1416"/>
                    </a:lnTo>
                    <a:lnTo>
                      <a:pt x="806" y="1310"/>
                    </a:lnTo>
                    <a:lnTo>
                      <a:pt x="802" y="1332"/>
                    </a:lnTo>
                    <a:lnTo>
                      <a:pt x="797" y="1353"/>
                    </a:lnTo>
                    <a:lnTo>
                      <a:pt x="791" y="1372"/>
                    </a:lnTo>
                    <a:lnTo>
                      <a:pt x="782" y="1391"/>
                    </a:lnTo>
                    <a:lnTo>
                      <a:pt x="773" y="1408"/>
                    </a:lnTo>
                    <a:lnTo>
                      <a:pt x="761" y="1423"/>
                    </a:lnTo>
                    <a:lnTo>
                      <a:pt x="749" y="1438"/>
                    </a:lnTo>
                    <a:lnTo>
                      <a:pt x="734" y="1452"/>
                    </a:lnTo>
                    <a:lnTo>
                      <a:pt x="719" y="1464"/>
                    </a:lnTo>
                    <a:lnTo>
                      <a:pt x="703" y="1474"/>
                    </a:lnTo>
                    <a:lnTo>
                      <a:pt x="686" y="1483"/>
                    </a:lnTo>
                    <a:lnTo>
                      <a:pt x="669" y="1490"/>
                    </a:lnTo>
                    <a:lnTo>
                      <a:pt x="651" y="1496"/>
                    </a:lnTo>
                    <a:lnTo>
                      <a:pt x="633" y="1500"/>
                    </a:lnTo>
                    <a:lnTo>
                      <a:pt x="614" y="1502"/>
                    </a:lnTo>
                    <a:lnTo>
                      <a:pt x="595" y="1503"/>
                    </a:lnTo>
                    <a:lnTo>
                      <a:pt x="580" y="1503"/>
                    </a:lnTo>
                    <a:lnTo>
                      <a:pt x="566" y="1502"/>
                    </a:lnTo>
                    <a:lnTo>
                      <a:pt x="553" y="1501"/>
                    </a:lnTo>
                    <a:lnTo>
                      <a:pt x="540" y="1499"/>
                    </a:lnTo>
                    <a:lnTo>
                      <a:pt x="529" y="1497"/>
                    </a:lnTo>
                    <a:lnTo>
                      <a:pt x="517" y="1494"/>
                    </a:lnTo>
                    <a:lnTo>
                      <a:pt x="506" y="1490"/>
                    </a:lnTo>
                    <a:lnTo>
                      <a:pt x="496" y="1486"/>
                    </a:lnTo>
                    <a:lnTo>
                      <a:pt x="486" y="1482"/>
                    </a:lnTo>
                    <a:lnTo>
                      <a:pt x="477" y="1477"/>
                    </a:lnTo>
                    <a:lnTo>
                      <a:pt x="468" y="1471"/>
                    </a:lnTo>
                    <a:lnTo>
                      <a:pt x="460" y="1465"/>
                    </a:lnTo>
                    <a:lnTo>
                      <a:pt x="453" y="1458"/>
                    </a:lnTo>
                    <a:lnTo>
                      <a:pt x="446" y="1451"/>
                    </a:lnTo>
                    <a:lnTo>
                      <a:pt x="439" y="1443"/>
                    </a:lnTo>
                    <a:lnTo>
                      <a:pt x="433" y="1435"/>
                    </a:lnTo>
                    <a:lnTo>
                      <a:pt x="422" y="1417"/>
                    </a:lnTo>
                    <a:lnTo>
                      <a:pt x="413" y="1398"/>
                    </a:lnTo>
                    <a:lnTo>
                      <a:pt x="405" y="1378"/>
                    </a:lnTo>
                    <a:lnTo>
                      <a:pt x="398" y="1357"/>
                    </a:lnTo>
                    <a:lnTo>
                      <a:pt x="393" y="1334"/>
                    </a:lnTo>
                    <a:lnTo>
                      <a:pt x="390" y="1311"/>
                    </a:lnTo>
                    <a:lnTo>
                      <a:pt x="387" y="1285"/>
                    </a:lnTo>
                    <a:lnTo>
                      <a:pt x="387" y="1259"/>
                    </a:lnTo>
                    <a:lnTo>
                      <a:pt x="387" y="575"/>
                    </a:lnTo>
                    <a:lnTo>
                      <a:pt x="387" y="558"/>
                    </a:lnTo>
                    <a:lnTo>
                      <a:pt x="389" y="542"/>
                    </a:lnTo>
                    <a:lnTo>
                      <a:pt x="393" y="525"/>
                    </a:lnTo>
                    <a:lnTo>
                      <a:pt x="398" y="507"/>
                    </a:lnTo>
                    <a:lnTo>
                      <a:pt x="404" y="490"/>
                    </a:lnTo>
                    <a:lnTo>
                      <a:pt x="411" y="473"/>
                    </a:lnTo>
                    <a:lnTo>
                      <a:pt x="421" y="457"/>
                    </a:lnTo>
                    <a:lnTo>
                      <a:pt x="432" y="441"/>
                    </a:lnTo>
                    <a:lnTo>
                      <a:pt x="438" y="434"/>
                    </a:lnTo>
                    <a:lnTo>
                      <a:pt x="445" y="427"/>
                    </a:lnTo>
                    <a:lnTo>
                      <a:pt x="452" y="420"/>
                    </a:lnTo>
                    <a:lnTo>
                      <a:pt x="460" y="413"/>
                    </a:lnTo>
                    <a:lnTo>
                      <a:pt x="468" y="407"/>
                    </a:lnTo>
                    <a:lnTo>
                      <a:pt x="476" y="401"/>
                    </a:lnTo>
                    <a:lnTo>
                      <a:pt x="485" y="396"/>
                    </a:lnTo>
                    <a:lnTo>
                      <a:pt x="495" y="391"/>
                    </a:lnTo>
                    <a:lnTo>
                      <a:pt x="505" y="386"/>
                    </a:lnTo>
                    <a:lnTo>
                      <a:pt x="516" y="382"/>
                    </a:lnTo>
                    <a:lnTo>
                      <a:pt x="527" y="379"/>
                    </a:lnTo>
                    <a:lnTo>
                      <a:pt x="539" y="376"/>
                    </a:lnTo>
                    <a:lnTo>
                      <a:pt x="552" y="374"/>
                    </a:lnTo>
                    <a:lnTo>
                      <a:pt x="565" y="372"/>
                    </a:lnTo>
                    <a:lnTo>
                      <a:pt x="579" y="371"/>
                    </a:lnTo>
                    <a:lnTo>
                      <a:pt x="595" y="371"/>
                    </a:lnTo>
                    <a:lnTo>
                      <a:pt x="608" y="371"/>
                    </a:lnTo>
                    <a:lnTo>
                      <a:pt x="621" y="372"/>
                    </a:lnTo>
                    <a:lnTo>
                      <a:pt x="634" y="374"/>
                    </a:lnTo>
                    <a:lnTo>
                      <a:pt x="646" y="376"/>
                    </a:lnTo>
                    <a:lnTo>
                      <a:pt x="657" y="379"/>
                    </a:lnTo>
                    <a:lnTo>
                      <a:pt x="668" y="383"/>
                    </a:lnTo>
                    <a:lnTo>
                      <a:pt x="679" y="387"/>
                    </a:lnTo>
                    <a:lnTo>
                      <a:pt x="689" y="392"/>
                    </a:lnTo>
                    <a:lnTo>
                      <a:pt x="708" y="403"/>
                    </a:lnTo>
                    <a:lnTo>
                      <a:pt x="725" y="415"/>
                    </a:lnTo>
                    <a:lnTo>
                      <a:pt x="741" y="428"/>
                    </a:lnTo>
                    <a:lnTo>
                      <a:pt x="755" y="442"/>
                    </a:lnTo>
                    <a:lnTo>
                      <a:pt x="767" y="457"/>
                    </a:lnTo>
                    <a:lnTo>
                      <a:pt x="778" y="473"/>
                    </a:lnTo>
                    <a:lnTo>
                      <a:pt x="787" y="490"/>
                    </a:lnTo>
                    <a:lnTo>
                      <a:pt x="794" y="507"/>
                    </a:lnTo>
                    <a:lnTo>
                      <a:pt x="799" y="524"/>
                    </a:lnTo>
                    <a:lnTo>
                      <a:pt x="804" y="541"/>
                    </a:lnTo>
                    <a:lnTo>
                      <a:pt x="808" y="556"/>
                    </a:lnTo>
                    <a:lnTo>
                      <a:pt x="811" y="569"/>
                    </a:lnTo>
                    <a:lnTo>
                      <a:pt x="1175" y="461"/>
                    </a:lnTo>
                    <a:lnTo>
                      <a:pt x="1170" y="439"/>
                    </a:lnTo>
                    <a:lnTo>
                      <a:pt x="1165" y="417"/>
                    </a:lnTo>
                    <a:lnTo>
                      <a:pt x="1158" y="395"/>
                    </a:lnTo>
                    <a:lnTo>
                      <a:pt x="1150" y="373"/>
                    </a:lnTo>
                    <a:lnTo>
                      <a:pt x="1142" y="351"/>
                    </a:lnTo>
                    <a:lnTo>
                      <a:pt x="1133" y="330"/>
                    </a:lnTo>
                    <a:lnTo>
                      <a:pt x="1123" y="309"/>
                    </a:lnTo>
                    <a:lnTo>
                      <a:pt x="1112" y="288"/>
                    </a:lnTo>
                    <a:lnTo>
                      <a:pt x="1100" y="266"/>
                    </a:lnTo>
                    <a:lnTo>
                      <a:pt x="1087" y="246"/>
                    </a:lnTo>
                    <a:lnTo>
                      <a:pt x="1074" y="227"/>
                    </a:lnTo>
                    <a:lnTo>
                      <a:pt x="1060" y="208"/>
                    </a:lnTo>
                    <a:lnTo>
                      <a:pt x="1044" y="190"/>
                    </a:lnTo>
                    <a:lnTo>
                      <a:pt x="1028" y="173"/>
                    </a:lnTo>
                    <a:lnTo>
                      <a:pt x="1011" y="156"/>
                    </a:lnTo>
                    <a:lnTo>
                      <a:pt x="994" y="140"/>
                    </a:lnTo>
                    <a:lnTo>
                      <a:pt x="976" y="125"/>
                    </a:lnTo>
                    <a:lnTo>
                      <a:pt x="957" y="110"/>
                    </a:lnTo>
                    <a:lnTo>
                      <a:pt x="937" y="96"/>
                    </a:lnTo>
                    <a:lnTo>
                      <a:pt x="916" y="82"/>
                    </a:lnTo>
                    <a:lnTo>
                      <a:pt x="894" y="70"/>
                    </a:lnTo>
                    <a:lnTo>
                      <a:pt x="871" y="59"/>
                    </a:lnTo>
                    <a:lnTo>
                      <a:pt x="847" y="48"/>
                    </a:lnTo>
                    <a:lnTo>
                      <a:pt x="822" y="38"/>
                    </a:lnTo>
                    <a:lnTo>
                      <a:pt x="796" y="29"/>
                    </a:lnTo>
                    <a:lnTo>
                      <a:pt x="770" y="21"/>
                    </a:lnTo>
                    <a:lnTo>
                      <a:pt x="742" y="15"/>
                    </a:lnTo>
                    <a:lnTo>
                      <a:pt x="714" y="9"/>
                    </a:lnTo>
                    <a:lnTo>
                      <a:pt x="686" y="5"/>
                    </a:lnTo>
                    <a:lnTo>
                      <a:pt x="656" y="2"/>
                    </a:lnTo>
                    <a:lnTo>
                      <a:pt x="626" y="1"/>
                    </a:lnTo>
                    <a:lnTo>
                      <a:pt x="595" y="0"/>
                    </a:lnTo>
                    <a:lnTo>
                      <a:pt x="554" y="1"/>
                    </a:lnTo>
                    <a:lnTo>
                      <a:pt x="516" y="3"/>
                    </a:lnTo>
                    <a:lnTo>
                      <a:pt x="479" y="7"/>
                    </a:lnTo>
                    <a:lnTo>
                      <a:pt x="444" y="13"/>
                    </a:lnTo>
                    <a:lnTo>
                      <a:pt x="427" y="17"/>
                    </a:lnTo>
                    <a:lnTo>
                      <a:pt x="410" y="21"/>
                    </a:lnTo>
                    <a:lnTo>
                      <a:pt x="394" y="25"/>
                    </a:lnTo>
                    <a:lnTo>
                      <a:pt x="378" y="30"/>
                    </a:lnTo>
                    <a:lnTo>
                      <a:pt x="363" y="35"/>
                    </a:lnTo>
                    <a:lnTo>
                      <a:pt x="348" y="41"/>
                    </a:lnTo>
                    <a:lnTo>
                      <a:pt x="332" y="47"/>
                    </a:lnTo>
                    <a:lnTo>
                      <a:pt x="318" y="54"/>
                    </a:lnTo>
                    <a:lnTo>
                      <a:pt x="291" y="68"/>
                    </a:lnTo>
                    <a:lnTo>
                      <a:pt x="265" y="83"/>
                    </a:lnTo>
                    <a:lnTo>
                      <a:pt x="240" y="99"/>
                    </a:lnTo>
                    <a:lnTo>
                      <a:pt x="217" y="116"/>
                    </a:lnTo>
                    <a:lnTo>
                      <a:pt x="194" y="134"/>
                    </a:lnTo>
                    <a:lnTo>
                      <a:pt x="174" y="152"/>
                    </a:lnTo>
                    <a:lnTo>
                      <a:pt x="154" y="172"/>
                    </a:lnTo>
                    <a:lnTo>
                      <a:pt x="136" y="193"/>
                    </a:lnTo>
                    <a:lnTo>
                      <a:pt x="119" y="214"/>
                    </a:lnTo>
                    <a:lnTo>
                      <a:pt x="102" y="236"/>
                    </a:lnTo>
                    <a:lnTo>
                      <a:pt x="88" y="259"/>
                    </a:lnTo>
                    <a:lnTo>
                      <a:pt x="74" y="282"/>
                    </a:lnTo>
                    <a:lnTo>
                      <a:pt x="62" y="307"/>
                    </a:lnTo>
                    <a:lnTo>
                      <a:pt x="51" y="332"/>
                    </a:lnTo>
                    <a:lnTo>
                      <a:pt x="41" y="357"/>
                    </a:lnTo>
                    <a:lnTo>
                      <a:pt x="33" y="383"/>
                    </a:lnTo>
                    <a:lnTo>
                      <a:pt x="25" y="409"/>
                    </a:lnTo>
                    <a:lnTo>
                      <a:pt x="19" y="435"/>
                    </a:lnTo>
                    <a:lnTo>
                      <a:pt x="13" y="461"/>
                    </a:lnTo>
                    <a:lnTo>
                      <a:pt x="9" y="487"/>
                    </a:lnTo>
                    <a:lnTo>
                      <a:pt x="5" y="513"/>
                    </a:lnTo>
                    <a:lnTo>
                      <a:pt x="2" y="539"/>
                    </a:lnTo>
                    <a:lnTo>
                      <a:pt x="1" y="565"/>
                    </a:lnTo>
                    <a:lnTo>
                      <a:pt x="0" y="591"/>
                    </a:lnTo>
                    <a:lnTo>
                      <a:pt x="0" y="1248"/>
                    </a:lnTo>
                    <a:lnTo>
                      <a:pt x="1" y="1279"/>
                    </a:lnTo>
                    <a:lnTo>
                      <a:pt x="3" y="1311"/>
                    </a:lnTo>
                    <a:lnTo>
                      <a:pt x="5" y="1341"/>
                    </a:lnTo>
                    <a:lnTo>
                      <a:pt x="9" y="1371"/>
                    </a:lnTo>
                    <a:lnTo>
                      <a:pt x="14" y="1401"/>
                    </a:lnTo>
                    <a:lnTo>
                      <a:pt x="20" y="1430"/>
                    </a:lnTo>
                    <a:lnTo>
                      <a:pt x="27" y="1459"/>
                    </a:lnTo>
                    <a:lnTo>
                      <a:pt x="34" y="1487"/>
                    </a:lnTo>
                    <a:lnTo>
                      <a:pt x="43" y="1515"/>
                    </a:lnTo>
                    <a:lnTo>
                      <a:pt x="53" y="1543"/>
                    </a:lnTo>
                    <a:lnTo>
                      <a:pt x="64" y="1569"/>
                    </a:lnTo>
                    <a:lnTo>
                      <a:pt x="77" y="1594"/>
                    </a:lnTo>
                    <a:lnTo>
                      <a:pt x="90" y="1619"/>
                    </a:lnTo>
                    <a:lnTo>
                      <a:pt x="105" y="1643"/>
                    </a:lnTo>
                    <a:lnTo>
                      <a:pt x="121" y="1666"/>
                    </a:lnTo>
                    <a:lnTo>
                      <a:pt x="138" y="16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36" name="Freeform 8"/>
              <p:cNvSpPr>
                <a:spLocks/>
              </p:cNvSpPr>
              <p:nvPr/>
            </p:nvSpPr>
            <p:spPr bwMode="auto">
              <a:xfrm>
                <a:off x="1081488" y="259248"/>
                <a:ext cx="121265" cy="194272"/>
              </a:xfrm>
              <a:custGeom>
                <a:avLst/>
                <a:gdLst>
                  <a:gd name="T0" fmla="*/ 419 w 1174"/>
                  <a:gd name="T1" fmla="*/ 457 h 1875"/>
                  <a:gd name="T2" fmla="*/ 450 w 1174"/>
                  <a:gd name="T3" fmla="*/ 420 h 1875"/>
                  <a:gd name="T4" fmla="*/ 484 w 1174"/>
                  <a:gd name="T5" fmla="*/ 396 h 1875"/>
                  <a:gd name="T6" fmla="*/ 527 w 1174"/>
                  <a:gd name="T7" fmla="*/ 379 h 1875"/>
                  <a:gd name="T8" fmla="*/ 579 w 1174"/>
                  <a:gd name="T9" fmla="*/ 371 h 1875"/>
                  <a:gd name="T10" fmla="*/ 632 w 1174"/>
                  <a:gd name="T11" fmla="*/ 374 h 1875"/>
                  <a:gd name="T12" fmla="*/ 677 w 1174"/>
                  <a:gd name="T13" fmla="*/ 387 h 1875"/>
                  <a:gd name="T14" fmla="*/ 741 w 1174"/>
                  <a:gd name="T15" fmla="*/ 428 h 1875"/>
                  <a:gd name="T16" fmla="*/ 782 w 1174"/>
                  <a:gd name="T17" fmla="*/ 481 h 1875"/>
                  <a:gd name="T18" fmla="*/ 798 w 1174"/>
                  <a:gd name="T19" fmla="*/ 524 h 1875"/>
                  <a:gd name="T20" fmla="*/ 1174 w 1174"/>
                  <a:gd name="T21" fmla="*/ 461 h 1875"/>
                  <a:gd name="T22" fmla="*/ 1149 w 1174"/>
                  <a:gd name="T23" fmla="*/ 373 h 1875"/>
                  <a:gd name="T24" fmla="*/ 1110 w 1174"/>
                  <a:gd name="T25" fmla="*/ 288 h 1875"/>
                  <a:gd name="T26" fmla="*/ 1059 w 1174"/>
                  <a:gd name="T27" fmla="*/ 208 h 1875"/>
                  <a:gd name="T28" fmla="*/ 994 w 1174"/>
                  <a:gd name="T29" fmla="*/ 140 h 1875"/>
                  <a:gd name="T30" fmla="*/ 914 w 1174"/>
                  <a:gd name="T31" fmla="*/ 83 h 1875"/>
                  <a:gd name="T32" fmla="*/ 821 w 1174"/>
                  <a:gd name="T33" fmla="*/ 38 h 1875"/>
                  <a:gd name="T34" fmla="*/ 713 w 1174"/>
                  <a:gd name="T35" fmla="*/ 9 h 1875"/>
                  <a:gd name="T36" fmla="*/ 593 w 1174"/>
                  <a:gd name="T37" fmla="*/ 0 h 1875"/>
                  <a:gd name="T38" fmla="*/ 443 w 1174"/>
                  <a:gd name="T39" fmla="*/ 13 h 1875"/>
                  <a:gd name="T40" fmla="*/ 377 w 1174"/>
                  <a:gd name="T41" fmla="*/ 30 h 1875"/>
                  <a:gd name="T42" fmla="*/ 318 w 1174"/>
                  <a:gd name="T43" fmla="*/ 54 h 1875"/>
                  <a:gd name="T44" fmla="*/ 215 w 1174"/>
                  <a:gd name="T45" fmla="*/ 116 h 1875"/>
                  <a:gd name="T46" fmla="*/ 134 w 1174"/>
                  <a:gd name="T47" fmla="*/ 193 h 1875"/>
                  <a:gd name="T48" fmla="*/ 74 w 1174"/>
                  <a:gd name="T49" fmla="*/ 282 h 1875"/>
                  <a:gd name="T50" fmla="*/ 33 w 1174"/>
                  <a:gd name="T51" fmla="*/ 383 h 1875"/>
                  <a:gd name="T52" fmla="*/ 8 w 1174"/>
                  <a:gd name="T53" fmla="*/ 487 h 1875"/>
                  <a:gd name="T54" fmla="*/ 0 w 1174"/>
                  <a:gd name="T55" fmla="*/ 591 h 1875"/>
                  <a:gd name="T56" fmla="*/ 5 w 1174"/>
                  <a:gd name="T57" fmla="*/ 1341 h 1875"/>
                  <a:gd name="T58" fmla="*/ 25 w 1174"/>
                  <a:gd name="T59" fmla="*/ 1459 h 1875"/>
                  <a:gd name="T60" fmla="*/ 64 w 1174"/>
                  <a:gd name="T61" fmla="*/ 1569 h 1875"/>
                  <a:gd name="T62" fmla="*/ 120 w 1174"/>
                  <a:gd name="T63" fmla="*/ 1666 h 1875"/>
                  <a:gd name="T64" fmla="*/ 196 w 1174"/>
                  <a:gd name="T65" fmla="*/ 1747 h 1875"/>
                  <a:gd name="T66" fmla="*/ 293 w 1174"/>
                  <a:gd name="T67" fmla="*/ 1811 h 1875"/>
                  <a:gd name="T68" fmla="*/ 364 w 1174"/>
                  <a:gd name="T69" fmla="*/ 1841 h 1875"/>
                  <a:gd name="T70" fmla="*/ 479 w 1174"/>
                  <a:gd name="T71" fmla="*/ 1868 h 1875"/>
                  <a:gd name="T72" fmla="*/ 621 w 1174"/>
                  <a:gd name="T73" fmla="*/ 1874 h 1875"/>
                  <a:gd name="T74" fmla="*/ 726 w 1174"/>
                  <a:gd name="T75" fmla="*/ 1863 h 1875"/>
                  <a:gd name="T76" fmla="*/ 825 w 1174"/>
                  <a:gd name="T77" fmla="*/ 1836 h 1875"/>
                  <a:gd name="T78" fmla="*/ 913 w 1174"/>
                  <a:gd name="T79" fmla="*/ 1794 h 1875"/>
                  <a:gd name="T80" fmla="*/ 994 w 1174"/>
                  <a:gd name="T81" fmla="*/ 1737 h 1875"/>
                  <a:gd name="T82" fmla="*/ 1061 w 1174"/>
                  <a:gd name="T83" fmla="*/ 1668 h 1875"/>
                  <a:gd name="T84" fmla="*/ 1114 w 1174"/>
                  <a:gd name="T85" fmla="*/ 1586 h 1875"/>
                  <a:gd name="T86" fmla="*/ 1152 w 1174"/>
                  <a:gd name="T87" fmla="*/ 1493 h 1875"/>
                  <a:gd name="T88" fmla="*/ 806 w 1174"/>
                  <a:gd name="T89" fmla="*/ 1310 h 1875"/>
                  <a:gd name="T90" fmla="*/ 782 w 1174"/>
                  <a:gd name="T91" fmla="*/ 1390 h 1875"/>
                  <a:gd name="T92" fmla="*/ 733 w 1174"/>
                  <a:gd name="T93" fmla="*/ 1452 h 1875"/>
                  <a:gd name="T94" fmla="*/ 667 w 1174"/>
                  <a:gd name="T95" fmla="*/ 1490 h 1875"/>
                  <a:gd name="T96" fmla="*/ 593 w 1174"/>
                  <a:gd name="T97" fmla="*/ 1503 h 1875"/>
                  <a:gd name="T98" fmla="*/ 540 w 1174"/>
                  <a:gd name="T99" fmla="*/ 1499 h 1875"/>
                  <a:gd name="T100" fmla="*/ 495 w 1174"/>
                  <a:gd name="T101" fmla="*/ 1486 h 1875"/>
                  <a:gd name="T102" fmla="*/ 459 w 1174"/>
                  <a:gd name="T103" fmla="*/ 1465 h 1875"/>
                  <a:gd name="T104" fmla="*/ 432 w 1174"/>
                  <a:gd name="T105" fmla="*/ 1435 h 1875"/>
                  <a:gd name="T106" fmla="*/ 397 w 1174"/>
                  <a:gd name="T107" fmla="*/ 1357 h 1875"/>
                  <a:gd name="T108" fmla="*/ 385 w 1174"/>
                  <a:gd name="T109" fmla="*/ 1259 h 1875"/>
                  <a:gd name="T110" fmla="*/ 391 w 1174"/>
                  <a:gd name="T111" fmla="*/ 525 h 1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74" h="1875">
                    <a:moveTo>
                      <a:pt x="396" y="507"/>
                    </a:moveTo>
                    <a:lnTo>
                      <a:pt x="402" y="490"/>
                    </a:lnTo>
                    <a:lnTo>
                      <a:pt x="410" y="473"/>
                    </a:lnTo>
                    <a:lnTo>
                      <a:pt x="419" y="457"/>
                    </a:lnTo>
                    <a:lnTo>
                      <a:pt x="430" y="441"/>
                    </a:lnTo>
                    <a:lnTo>
                      <a:pt x="436" y="434"/>
                    </a:lnTo>
                    <a:lnTo>
                      <a:pt x="443" y="427"/>
                    </a:lnTo>
                    <a:lnTo>
                      <a:pt x="450" y="420"/>
                    </a:lnTo>
                    <a:lnTo>
                      <a:pt x="458" y="413"/>
                    </a:lnTo>
                    <a:lnTo>
                      <a:pt x="466" y="407"/>
                    </a:lnTo>
                    <a:lnTo>
                      <a:pt x="475" y="401"/>
                    </a:lnTo>
                    <a:lnTo>
                      <a:pt x="484" y="396"/>
                    </a:lnTo>
                    <a:lnTo>
                      <a:pt x="494" y="391"/>
                    </a:lnTo>
                    <a:lnTo>
                      <a:pt x="505" y="386"/>
                    </a:lnTo>
                    <a:lnTo>
                      <a:pt x="516" y="382"/>
                    </a:lnTo>
                    <a:lnTo>
                      <a:pt x="527" y="379"/>
                    </a:lnTo>
                    <a:lnTo>
                      <a:pt x="539" y="376"/>
                    </a:lnTo>
                    <a:lnTo>
                      <a:pt x="552" y="374"/>
                    </a:lnTo>
                    <a:lnTo>
                      <a:pt x="565" y="372"/>
                    </a:lnTo>
                    <a:lnTo>
                      <a:pt x="579" y="371"/>
                    </a:lnTo>
                    <a:lnTo>
                      <a:pt x="593" y="371"/>
                    </a:lnTo>
                    <a:lnTo>
                      <a:pt x="606" y="371"/>
                    </a:lnTo>
                    <a:lnTo>
                      <a:pt x="619" y="372"/>
                    </a:lnTo>
                    <a:lnTo>
                      <a:pt x="632" y="374"/>
                    </a:lnTo>
                    <a:lnTo>
                      <a:pt x="644" y="376"/>
                    </a:lnTo>
                    <a:lnTo>
                      <a:pt x="656" y="379"/>
                    </a:lnTo>
                    <a:lnTo>
                      <a:pt x="667" y="383"/>
                    </a:lnTo>
                    <a:lnTo>
                      <a:pt x="677" y="387"/>
                    </a:lnTo>
                    <a:lnTo>
                      <a:pt x="688" y="392"/>
                    </a:lnTo>
                    <a:lnTo>
                      <a:pt x="707" y="403"/>
                    </a:lnTo>
                    <a:lnTo>
                      <a:pt x="724" y="415"/>
                    </a:lnTo>
                    <a:lnTo>
                      <a:pt x="741" y="428"/>
                    </a:lnTo>
                    <a:lnTo>
                      <a:pt x="755" y="442"/>
                    </a:lnTo>
                    <a:lnTo>
                      <a:pt x="767" y="457"/>
                    </a:lnTo>
                    <a:lnTo>
                      <a:pt x="778" y="473"/>
                    </a:lnTo>
                    <a:lnTo>
                      <a:pt x="782" y="481"/>
                    </a:lnTo>
                    <a:lnTo>
                      <a:pt x="786" y="490"/>
                    </a:lnTo>
                    <a:lnTo>
                      <a:pt x="790" y="498"/>
                    </a:lnTo>
                    <a:lnTo>
                      <a:pt x="793" y="507"/>
                    </a:lnTo>
                    <a:lnTo>
                      <a:pt x="798" y="524"/>
                    </a:lnTo>
                    <a:lnTo>
                      <a:pt x="803" y="541"/>
                    </a:lnTo>
                    <a:lnTo>
                      <a:pt x="807" y="556"/>
                    </a:lnTo>
                    <a:lnTo>
                      <a:pt x="810" y="569"/>
                    </a:lnTo>
                    <a:lnTo>
                      <a:pt x="1174" y="461"/>
                    </a:lnTo>
                    <a:lnTo>
                      <a:pt x="1169" y="439"/>
                    </a:lnTo>
                    <a:lnTo>
                      <a:pt x="1163" y="416"/>
                    </a:lnTo>
                    <a:lnTo>
                      <a:pt x="1156" y="395"/>
                    </a:lnTo>
                    <a:lnTo>
                      <a:pt x="1149" y="373"/>
                    </a:lnTo>
                    <a:lnTo>
                      <a:pt x="1140" y="351"/>
                    </a:lnTo>
                    <a:lnTo>
                      <a:pt x="1131" y="330"/>
                    </a:lnTo>
                    <a:lnTo>
                      <a:pt x="1121" y="309"/>
                    </a:lnTo>
                    <a:lnTo>
                      <a:pt x="1110" y="288"/>
                    </a:lnTo>
                    <a:lnTo>
                      <a:pt x="1099" y="266"/>
                    </a:lnTo>
                    <a:lnTo>
                      <a:pt x="1086" y="246"/>
                    </a:lnTo>
                    <a:lnTo>
                      <a:pt x="1073" y="227"/>
                    </a:lnTo>
                    <a:lnTo>
                      <a:pt x="1059" y="208"/>
                    </a:lnTo>
                    <a:lnTo>
                      <a:pt x="1044" y="190"/>
                    </a:lnTo>
                    <a:lnTo>
                      <a:pt x="1028" y="173"/>
                    </a:lnTo>
                    <a:lnTo>
                      <a:pt x="1011" y="156"/>
                    </a:lnTo>
                    <a:lnTo>
                      <a:pt x="994" y="140"/>
                    </a:lnTo>
                    <a:lnTo>
                      <a:pt x="975" y="125"/>
                    </a:lnTo>
                    <a:lnTo>
                      <a:pt x="955" y="110"/>
                    </a:lnTo>
                    <a:lnTo>
                      <a:pt x="935" y="96"/>
                    </a:lnTo>
                    <a:lnTo>
                      <a:pt x="914" y="83"/>
                    </a:lnTo>
                    <a:lnTo>
                      <a:pt x="892" y="70"/>
                    </a:lnTo>
                    <a:lnTo>
                      <a:pt x="869" y="59"/>
                    </a:lnTo>
                    <a:lnTo>
                      <a:pt x="846" y="48"/>
                    </a:lnTo>
                    <a:lnTo>
                      <a:pt x="821" y="38"/>
                    </a:lnTo>
                    <a:lnTo>
                      <a:pt x="796" y="29"/>
                    </a:lnTo>
                    <a:lnTo>
                      <a:pt x="769" y="21"/>
                    </a:lnTo>
                    <a:lnTo>
                      <a:pt x="742" y="15"/>
                    </a:lnTo>
                    <a:lnTo>
                      <a:pt x="713" y="9"/>
                    </a:lnTo>
                    <a:lnTo>
                      <a:pt x="684" y="5"/>
                    </a:lnTo>
                    <a:lnTo>
                      <a:pt x="654" y="2"/>
                    </a:lnTo>
                    <a:lnTo>
                      <a:pt x="624" y="1"/>
                    </a:lnTo>
                    <a:lnTo>
                      <a:pt x="593" y="0"/>
                    </a:lnTo>
                    <a:lnTo>
                      <a:pt x="553" y="1"/>
                    </a:lnTo>
                    <a:lnTo>
                      <a:pt x="515" y="3"/>
                    </a:lnTo>
                    <a:lnTo>
                      <a:pt x="478" y="7"/>
                    </a:lnTo>
                    <a:lnTo>
                      <a:pt x="443" y="13"/>
                    </a:lnTo>
                    <a:lnTo>
                      <a:pt x="426" y="17"/>
                    </a:lnTo>
                    <a:lnTo>
                      <a:pt x="409" y="21"/>
                    </a:lnTo>
                    <a:lnTo>
                      <a:pt x="393" y="25"/>
                    </a:lnTo>
                    <a:lnTo>
                      <a:pt x="377" y="30"/>
                    </a:lnTo>
                    <a:lnTo>
                      <a:pt x="362" y="35"/>
                    </a:lnTo>
                    <a:lnTo>
                      <a:pt x="347" y="41"/>
                    </a:lnTo>
                    <a:lnTo>
                      <a:pt x="332" y="47"/>
                    </a:lnTo>
                    <a:lnTo>
                      <a:pt x="318" y="54"/>
                    </a:lnTo>
                    <a:lnTo>
                      <a:pt x="291" y="68"/>
                    </a:lnTo>
                    <a:lnTo>
                      <a:pt x="264" y="83"/>
                    </a:lnTo>
                    <a:lnTo>
                      <a:pt x="238" y="99"/>
                    </a:lnTo>
                    <a:lnTo>
                      <a:pt x="215" y="116"/>
                    </a:lnTo>
                    <a:lnTo>
                      <a:pt x="193" y="134"/>
                    </a:lnTo>
                    <a:lnTo>
                      <a:pt x="172" y="152"/>
                    </a:lnTo>
                    <a:lnTo>
                      <a:pt x="153" y="172"/>
                    </a:lnTo>
                    <a:lnTo>
                      <a:pt x="134" y="193"/>
                    </a:lnTo>
                    <a:lnTo>
                      <a:pt x="118" y="214"/>
                    </a:lnTo>
                    <a:lnTo>
                      <a:pt x="102" y="236"/>
                    </a:lnTo>
                    <a:lnTo>
                      <a:pt x="87" y="259"/>
                    </a:lnTo>
                    <a:lnTo>
                      <a:pt x="74" y="282"/>
                    </a:lnTo>
                    <a:lnTo>
                      <a:pt x="62" y="307"/>
                    </a:lnTo>
                    <a:lnTo>
                      <a:pt x="51" y="332"/>
                    </a:lnTo>
                    <a:lnTo>
                      <a:pt x="41" y="357"/>
                    </a:lnTo>
                    <a:lnTo>
                      <a:pt x="33" y="383"/>
                    </a:lnTo>
                    <a:lnTo>
                      <a:pt x="24" y="409"/>
                    </a:lnTo>
                    <a:lnTo>
                      <a:pt x="18" y="435"/>
                    </a:lnTo>
                    <a:lnTo>
                      <a:pt x="12" y="461"/>
                    </a:lnTo>
                    <a:lnTo>
                      <a:pt x="8" y="487"/>
                    </a:lnTo>
                    <a:lnTo>
                      <a:pt x="5" y="513"/>
                    </a:lnTo>
                    <a:lnTo>
                      <a:pt x="2" y="539"/>
                    </a:lnTo>
                    <a:lnTo>
                      <a:pt x="1" y="565"/>
                    </a:lnTo>
                    <a:lnTo>
                      <a:pt x="0" y="591"/>
                    </a:lnTo>
                    <a:lnTo>
                      <a:pt x="0" y="1248"/>
                    </a:lnTo>
                    <a:lnTo>
                      <a:pt x="1" y="1279"/>
                    </a:lnTo>
                    <a:lnTo>
                      <a:pt x="2" y="1311"/>
                    </a:lnTo>
                    <a:lnTo>
                      <a:pt x="5" y="1341"/>
                    </a:lnTo>
                    <a:lnTo>
                      <a:pt x="8" y="1371"/>
                    </a:lnTo>
                    <a:lnTo>
                      <a:pt x="13" y="1401"/>
                    </a:lnTo>
                    <a:lnTo>
                      <a:pt x="18" y="1430"/>
                    </a:lnTo>
                    <a:lnTo>
                      <a:pt x="25" y="1459"/>
                    </a:lnTo>
                    <a:lnTo>
                      <a:pt x="34" y="1487"/>
                    </a:lnTo>
                    <a:lnTo>
                      <a:pt x="43" y="1515"/>
                    </a:lnTo>
                    <a:lnTo>
                      <a:pt x="53" y="1543"/>
                    </a:lnTo>
                    <a:lnTo>
                      <a:pt x="64" y="1569"/>
                    </a:lnTo>
                    <a:lnTo>
                      <a:pt x="76" y="1594"/>
                    </a:lnTo>
                    <a:lnTo>
                      <a:pt x="89" y="1619"/>
                    </a:lnTo>
                    <a:lnTo>
                      <a:pt x="104" y="1643"/>
                    </a:lnTo>
                    <a:lnTo>
                      <a:pt x="120" y="1666"/>
                    </a:lnTo>
                    <a:lnTo>
                      <a:pt x="137" y="1688"/>
                    </a:lnTo>
                    <a:lnTo>
                      <a:pt x="155" y="1709"/>
                    </a:lnTo>
                    <a:lnTo>
                      <a:pt x="175" y="1729"/>
                    </a:lnTo>
                    <a:lnTo>
                      <a:pt x="196" y="1747"/>
                    </a:lnTo>
                    <a:lnTo>
                      <a:pt x="218" y="1765"/>
                    </a:lnTo>
                    <a:lnTo>
                      <a:pt x="241" y="1781"/>
                    </a:lnTo>
                    <a:lnTo>
                      <a:pt x="267" y="1797"/>
                    </a:lnTo>
                    <a:lnTo>
                      <a:pt x="293" y="1811"/>
                    </a:lnTo>
                    <a:lnTo>
                      <a:pt x="321" y="1824"/>
                    </a:lnTo>
                    <a:lnTo>
                      <a:pt x="335" y="1830"/>
                    </a:lnTo>
                    <a:lnTo>
                      <a:pt x="349" y="1836"/>
                    </a:lnTo>
                    <a:lnTo>
                      <a:pt x="364" y="1841"/>
                    </a:lnTo>
                    <a:lnTo>
                      <a:pt x="379" y="1846"/>
                    </a:lnTo>
                    <a:lnTo>
                      <a:pt x="411" y="1855"/>
                    </a:lnTo>
                    <a:lnTo>
                      <a:pt x="444" y="1862"/>
                    </a:lnTo>
                    <a:lnTo>
                      <a:pt x="479" y="1868"/>
                    </a:lnTo>
                    <a:lnTo>
                      <a:pt x="516" y="1872"/>
                    </a:lnTo>
                    <a:lnTo>
                      <a:pt x="554" y="1874"/>
                    </a:lnTo>
                    <a:lnTo>
                      <a:pt x="593" y="1875"/>
                    </a:lnTo>
                    <a:lnTo>
                      <a:pt x="621" y="1874"/>
                    </a:lnTo>
                    <a:lnTo>
                      <a:pt x="648" y="1873"/>
                    </a:lnTo>
                    <a:lnTo>
                      <a:pt x="675" y="1871"/>
                    </a:lnTo>
                    <a:lnTo>
                      <a:pt x="701" y="1867"/>
                    </a:lnTo>
                    <a:lnTo>
                      <a:pt x="726" y="1863"/>
                    </a:lnTo>
                    <a:lnTo>
                      <a:pt x="753" y="1858"/>
                    </a:lnTo>
                    <a:lnTo>
                      <a:pt x="777" y="1851"/>
                    </a:lnTo>
                    <a:lnTo>
                      <a:pt x="801" y="1844"/>
                    </a:lnTo>
                    <a:lnTo>
                      <a:pt x="825" y="1836"/>
                    </a:lnTo>
                    <a:lnTo>
                      <a:pt x="848" y="1827"/>
                    </a:lnTo>
                    <a:lnTo>
                      <a:pt x="870" y="1817"/>
                    </a:lnTo>
                    <a:lnTo>
                      <a:pt x="892" y="1806"/>
                    </a:lnTo>
                    <a:lnTo>
                      <a:pt x="913" y="1794"/>
                    </a:lnTo>
                    <a:lnTo>
                      <a:pt x="934" y="1782"/>
                    </a:lnTo>
                    <a:lnTo>
                      <a:pt x="954" y="1768"/>
                    </a:lnTo>
                    <a:lnTo>
                      <a:pt x="975" y="1753"/>
                    </a:lnTo>
                    <a:lnTo>
                      <a:pt x="994" y="1737"/>
                    </a:lnTo>
                    <a:lnTo>
                      <a:pt x="1012" y="1721"/>
                    </a:lnTo>
                    <a:lnTo>
                      <a:pt x="1030" y="1704"/>
                    </a:lnTo>
                    <a:lnTo>
                      <a:pt x="1046" y="1686"/>
                    </a:lnTo>
                    <a:lnTo>
                      <a:pt x="1061" y="1668"/>
                    </a:lnTo>
                    <a:lnTo>
                      <a:pt x="1076" y="1649"/>
                    </a:lnTo>
                    <a:lnTo>
                      <a:pt x="1089" y="1629"/>
                    </a:lnTo>
                    <a:lnTo>
                      <a:pt x="1102" y="1607"/>
                    </a:lnTo>
                    <a:lnTo>
                      <a:pt x="1114" y="1586"/>
                    </a:lnTo>
                    <a:lnTo>
                      <a:pt x="1125" y="1564"/>
                    </a:lnTo>
                    <a:lnTo>
                      <a:pt x="1135" y="1541"/>
                    </a:lnTo>
                    <a:lnTo>
                      <a:pt x="1144" y="1517"/>
                    </a:lnTo>
                    <a:lnTo>
                      <a:pt x="1152" y="1493"/>
                    </a:lnTo>
                    <a:lnTo>
                      <a:pt x="1159" y="1468"/>
                    </a:lnTo>
                    <a:lnTo>
                      <a:pt x="1165" y="1442"/>
                    </a:lnTo>
                    <a:lnTo>
                      <a:pt x="1171" y="1416"/>
                    </a:lnTo>
                    <a:lnTo>
                      <a:pt x="806" y="1310"/>
                    </a:lnTo>
                    <a:lnTo>
                      <a:pt x="802" y="1332"/>
                    </a:lnTo>
                    <a:lnTo>
                      <a:pt x="797" y="1353"/>
                    </a:lnTo>
                    <a:lnTo>
                      <a:pt x="790" y="1372"/>
                    </a:lnTo>
                    <a:lnTo>
                      <a:pt x="782" y="1390"/>
                    </a:lnTo>
                    <a:lnTo>
                      <a:pt x="772" y="1408"/>
                    </a:lnTo>
                    <a:lnTo>
                      <a:pt x="761" y="1423"/>
                    </a:lnTo>
                    <a:lnTo>
                      <a:pt x="748" y="1438"/>
                    </a:lnTo>
                    <a:lnTo>
                      <a:pt x="733" y="1452"/>
                    </a:lnTo>
                    <a:lnTo>
                      <a:pt x="717" y="1464"/>
                    </a:lnTo>
                    <a:lnTo>
                      <a:pt x="701" y="1474"/>
                    </a:lnTo>
                    <a:lnTo>
                      <a:pt x="685" y="1483"/>
                    </a:lnTo>
                    <a:lnTo>
                      <a:pt x="667" y="1490"/>
                    </a:lnTo>
                    <a:lnTo>
                      <a:pt x="650" y="1496"/>
                    </a:lnTo>
                    <a:lnTo>
                      <a:pt x="631" y="1500"/>
                    </a:lnTo>
                    <a:lnTo>
                      <a:pt x="612" y="1502"/>
                    </a:lnTo>
                    <a:lnTo>
                      <a:pt x="593" y="1503"/>
                    </a:lnTo>
                    <a:lnTo>
                      <a:pt x="579" y="1503"/>
                    </a:lnTo>
                    <a:lnTo>
                      <a:pt x="565" y="1502"/>
                    </a:lnTo>
                    <a:lnTo>
                      <a:pt x="552" y="1501"/>
                    </a:lnTo>
                    <a:lnTo>
                      <a:pt x="540" y="1499"/>
                    </a:lnTo>
                    <a:lnTo>
                      <a:pt x="528" y="1497"/>
                    </a:lnTo>
                    <a:lnTo>
                      <a:pt x="517" y="1494"/>
                    </a:lnTo>
                    <a:lnTo>
                      <a:pt x="506" y="1490"/>
                    </a:lnTo>
                    <a:lnTo>
                      <a:pt x="495" y="1486"/>
                    </a:lnTo>
                    <a:lnTo>
                      <a:pt x="485" y="1482"/>
                    </a:lnTo>
                    <a:lnTo>
                      <a:pt x="476" y="1477"/>
                    </a:lnTo>
                    <a:lnTo>
                      <a:pt x="467" y="1471"/>
                    </a:lnTo>
                    <a:lnTo>
                      <a:pt x="459" y="1465"/>
                    </a:lnTo>
                    <a:lnTo>
                      <a:pt x="451" y="1458"/>
                    </a:lnTo>
                    <a:lnTo>
                      <a:pt x="444" y="1451"/>
                    </a:lnTo>
                    <a:lnTo>
                      <a:pt x="438" y="1443"/>
                    </a:lnTo>
                    <a:lnTo>
                      <a:pt x="432" y="1435"/>
                    </a:lnTo>
                    <a:lnTo>
                      <a:pt x="421" y="1417"/>
                    </a:lnTo>
                    <a:lnTo>
                      <a:pt x="411" y="1398"/>
                    </a:lnTo>
                    <a:lnTo>
                      <a:pt x="403" y="1378"/>
                    </a:lnTo>
                    <a:lnTo>
                      <a:pt x="397" y="1357"/>
                    </a:lnTo>
                    <a:lnTo>
                      <a:pt x="392" y="1334"/>
                    </a:lnTo>
                    <a:lnTo>
                      <a:pt x="388" y="1311"/>
                    </a:lnTo>
                    <a:lnTo>
                      <a:pt x="386" y="1285"/>
                    </a:lnTo>
                    <a:lnTo>
                      <a:pt x="385" y="1259"/>
                    </a:lnTo>
                    <a:lnTo>
                      <a:pt x="385" y="575"/>
                    </a:lnTo>
                    <a:lnTo>
                      <a:pt x="386" y="558"/>
                    </a:lnTo>
                    <a:lnTo>
                      <a:pt x="388" y="542"/>
                    </a:lnTo>
                    <a:lnTo>
                      <a:pt x="391" y="525"/>
                    </a:lnTo>
                    <a:lnTo>
                      <a:pt x="396" y="50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37" name="Freeform 9"/>
              <p:cNvSpPr>
                <a:spLocks/>
              </p:cNvSpPr>
              <p:nvPr/>
            </p:nvSpPr>
            <p:spPr bwMode="auto">
              <a:xfrm>
                <a:off x="1239875" y="260485"/>
                <a:ext cx="111366" cy="190560"/>
              </a:xfrm>
              <a:custGeom>
                <a:avLst/>
                <a:gdLst>
                  <a:gd name="T0" fmla="*/ 0 w 1075"/>
                  <a:gd name="T1" fmla="*/ 1845 h 1845"/>
                  <a:gd name="T2" fmla="*/ 1075 w 1075"/>
                  <a:gd name="T3" fmla="*/ 1845 h 1845"/>
                  <a:gd name="T4" fmla="*/ 1075 w 1075"/>
                  <a:gd name="T5" fmla="*/ 1482 h 1845"/>
                  <a:gd name="T6" fmla="*/ 385 w 1075"/>
                  <a:gd name="T7" fmla="*/ 1482 h 1845"/>
                  <a:gd name="T8" fmla="*/ 385 w 1075"/>
                  <a:gd name="T9" fmla="*/ 1090 h 1845"/>
                  <a:gd name="T10" fmla="*/ 979 w 1075"/>
                  <a:gd name="T11" fmla="*/ 1090 h 1845"/>
                  <a:gd name="T12" fmla="*/ 979 w 1075"/>
                  <a:gd name="T13" fmla="*/ 737 h 1845"/>
                  <a:gd name="T14" fmla="*/ 385 w 1075"/>
                  <a:gd name="T15" fmla="*/ 737 h 1845"/>
                  <a:gd name="T16" fmla="*/ 385 w 1075"/>
                  <a:gd name="T17" fmla="*/ 355 h 1845"/>
                  <a:gd name="T18" fmla="*/ 1075 w 1075"/>
                  <a:gd name="T19" fmla="*/ 355 h 1845"/>
                  <a:gd name="T20" fmla="*/ 1075 w 1075"/>
                  <a:gd name="T21" fmla="*/ 0 h 1845"/>
                  <a:gd name="T22" fmla="*/ 0 w 1075"/>
                  <a:gd name="T23" fmla="*/ 0 h 1845"/>
                  <a:gd name="T24" fmla="*/ 0 w 1075"/>
                  <a:gd name="T25" fmla="*/ 1845 h 1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75" h="1845">
                    <a:moveTo>
                      <a:pt x="0" y="1845"/>
                    </a:moveTo>
                    <a:lnTo>
                      <a:pt x="1075" y="1845"/>
                    </a:lnTo>
                    <a:lnTo>
                      <a:pt x="1075" y="1482"/>
                    </a:lnTo>
                    <a:lnTo>
                      <a:pt x="385" y="1482"/>
                    </a:lnTo>
                    <a:lnTo>
                      <a:pt x="385" y="1090"/>
                    </a:lnTo>
                    <a:lnTo>
                      <a:pt x="979" y="1090"/>
                    </a:lnTo>
                    <a:lnTo>
                      <a:pt x="979" y="737"/>
                    </a:lnTo>
                    <a:lnTo>
                      <a:pt x="385" y="737"/>
                    </a:lnTo>
                    <a:lnTo>
                      <a:pt x="385" y="355"/>
                    </a:lnTo>
                    <a:lnTo>
                      <a:pt x="1075" y="355"/>
                    </a:lnTo>
                    <a:lnTo>
                      <a:pt x="1075" y="0"/>
                    </a:lnTo>
                    <a:lnTo>
                      <a:pt x="0" y="0"/>
                    </a:lnTo>
                    <a:lnTo>
                      <a:pt x="0" y="18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38" name="Freeform 10"/>
              <p:cNvSpPr>
                <a:spLocks/>
              </p:cNvSpPr>
              <p:nvPr/>
            </p:nvSpPr>
            <p:spPr bwMode="auto">
              <a:xfrm>
                <a:off x="1373515" y="260485"/>
                <a:ext cx="121265" cy="190560"/>
              </a:xfrm>
              <a:custGeom>
                <a:avLst/>
                <a:gdLst>
                  <a:gd name="T0" fmla="*/ 0 w 1174"/>
                  <a:gd name="T1" fmla="*/ 350 h 1845"/>
                  <a:gd name="T2" fmla="*/ 396 w 1174"/>
                  <a:gd name="T3" fmla="*/ 350 h 1845"/>
                  <a:gd name="T4" fmla="*/ 396 w 1174"/>
                  <a:gd name="T5" fmla="*/ 1845 h 1845"/>
                  <a:gd name="T6" fmla="*/ 779 w 1174"/>
                  <a:gd name="T7" fmla="*/ 1845 h 1845"/>
                  <a:gd name="T8" fmla="*/ 779 w 1174"/>
                  <a:gd name="T9" fmla="*/ 350 h 1845"/>
                  <a:gd name="T10" fmla="*/ 1174 w 1174"/>
                  <a:gd name="T11" fmla="*/ 350 h 1845"/>
                  <a:gd name="T12" fmla="*/ 1174 w 1174"/>
                  <a:gd name="T13" fmla="*/ 0 h 1845"/>
                  <a:gd name="T14" fmla="*/ 0 w 1174"/>
                  <a:gd name="T15" fmla="*/ 0 h 1845"/>
                  <a:gd name="T16" fmla="*/ 0 w 1174"/>
                  <a:gd name="T17" fmla="*/ 350 h 1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74" h="1845">
                    <a:moveTo>
                      <a:pt x="0" y="350"/>
                    </a:moveTo>
                    <a:lnTo>
                      <a:pt x="396" y="350"/>
                    </a:lnTo>
                    <a:lnTo>
                      <a:pt x="396" y="1845"/>
                    </a:lnTo>
                    <a:lnTo>
                      <a:pt x="779" y="1845"/>
                    </a:lnTo>
                    <a:lnTo>
                      <a:pt x="779" y="350"/>
                    </a:lnTo>
                    <a:lnTo>
                      <a:pt x="1174" y="350"/>
                    </a:lnTo>
                    <a:lnTo>
                      <a:pt x="1174" y="0"/>
                    </a:lnTo>
                    <a:lnTo>
                      <a:pt x="0" y="0"/>
                    </a:lnTo>
                    <a:lnTo>
                      <a:pt x="0" y="3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39" name="Freeform 11"/>
              <p:cNvSpPr>
                <a:spLocks/>
              </p:cNvSpPr>
              <p:nvPr/>
            </p:nvSpPr>
            <p:spPr bwMode="auto">
              <a:xfrm>
                <a:off x="1526952" y="260485"/>
                <a:ext cx="129927" cy="190560"/>
              </a:xfrm>
              <a:custGeom>
                <a:avLst/>
                <a:gdLst>
                  <a:gd name="T0" fmla="*/ 917 w 1264"/>
                  <a:gd name="T1" fmla="*/ 0 h 1845"/>
                  <a:gd name="T2" fmla="*/ 388 w 1264"/>
                  <a:gd name="T3" fmla="*/ 1072 h 1845"/>
                  <a:gd name="T4" fmla="*/ 382 w 1264"/>
                  <a:gd name="T5" fmla="*/ 1072 h 1845"/>
                  <a:gd name="T6" fmla="*/ 382 w 1264"/>
                  <a:gd name="T7" fmla="*/ 0 h 1845"/>
                  <a:gd name="T8" fmla="*/ 0 w 1264"/>
                  <a:gd name="T9" fmla="*/ 0 h 1845"/>
                  <a:gd name="T10" fmla="*/ 0 w 1264"/>
                  <a:gd name="T11" fmla="*/ 1845 h 1845"/>
                  <a:gd name="T12" fmla="*/ 361 w 1264"/>
                  <a:gd name="T13" fmla="*/ 1845 h 1845"/>
                  <a:gd name="T14" fmla="*/ 876 w 1264"/>
                  <a:gd name="T15" fmla="*/ 841 h 1845"/>
                  <a:gd name="T16" fmla="*/ 878 w 1264"/>
                  <a:gd name="T17" fmla="*/ 841 h 1845"/>
                  <a:gd name="T18" fmla="*/ 878 w 1264"/>
                  <a:gd name="T19" fmla="*/ 1845 h 1845"/>
                  <a:gd name="T20" fmla="*/ 1264 w 1264"/>
                  <a:gd name="T21" fmla="*/ 1845 h 1845"/>
                  <a:gd name="T22" fmla="*/ 1264 w 1264"/>
                  <a:gd name="T23" fmla="*/ 0 h 1845"/>
                  <a:gd name="T24" fmla="*/ 917 w 1264"/>
                  <a:gd name="T25" fmla="*/ 0 h 1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64" h="1845">
                    <a:moveTo>
                      <a:pt x="917" y="0"/>
                    </a:moveTo>
                    <a:lnTo>
                      <a:pt x="388" y="1072"/>
                    </a:lnTo>
                    <a:lnTo>
                      <a:pt x="382" y="1072"/>
                    </a:lnTo>
                    <a:lnTo>
                      <a:pt x="382" y="0"/>
                    </a:lnTo>
                    <a:lnTo>
                      <a:pt x="0" y="0"/>
                    </a:lnTo>
                    <a:lnTo>
                      <a:pt x="0" y="1845"/>
                    </a:lnTo>
                    <a:lnTo>
                      <a:pt x="361" y="1845"/>
                    </a:lnTo>
                    <a:lnTo>
                      <a:pt x="876" y="841"/>
                    </a:lnTo>
                    <a:lnTo>
                      <a:pt x="878" y="841"/>
                    </a:lnTo>
                    <a:lnTo>
                      <a:pt x="878" y="1845"/>
                    </a:lnTo>
                    <a:lnTo>
                      <a:pt x="1264" y="1845"/>
                    </a:lnTo>
                    <a:lnTo>
                      <a:pt x="1264" y="0"/>
                    </a:lnTo>
                    <a:lnTo>
                      <a:pt x="9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</p:grpSp>
        <p:grpSp>
          <p:nvGrpSpPr>
            <p:cNvPr id="25" name="Группа 24"/>
            <p:cNvGrpSpPr/>
            <p:nvPr userDrawn="1"/>
          </p:nvGrpSpPr>
          <p:grpSpPr>
            <a:xfrm>
              <a:off x="0" y="687388"/>
              <a:ext cx="407368" cy="406401"/>
              <a:chOff x="0" y="167680"/>
              <a:chExt cx="520945" cy="519708"/>
            </a:xfrm>
            <a:grpFill/>
          </p:grpSpPr>
          <p:sp>
            <p:nvSpPr>
              <p:cNvPr id="26" name="Freeform 12"/>
              <p:cNvSpPr>
                <a:spLocks/>
              </p:cNvSpPr>
              <p:nvPr/>
            </p:nvSpPr>
            <p:spPr bwMode="auto">
              <a:xfrm>
                <a:off x="160862" y="323592"/>
                <a:ext cx="196746" cy="363796"/>
              </a:xfrm>
              <a:custGeom>
                <a:avLst/>
                <a:gdLst>
                  <a:gd name="T0" fmla="*/ 1471 w 1903"/>
                  <a:gd name="T1" fmla="*/ 0 h 3523"/>
                  <a:gd name="T2" fmla="*/ 0 w 1903"/>
                  <a:gd name="T3" fmla="*/ 3334 h 3523"/>
                  <a:gd name="T4" fmla="*/ 56 w 1903"/>
                  <a:gd name="T5" fmla="*/ 3357 h 3523"/>
                  <a:gd name="T6" fmla="*/ 112 w 1903"/>
                  <a:gd name="T7" fmla="*/ 3377 h 3523"/>
                  <a:gd name="T8" fmla="*/ 169 w 1903"/>
                  <a:gd name="T9" fmla="*/ 3397 h 3523"/>
                  <a:gd name="T10" fmla="*/ 227 w 1903"/>
                  <a:gd name="T11" fmla="*/ 3415 h 3523"/>
                  <a:gd name="T12" fmla="*/ 286 w 1903"/>
                  <a:gd name="T13" fmla="*/ 3432 h 3523"/>
                  <a:gd name="T14" fmla="*/ 344 w 1903"/>
                  <a:gd name="T15" fmla="*/ 3447 h 3523"/>
                  <a:gd name="T16" fmla="*/ 403 w 1903"/>
                  <a:gd name="T17" fmla="*/ 3461 h 3523"/>
                  <a:gd name="T18" fmla="*/ 464 w 1903"/>
                  <a:gd name="T19" fmla="*/ 3474 h 3523"/>
                  <a:gd name="T20" fmla="*/ 524 w 1903"/>
                  <a:gd name="T21" fmla="*/ 3485 h 3523"/>
                  <a:gd name="T22" fmla="*/ 585 w 1903"/>
                  <a:gd name="T23" fmla="*/ 3495 h 3523"/>
                  <a:gd name="T24" fmla="*/ 646 w 1903"/>
                  <a:gd name="T25" fmla="*/ 3504 h 3523"/>
                  <a:gd name="T26" fmla="*/ 709 w 1903"/>
                  <a:gd name="T27" fmla="*/ 3511 h 3523"/>
                  <a:gd name="T28" fmla="*/ 771 w 1903"/>
                  <a:gd name="T29" fmla="*/ 3516 h 3523"/>
                  <a:gd name="T30" fmla="*/ 834 w 1903"/>
                  <a:gd name="T31" fmla="*/ 3520 h 3523"/>
                  <a:gd name="T32" fmla="*/ 897 w 1903"/>
                  <a:gd name="T33" fmla="*/ 3522 h 3523"/>
                  <a:gd name="T34" fmla="*/ 962 w 1903"/>
                  <a:gd name="T35" fmla="*/ 3523 h 3523"/>
                  <a:gd name="T36" fmla="*/ 1024 w 1903"/>
                  <a:gd name="T37" fmla="*/ 3522 h 3523"/>
                  <a:gd name="T38" fmla="*/ 1085 w 1903"/>
                  <a:gd name="T39" fmla="*/ 3520 h 3523"/>
                  <a:gd name="T40" fmla="*/ 1146 w 1903"/>
                  <a:gd name="T41" fmla="*/ 3516 h 3523"/>
                  <a:gd name="T42" fmla="*/ 1208 w 1903"/>
                  <a:gd name="T43" fmla="*/ 3511 h 3523"/>
                  <a:gd name="T44" fmla="*/ 1268 w 1903"/>
                  <a:gd name="T45" fmla="*/ 3504 h 3523"/>
                  <a:gd name="T46" fmla="*/ 1328 w 1903"/>
                  <a:gd name="T47" fmla="*/ 3496 h 3523"/>
                  <a:gd name="T48" fmla="*/ 1388 w 1903"/>
                  <a:gd name="T49" fmla="*/ 3487 h 3523"/>
                  <a:gd name="T50" fmla="*/ 1448 w 1903"/>
                  <a:gd name="T51" fmla="*/ 3476 h 3523"/>
                  <a:gd name="T52" fmla="*/ 1506 w 1903"/>
                  <a:gd name="T53" fmla="*/ 3464 h 3523"/>
                  <a:gd name="T54" fmla="*/ 1564 w 1903"/>
                  <a:gd name="T55" fmla="*/ 3450 h 3523"/>
                  <a:gd name="T56" fmla="*/ 1622 w 1903"/>
                  <a:gd name="T57" fmla="*/ 3435 h 3523"/>
                  <a:gd name="T58" fmla="*/ 1680 w 1903"/>
                  <a:gd name="T59" fmla="*/ 3419 h 3523"/>
                  <a:gd name="T60" fmla="*/ 1736 w 1903"/>
                  <a:gd name="T61" fmla="*/ 3402 h 3523"/>
                  <a:gd name="T62" fmla="*/ 1792 w 1903"/>
                  <a:gd name="T63" fmla="*/ 3383 h 3523"/>
                  <a:gd name="T64" fmla="*/ 1847 w 1903"/>
                  <a:gd name="T65" fmla="*/ 3363 h 3523"/>
                  <a:gd name="T66" fmla="*/ 1903 w 1903"/>
                  <a:gd name="T67" fmla="*/ 3340 h 3523"/>
                  <a:gd name="T68" fmla="*/ 1537 w 1903"/>
                  <a:gd name="T69" fmla="*/ 10 h 3523"/>
                  <a:gd name="T70" fmla="*/ 1520 w 1903"/>
                  <a:gd name="T71" fmla="*/ 8 h 3523"/>
                  <a:gd name="T72" fmla="*/ 1503 w 1903"/>
                  <a:gd name="T73" fmla="*/ 6 h 3523"/>
                  <a:gd name="T74" fmla="*/ 1487 w 1903"/>
                  <a:gd name="T75" fmla="*/ 4 h 3523"/>
                  <a:gd name="T76" fmla="*/ 1471 w 1903"/>
                  <a:gd name="T77" fmla="*/ 0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903" h="3523">
                    <a:moveTo>
                      <a:pt x="1471" y="0"/>
                    </a:moveTo>
                    <a:lnTo>
                      <a:pt x="0" y="3334"/>
                    </a:lnTo>
                    <a:lnTo>
                      <a:pt x="56" y="3357"/>
                    </a:lnTo>
                    <a:lnTo>
                      <a:pt x="112" y="3377"/>
                    </a:lnTo>
                    <a:lnTo>
                      <a:pt x="169" y="3397"/>
                    </a:lnTo>
                    <a:lnTo>
                      <a:pt x="227" y="3415"/>
                    </a:lnTo>
                    <a:lnTo>
                      <a:pt x="286" y="3432"/>
                    </a:lnTo>
                    <a:lnTo>
                      <a:pt x="344" y="3447"/>
                    </a:lnTo>
                    <a:lnTo>
                      <a:pt x="403" y="3461"/>
                    </a:lnTo>
                    <a:lnTo>
                      <a:pt x="464" y="3474"/>
                    </a:lnTo>
                    <a:lnTo>
                      <a:pt x="524" y="3485"/>
                    </a:lnTo>
                    <a:lnTo>
                      <a:pt x="585" y="3495"/>
                    </a:lnTo>
                    <a:lnTo>
                      <a:pt x="646" y="3504"/>
                    </a:lnTo>
                    <a:lnTo>
                      <a:pt x="709" y="3511"/>
                    </a:lnTo>
                    <a:lnTo>
                      <a:pt x="771" y="3516"/>
                    </a:lnTo>
                    <a:lnTo>
                      <a:pt x="834" y="3520"/>
                    </a:lnTo>
                    <a:lnTo>
                      <a:pt x="897" y="3522"/>
                    </a:lnTo>
                    <a:lnTo>
                      <a:pt x="962" y="3523"/>
                    </a:lnTo>
                    <a:lnTo>
                      <a:pt x="1024" y="3522"/>
                    </a:lnTo>
                    <a:lnTo>
                      <a:pt x="1085" y="3520"/>
                    </a:lnTo>
                    <a:lnTo>
                      <a:pt x="1146" y="3516"/>
                    </a:lnTo>
                    <a:lnTo>
                      <a:pt x="1208" y="3511"/>
                    </a:lnTo>
                    <a:lnTo>
                      <a:pt x="1268" y="3504"/>
                    </a:lnTo>
                    <a:lnTo>
                      <a:pt x="1328" y="3496"/>
                    </a:lnTo>
                    <a:lnTo>
                      <a:pt x="1388" y="3487"/>
                    </a:lnTo>
                    <a:lnTo>
                      <a:pt x="1448" y="3476"/>
                    </a:lnTo>
                    <a:lnTo>
                      <a:pt x="1506" y="3464"/>
                    </a:lnTo>
                    <a:lnTo>
                      <a:pt x="1564" y="3450"/>
                    </a:lnTo>
                    <a:lnTo>
                      <a:pt x="1622" y="3435"/>
                    </a:lnTo>
                    <a:lnTo>
                      <a:pt x="1680" y="3419"/>
                    </a:lnTo>
                    <a:lnTo>
                      <a:pt x="1736" y="3402"/>
                    </a:lnTo>
                    <a:lnTo>
                      <a:pt x="1792" y="3383"/>
                    </a:lnTo>
                    <a:lnTo>
                      <a:pt x="1847" y="3363"/>
                    </a:lnTo>
                    <a:lnTo>
                      <a:pt x="1903" y="3340"/>
                    </a:lnTo>
                    <a:lnTo>
                      <a:pt x="1537" y="10"/>
                    </a:lnTo>
                    <a:lnTo>
                      <a:pt x="1520" y="8"/>
                    </a:lnTo>
                    <a:lnTo>
                      <a:pt x="1503" y="6"/>
                    </a:lnTo>
                    <a:lnTo>
                      <a:pt x="1487" y="4"/>
                    </a:lnTo>
                    <a:lnTo>
                      <a:pt x="147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27" name="Freeform 13"/>
              <p:cNvSpPr>
                <a:spLocks/>
              </p:cNvSpPr>
              <p:nvPr/>
            </p:nvSpPr>
            <p:spPr bwMode="auto">
              <a:xfrm>
                <a:off x="11136" y="313693"/>
                <a:ext cx="289552" cy="341522"/>
              </a:xfrm>
              <a:custGeom>
                <a:avLst/>
                <a:gdLst>
                  <a:gd name="T0" fmla="*/ 2765 w 2816"/>
                  <a:gd name="T1" fmla="*/ 0 h 3305"/>
                  <a:gd name="T2" fmla="*/ 0 w 2816"/>
                  <a:gd name="T3" fmla="*/ 1820 h 3305"/>
                  <a:gd name="T4" fmla="*/ 19 w 2816"/>
                  <a:gd name="T5" fmla="*/ 1879 h 3305"/>
                  <a:gd name="T6" fmla="*/ 39 w 2816"/>
                  <a:gd name="T7" fmla="*/ 1938 h 3305"/>
                  <a:gd name="T8" fmla="*/ 60 w 2816"/>
                  <a:gd name="T9" fmla="*/ 1996 h 3305"/>
                  <a:gd name="T10" fmla="*/ 83 w 2816"/>
                  <a:gd name="T11" fmla="*/ 2053 h 3305"/>
                  <a:gd name="T12" fmla="*/ 107 w 2816"/>
                  <a:gd name="T13" fmla="*/ 2109 h 3305"/>
                  <a:gd name="T14" fmla="*/ 132 w 2816"/>
                  <a:gd name="T15" fmla="*/ 2166 h 3305"/>
                  <a:gd name="T16" fmla="*/ 159 w 2816"/>
                  <a:gd name="T17" fmla="*/ 2221 h 3305"/>
                  <a:gd name="T18" fmla="*/ 186 w 2816"/>
                  <a:gd name="T19" fmla="*/ 2276 h 3305"/>
                  <a:gd name="T20" fmla="*/ 215 w 2816"/>
                  <a:gd name="T21" fmla="*/ 2329 h 3305"/>
                  <a:gd name="T22" fmla="*/ 246 w 2816"/>
                  <a:gd name="T23" fmla="*/ 2382 h 3305"/>
                  <a:gd name="T24" fmla="*/ 278 w 2816"/>
                  <a:gd name="T25" fmla="*/ 2434 h 3305"/>
                  <a:gd name="T26" fmla="*/ 311 w 2816"/>
                  <a:gd name="T27" fmla="*/ 2486 h 3305"/>
                  <a:gd name="T28" fmla="*/ 345 w 2816"/>
                  <a:gd name="T29" fmla="*/ 2536 h 3305"/>
                  <a:gd name="T30" fmla="*/ 380 w 2816"/>
                  <a:gd name="T31" fmla="*/ 2586 h 3305"/>
                  <a:gd name="T32" fmla="*/ 417 w 2816"/>
                  <a:gd name="T33" fmla="*/ 2634 h 3305"/>
                  <a:gd name="T34" fmla="*/ 454 w 2816"/>
                  <a:gd name="T35" fmla="*/ 2682 h 3305"/>
                  <a:gd name="T36" fmla="*/ 494 w 2816"/>
                  <a:gd name="T37" fmla="*/ 2728 h 3305"/>
                  <a:gd name="T38" fmla="*/ 533 w 2816"/>
                  <a:gd name="T39" fmla="*/ 2774 h 3305"/>
                  <a:gd name="T40" fmla="*/ 574 w 2816"/>
                  <a:gd name="T41" fmla="*/ 2820 h 3305"/>
                  <a:gd name="T42" fmla="*/ 616 w 2816"/>
                  <a:gd name="T43" fmla="*/ 2864 h 3305"/>
                  <a:gd name="T44" fmla="*/ 658 w 2816"/>
                  <a:gd name="T45" fmla="*/ 2906 h 3305"/>
                  <a:gd name="T46" fmla="*/ 702 w 2816"/>
                  <a:gd name="T47" fmla="*/ 2948 h 3305"/>
                  <a:gd name="T48" fmla="*/ 748 w 2816"/>
                  <a:gd name="T49" fmla="*/ 2989 h 3305"/>
                  <a:gd name="T50" fmla="*/ 794 w 2816"/>
                  <a:gd name="T51" fmla="*/ 3028 h 3305"/>
                  <a:gd name="T52" fmla="*/ 840 w 2816"/>
                  <a:gd name="T53" fmla="*/ 3067 h 3305"/>
                  <a:gd name="T54" fmla="*/ 888 w 2816"/>
                  <a:gd name="T55" fmla="*/ 3104 h 3305"/>
                  <a:gd name="T56" fmla="*/ 936 w 2816"/>
                  <a:gd name="T57" fmla="*/ 3141 h 3305"/>
                  <a:gd name="T58" fmla="*/ 987 w 2816"/>
                  <a:gd name="T59" fmla="*/ 3176 h 3305"/>
                  <a:gd name="T60" fmla="*/ 1037 w 2816"/>
                  <a:gd name="T61" fmla="*/ 3210 h 3305"/>
                  <a:gd name="T62" fmla="*/ 1088 w 2816"/>
                  <a:gd name="T63" fmla="*/ 3243 h 3305"/>
                  <a:gd name="T64" fmla="*/ 1140 w 2816"/>
                  <a:gd name="T65" fmla="*/ 3274 h 3305"/>
                  <a:gd name="T66" fmla="*/ 1193 w 2816"/>
                  <a:gd name="T67" fmla="*/ 3305 h 3305"/>
                  <a:gd name="T68" fmla="*/ 2816 w 2816"/>
                  <a:gd name="T69" fmla="*/ 46 h 3305"/>
                  <a:gd name="T70" fmla="*/ 2802 w 2816"/>
                  <a:gd name="T71" fmla="*/ 35 h 3305"/>
                  <a:gd name="T72" fmla="*/ 2789 w 2816"/>
                  <a:gd name="T73" fmla="*/ 24 h 3305"/>
                  <a:gd name="T74" fmla="*/ 2777 w 2816"/>
                  <a:gd name="T75" fmla="*/ 12 h 3305"/>
                  <a:gd name="T76" fmla="*/ 2765 w 2816"/>
                  <a:gd name="T77" fmla="*/ 0 h 3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16" h="3305">
                    <a:moveTo>
                      <a:pt x="2765" y="0"/>
                    </a:moveTo>
                    <a:lnTo>
                      <a:pt x="0" y="1820"/>
                    </a:lnTo>
                    <a:lnTo>
                      <a:pt x="19" y="1879"/>
                    </a:lnTo>
                    <a:lnTo>
                      <a:pt x="39" y="1938"/>
                    </a:lnTo>
                    <a:lnTo>
                      <a:pt x="60" y="1996"/>
                    </a:lnTo>
                    <a:lnTo>
                      <a:pt x="83" y="2053"/>
                    </a:lnTo>
                    <a:lnTo>
                      <a:pt x="107" y="2109"/>
                    </a:lnTo>
                    <a:lnTo>
                      <a:pt x="132" y="2166"/>
                    </a:lnTo>
                    <a:lnTo>
                      <a:pt x="159" y="2221"/>
                    </a:lnTo>
                    <a:lnTo>
                      <a:pt x="186" y="2276"/>
                    </a:lnTo>
                    <a:lnTo>
                      <a:pt x="215" y="2329"/>
                    </a:lnTo>
                    <a:lnTo>
                      <a:pt x="246" y="2382"/>
                    </a:lnTo>
                    <a:lnTo>
                      <a:pt x="278" y="2434"/>
                    </a:lnTo>
                    <a:lnTo>
                      <a:pt x="311" y="2486"/>
                    </a:lnTo>
                    <a:lnTo>
                      <a:pt x="345" y="2536"/>
                    </a:lnTo>
                    <a:lnTo>
                      <a:pt x="380" y="2586"/>
                    </a:lnTo>
                    <a:lnTo>
                      <a:pt x="417" y="2634"/>
                    </a:lnTo>
                    <a:lnTo>
                      <a:pt x="454" y="2682"/>
                    </a:lnTo>
                    <a:lnTo>
                      <a:pt x="494" y="2728"/>
                    </a:lnTo>
                    <a:lnTo>
                      <a:pt x="533" y="2774"/>
                    </a:lnTo>
                    <a:lnTo>
                      <a:pt x="574" y="2820"/>
                    </a:lnTo>
                    <a:lnTo>
                      <a:pt x="616" y="2864"/>
                    </a:lnTo>
                    <a:lnTo>
                      <a:pt x="658" y="2906"/>
                    </a:lnTo>
                    <a:lnTo>
                      <a:pt x="702" y="2948"/>
                    </a:lnTo>
                    <a:lnTo>
                      <a:pt x="748" y="2989"/>
                    </a:lnTo>
                    <a:lnTo>
                      <a:pt x="794" y="3028"/>
                    </a:lnTo>
                    <a:lnTo>
                      <a:pt x="840" y="3067"/>
                    </a:lnTo>
                    <a:lnTo>
                      <a:pt x="888" y="3104"/>
                    </a:lnTo>
                    <a:lnTo>
                      <a:pt x="936" y="3141"/>
                    </a:lnTo>
                    <a:lnTo>
                      <a:pt x="987" y="3176"/>
                    </a:lnTo>
                    <a:lnTo>
                      <a:pt x="1037" y="3210"/>
                    </a:lnTo>
                    <a:lnTo>
                      <a:pt x="1088" y="3243"/>
                    </a:lnTo>
                    <a:lnTo>
                      <a:pt x="1140" y="3274"/>
                    </a:lnTo>
                    <a:lnTo>
                      <a:pt x="1193" y="3305"/>
                    </a:lnTo>
                    <a:lnTo>
                      <a:pt x="2816" y="46"/>
                    </a:lnTo>
                    <a:lnTo>
                      <a:pt x="2802" y="35"/>
                    </a:lnTo>
                    <a:lnTo>
                      <a:pt x="2789" y="24"/>
                    </a:lnTo>
                    <a:lnTo>
                      <a:pt x="2777" y="12"/>
                    </a:lnTo>
                    <a:lnTo>
                      <a:pt x="276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28" name="Freeform 14"/>
              <p:cNvSpPr>
                <a:spLocks/>
              </p:cNvSpPr>
              <p:nvPr/>
            </p:nvSpPr>
            <p:spPr bwMode="auto">
              <a:xfrm>
                <a:off x="332860" y="319881"/>
                <a:ext cx="176948" cy="335336"/>
              </a:xfrm>
              <a:custGeom>
                <a:avLst/>
                <a:gdLst>
                  <a:gd name="T0" fmla="*/ 0 w 1719"/>
                  <a:gd name="T1" fmla="*/ 38 h 3256"/>
                  <a:gd name="T2" fmla="*/ 517 w 1719"/>
                  <a:gd name="T3" fmla="*/ 3256 h 3256"/>
                  <a:gd name="T4" fmla="*/ 571 w 1719"/>
                  <a:gd name="T5" fmla="*/ 3226 h 3256"/>
                  <a:gd name="T6" fmla="*/ 623 w 1719"/>
                  <a:gd name="T7" fmla="*/ 3194 h 3256"/>
                  <a:gd name="T8" fmla="*/ 676 w 1719"/>
                  <a:gd name="T9" fmla="*/ 3161 h 3256"/>
                  <a:gd name="T10" fmla="*/ 726 w 1719"/>
                  <a:gd name="T11" fmla="*/ 3127 h 3256"/>
                  <a:gd name="T12" fmla="*/ 776 w 1719"/>
                  <a:gd name="T13" fmla="*/ 3092 h 3256"/>
                  <a:gd name="T14" fmla="*/ 825 w 1719"/>
                  <a:gd name="T15" fmla="*/ 3054 h 3256"/>
                  <a:gd name="T16" fmla="*/ 873 w 1719"/>
                  <a:gd name="T17" fmla="*/ 3017 h 3256"/>
                  <a:gd name="T18" fmla="*/ 921 w 1719"/>
                  <a:gd name="T19" fmla="*/ 2978 h 3256"/>
                  <a:gd name="T20" fmla="*/ 967 w 1719"/>
                  <a:gd name="T21" fmla="*/ 2938 h 3256"/>
                  <a:gd name="T22" fmla="*/ 1013 w 1719"/>
                  <a:gd name="T23" fmla="*/ 2898 h 3256"/>
                  <a:gd name="T24" fmla="*/ 1057 w 1719"/>
                  <a:gd name="T25" fmla="*/ 2856 h 3256"/>
                  <a:gd name="T26" fmla="*/ 1100 w 1719"/>
                  <a:gd name="T27" fmla="*/ 2813 h 3256"/>
                  <a:gd name="T28" fmla="*/ 1142 w 1719"/>
                  <a:gd name="T29" fmla="*/ 2769 h 3256"/>
                  <a:gd name="T30" fmla="*/ 1184 w 1719"/>
                  <a:gd name="T31" fmla="*/ 2723 h 3256"/>
                  <a:gd name="T32" fmla="*/ 1224 w 1719"/>
                  <a:gd name="T33" fmla="*/ 2676 h 3256"/>
                  <a:gd name="T34" fmla="*/ 1263 w 1719"/>
                  <a:gd name="T35" fmla="*/ 2630 h 3256"/>
                  <a:gd name="T36" fmla="*/ 1300 w 1719"/>
                  <a:gd name="T37" fmla="*/ 2582 h 3256"/>
                  <a:gd name="T38" fmla="*/ 1337 w 1719"/>
                  <a:gd name="T39" fmla="*/ 2533 h 3256"/>
                  <a:gd name="T40" fmla="*/ 1372 w 1719"/>
                  <a:gd name="T41" fmla="*/ 2483 h 3256"/>
                  <a:gd name="T42" fmla="*/ 1408 w 1719"/>
                  <a:gd name="T43" fmla="*/ 2432 h 3256"/>
                  <a:gd name="T44" fmla="*/ 1441 w 1719"/>
                  <a:gd name="T45" fmla="*/ 2380 h 3256"/>
                  <a:gd name="T46" fmla="*/ 1472 w 1719"/>
                  <a:gd name="T47" fmla="*/ 2327 h 3256"/>
                  <a:gd name="T48" fmla="*/ 1503 w 1719"/>
                  <a:gd name="T49" fmla="*/ 2274 h 3256"/>
                  <a:gd name="T50" fmla="*/ 1532 w 1719"/>
                  <a:gd name="T51" fmla="*/ 2220 h 3256"/>
                  <a:gd name="T52" fmla="*/ 1560 w 1719"/>
                  <a:gd name="T53" fmla="*/ 2165 h 3256"/>
                  <a:gd name="T54" fmla="*/ 1587 w 1719"/>
                  <a:gd name="T55" fmla="*/ 2110 h 3256"/>
                  <a:gd name="T56" fmla="*/ 1612 w 1719"/>
                  <a:gd name="T57" fmla="*/ 2052 h 3256"/>
                  <a:gd name="T58" fmla="*/ 1637 w 1719"/>
                  <a:gd name="T59" fmla="*/ 1995 h 3256"/>
                  <a:gd name="T60" fmla="*/ 1659 w 1719"/>
                  <a:gd name="T61" fmla="*/ 1938 h 3256"/>
                  <a:gd name="T62" fmla="*/ 1681 w 1719"/>
                  <a:gd name="T63" fmla="*/ 1879 h 3256"/>
                  <a:gd name="T64" fmla="*/ 1700 w 1719"/>
                  <a:gd name="T65" fmla="*/ 1820 h 3256"/>
                  <a:gd name="T66" fmla="*/ 1719 w 1719"/>
                  <a:gd name="T67" fmla="*/ 1760 h 3256"/>
                  <a:gd name="T68" fmla="*/ 81 w 1719"/>
                  <a:gd name="T69" fmla="*/ 0 h 3256"/>
                  <a:gd name="T70" fmla="*/ 62 w 1719"/>
                  <a:gd name="T71" fmla="*/ 11 h 3256"/>
                  <a:gd name="T72" fmla="*/ 42 w 1719"/>
                  <a:gd name="T73" fmla="*/ 22 h 3256"/>
                  <a:gd name="T74" fmla="*/ 21 w 1719"/>
                  <a:gd name="T75" fmla="*/ 31 h 3256"/>
                  <a:gd name="T76" fmla="*/ 0 w 1719"/>
                  <a:gd name="T77" fmla="*/ 38 h 3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719" h="3256">
                    <a:moveTo>
                      <a:pt x="0" y="38"/>
                    </a:moveTo>
                    <a:lnTo>
                      <a:pt x="517" y="3256"/>
                    </a:lnTo>
                    <a:lnTo>
                      <a:pt x="571" y="3226"/>
                    </a:lnTo>
                    <a:lnTo>
                      <a:pt x="623" y="3194"/>
                    </a:lnTo>
                    <a:lnTo>
                      <a:pt x="676" y="3161"/>
                    </a:lnTo>
                    <a:lnTo>
                      <a:pt x="726" y="3127"/>
                    </a:lnTo>
                    <a:lnTo>
                      <a:pt x="776" y="3092"/>
                    </a:lnTo>
                    <a:lnTo>
                      <a:pt x="825" y="3054"/>
                    </a:lnTo>
                    <a:lnTo>
                      <a:pt x="873" y="3017"/>
                    </a:lnTo>
                    <a:lnTo>
                      <a:pt x="921" y="2978"/>
                    </a:lnTo>
                    <a:lnTo>
                      <a:pt x="967" y="2938"/>
                    </a:lnTo>
                    <a:lnTo>
                      <a:pt x="1013" y="2898"/>
                    </a:lnTo>
                    <a:lnTo>
                      <a:pt x="1057" y="2856"/>
                    </a:lnTo>
                    <a:lnTo>
                      <a:pt x="1100" y="2813"/>
                    </a:lnTo>
                    <a:lnTo>
                      <a:pt x="1142" y="2769"/>
                    </a:lnTo>
                    <a:lnTo>
                      <a:pt x="1184" y="2723"/>
                    </a:lnTo>
                    <a:lnTo>
                      <a:pt x="1224" y="2676"/>
                    </a:lnTo>
                    <a:lnTo>
                      <a:pt x="1263" y="2630"/>
                    </a:lnTo>
                    <a:lnTo>
                      <a:pt x="1300" y="2582"/>
                    </a:lnTo>
                    <a:lnTo>
                      <a:pt x="1337" y="2533"/>
                    </a:lnTo>
                    <a:lnTo>
                      <a:pt x="1372" y="2483"/>
                    </a:lnTo>
                    <a:lnTo>
                      <a:pt x="1408" y="2432"/>
                    </a:lnTo>
                    <a:lnTo>
                      <a:pt x="1441" y="2380"/>
                    </a:lnTo>
                    <a:lnTo>
                      <a:pt x="1472" y="2327"/>
                    </a:lnTo>
                    <a:lnTo>
                      <a:pt x="1503" y="2274"/>
                    </a:lnTo>
                    <a:lnTo>
                      <a:pt x="1532" y="2220"/>
                    </a:lnTo>
                    <a:lnTo>
                      <a:pt x="1560" y="2165"/>
                    </a:lnTo>
                    <a:lnTo>
                      <a:pt x="1587" y="2110"/>
                    </a:lnTo>
                    <a:lnTo>
                      <a:pt x="1612" y="2052"/>
                    </a:lnTo>
                    <a:lnTo>
                      <a:pt x="1637" y="1995"/>
                    </a:lnTo>
                    <a:lnTo>
                      <a:pt x="1659" y="1938"/>
                    </a:lnTo>
                    <a:lnTo>
                      <a:pt x="1681" y="1879"/>
                    </a:lnTo>
                    <a:lnTo>
                      <a:pt x="1700" y="1820"/>
                    </a:lnTo>
                    <a:lnTo>
                      <a:pt x="1719" y="1760"/>
                    </a:lnTo>
                    <a:lnTo>
                      <a:pt x="81" y="0"/>
                    </a:lnTo>
                    <a:lnTo>
                      <a:pt x="62" y="11"/>
                    </a:lnTo>
                    <a:lnTo>
                      <a:pt x="42" y="22"/>
                    </a:lnTo>
                    <a:lnTo>
                      <a:pt x="21" y="31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29" name="Freeform 15"/>
              <p:cNvSpPr>
                <a:spLocks/>
              </p:cNvSpPr>
              <p:nvPr/>
            </p:nvSpPr>
            <p:spPr bwMode="auto">
              <a:xfrm>
                <a:off x="66820" y="167680"/>
                <a:ext cx="232631" cy="112604"/>
              </a:xfrm>
              <a:custGeom>
                <a:avLst/>
                <a:gdLst>
                  <a:gd name="T0" fmla="*/ 2261 w 2261"/>
                  <a:gd name="T1" fmla="*/ 923 h 1092"/>
                  <a:gd name="T2" fmla="*/ 1733 w 2261"/>
                  <a:gd name="T3" fmla="*/ 0 h 1092"/>
                  <a:gd name="T4" fmla="*/ 1669 w 2261"/>
                  <a:gd name="T5" fmla="*/ 5 h 1092"/>
                  <a:gd name="T6" fmla="*/ 1605 w 2261"/>
                  <a:gd name="T7" fmla="*/ 11 h 1092"/>
                  <a:gd name="T8" fmla="*/ 1541 w 2261"/>
                  <a:gd name="T9" fmla="*/ 18 h 1092"/>
                  <a:gd name="T10" fmla="*/ 1479 w 2261"/>
                  <a:gd name="T11" fmla="*/ 27 h 1092"/>
                  <a:gd name="T12" fmla="*/ 1417 w 2261"/>
                  <a:gd name="T13" fmla="*/ 38 h 1092"/>
                  <a:gd name="T14" fmla="*/ 1354 w 2261"/>
                  <a:gd name="T15" fmla="*/ 50 h 1092"/>
                  <a:gd name="T16" fmla="*/ 1293 w 2261"/>
                  <a:gd name="T17" fmla="*/ 64 h 1092"/>
                  <a:gd name="T18" fmla="*/ 1233 w 2261"/>
                  <a:gd name="T19" fmla="*/ 79 h 1092"/>
                  <a:gd name="T20" fmla="*/ 1173 w 2261"/>
                  <a:gd name="T21" fmla="*/ 96 h 1092"/>
                  <a:gd name="T22" fmla="*/ 1113 w 2261"/>
                  <a:gd name="T23" fmla="*/ 114 h 1092"/>
                  <a:gd name="T24" fmla="*/ 1054 w 2261"/>
                  <a:gd name="T25" fmla="*/ 133 h 1092"/>
                  <a:gd name="T26" fmla="*/ 996 w 2261"/>
                  <a:gd name="T27" fmla="*/ 154 h 1092"/>
                  <a:gd name="T28" fmla="*/ 939 w 2261"/>
                  <a:gd name="T29" fmla="*/ 177 h 1092"/>
                  <a:gd name="T30" fmla="*/ 881 w 2261"/>
                  <a:gd name="T31" fmla="*/ 201 h 1092"/>
                  <a:gd name="T32" fmla="*/ 826 w 2261"/>
                  <a:gd name="T33" fmla="*/ 226 h 1092"/>
                  <a:gd name="T34" fmla="*/ 770 w 2261"/>
                  <a:gd name="T35" fmla="*/ 252 h 1092"/>
                  <a:gd name="T36" fmla="*/ 716 w 2261"/>
                  <a:gd name="T37" fmla="*/ 280 h 1092"/>
                  <a:gd name="T38" fmla="*/ 662 w 2261"/>
                  <a:gd name="T39" fmla="*/ 308 h 1092"/>
                  <a:gd name="T40" fmla="*/ 609 w 2261"/>
                  <a:gd name="T41" fmla="*/ 338 h 1092"/>
                  <a:gd name="T42" fmla="*/ 557 w 2261"/>
                  <a:gd name="T43" fmla="*/ 370 h 1092"/>
                  <a:gd name="T44" fmla="*/ 505 w 2261"/>
                  <a:gd name="T45" fmla="*/ 402 h 1092"/>
                  <a:gd name="T46" fmla="*/ 455 w 2261"/>
                  <a:gd name="T47" fmla="*/ 436 h 1092"/>
                  <a:gd name="T48" fmla="*/ 405 w 2261"/>
                  <a:gd name="T49" fmla="*/ 471 h 1092"/>
                  <a:gd name="T50" fmla="*/ 356 w 2261"/>
                  <a:gd name="T51" fmla="*/ 507 h 1092"/>
                  <a:gd name="T52" fmla="*/ 308 w 2261"/>
                  <a:gd name="T53" fmla="*/ 545 h 1092"/>
                  <a:gd name="T54" fmla="*/ 261 w 2261"/>
                  <a:gd name="T55" fmla="*/ 583 h 1092"/>
                  <a:gd name="T56" fmla="*/ 216 w 2261"/>
                  <a:gd name="T57" fmla="*/ 622 h 1092"/>
                  <a:gd name="T58" fmla="*/ 170 w 2261"/>
                  <a:gd name="T59" fmla="*/ 663 h 1092"/>
                  <a:gd name="T60" fmla="*/ 126 w 2261"/>
                  <a:gd name="T61" fmla="*/ 704 h 1092"/>
                  <a:gd name="T62" fmla="*/ 83 w 2261"/>
                  <a:gd name="T63" fmla="*/ 746 h 1092"/>
                  <a:gd name="T64" fmla="*/ 41 w 2261"/>
                  <a:gd name="T65" fmla="*/ 790 h 1092"/>
                  <a:gd name="T66" fmla="*/ 0 w 2261"/>
                  <a:gd name="T67" fmla="*/ 834 h 1092"/>
                  <a:gd name="T68" fmla="*/ 2148 w 2261"/>
                  <a:gd name="T69" fmla="*/ 1092 h 1092"/>
                  <a:gd name="T70" fmla="*/ 2152 w 2261"/>
                  <a:gd name="T71" fmla="*/ 1079 h 1092"/>
                  <a:gd name="T72" fmla="*/ 2157 w 2261"/>
                  <a:gd name="T73" fmla="*/ 1067 h 1092"/>
                  <a:gd name="T74" fmla="*/ 2162 w 2261"/>
                  <a:gd name="T75" fmla="*/ 1055 h 1092"/>
                  <a:gd name="T76" fmla="*/ 2167 w 2261"/>
                  <a:gd name="T77" fmla="*/ 1043 h 1092"/>
                  <a:gd name="T78" fmla="*/ 2179 w 2261"/>
                  <a:gd name="T79" fmla="*/ 1020 h 1092"/>
                  <a:gd name="T80" fmla="*/ 2192 w 2261"/>
                  <a:gd name="T81" fmla="*/ 998 h 1092"/>
                  <a:gd name="T82" fmla="*/ 2207 w 2261"/>
                  <a:gd name="T83" fmla="*/ 978 h 1092"/>
                  <a:gd name="T84" fmla="*/ 2223 w 2261"/>
                  <a:gd name="T85" fmla="*/ 958 h 1092"/>
                  <a:gd name="T86" fmla="*/ 2241 w 2261"/>
                  <a:gd name="T87" fmla="*/ 940 h 1092"/>
                  <a:gd name="T88" fmla="*/ 2261 w 2261"/>
                  <a:gd name="T89" fmla="*/ 923 h 10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261" h="1092">
                    <a:moveTo>
                      <a:pt x="2261" y="923"/>
                    </a:moveTo>
                    <a:lnTo>
                      <a:pt x="1733" y="0"/>
                    </a:lnTo>
                    <a:lnTo>
                      <a:pt x="1669" y="5"/>
                    </a:lnTo>
                    <a:lnTo>
                      <a:pt x="1605" y="11"/>
                    </a:lnTo>
                    <a:lnTo>
                      <a:pt x="1541" y="18"/>
                    </a:lnTo>
                    <a:lnTo>
                      <a:pt x="1479" y="27"/>
                    </a:lnTo>
                    <a:lnTo>
                      <a:pt x="1417" y="38"/>
                    </a:lnTo>
                    <a:lnTo>
                      <a:pt x="1354" y="50"/>
                    </a:lnTo>
                    <a:lnTo>
                      <a:pt x="1293" y="64"/>
                    </a:lnTo>
                    <a:lnTo>
                      <a:pt x="1233" y="79"/>
                    </a:lnTo>
                    <a:lnTo>
                      <a:pt x="1173" y="96"/>
                    </a:lnTo>
                    <a:lnTo>
                      <a:pt x="1113" y="114"/>
                    </a:lnTo>
                    <a:lnTo>
                      <a:pt x="1054" y="133"/>
                    </a:lnTo>
                    <a:lnTo>
                      <a:pt x="996" y="154"/>
                    </a:lnTo>
                    <a:lnTo>
                      <a:pt x="939" y="177"/>
                    </a:lnTo>
                    <a:lnTo>
                      <a:pt x="881" y="201"/>
                    </a:lnTo>
                    <a:lnTo>
                      <a:pt x="826" y="226"/>
                    </a:lnTo>
                    <a:lnTo>
                      <a:pt x="770" y="252"/>
                    </a:lnTo>
                    <a:lnTo>
                      <a:pt x="716" y="280"/>
                    </a:lnTo>
                    <a:lnTo>
                      <a:pt x="662" y="308"/>
                    </a:lnTo>
                    <a:lnTo>
                      <a:pt x="609" y="338"/>
                    </a:lnTo>
                    <a:lnTo>
                      <a:pt x="557" y="370"/>
                    </a:lnTo>
                    <a:lnTo>
                      <a:pt x="505" y="402"/>
                    </a:lnTo>
                    <a:lnTo>
                      <a:pt x="455" y="436"/>
                    </a:lnTo>
                    <a:lnTo>
                      <a:pt x="405" y="471"/>
                    </a:lnTo>
                    <a:lnTo>
                      <a:pt x="356" y="507"/>
                    </a:lnTo>
                    <a:lnTo>
                      <a:pt x="308" y="545"/>
                    </a:lnTo>
                    <a:lnTo>
                      <a:pt x="261" y="583"/>
                    </a:lnTo>
                    <a:lnTo>
                      <a:pt x="216" y="622"/>
                    </a:lnTo>
                    <a:lnTo>
                      <a:pt x="170" y="663"/>
                    </a:lnTo>
                    <a:lnTo>
                      <a:pt x="126" y="704"/>
                    </a:lnTo>
                    <a:lnTo>
                      <a:pt x="83" y="746"/>
                    </a:lnTo>
                    <a:lnTo>
                      <a:pt x="41" y="790"/>
                    </a:lnTo>
                    <a:lnTo>
                      <a:pt x="0" y="834"/>
                    </a:lnTo>
                    <a:lnTo>
                      <a:pt x="2148" y="1092"/>
                    </a:lnTo>
                    <a:lnTo>
                      <a:pt x="2152" y="1079"/>
                    </a:lnTo>
                    <a:lnTo>
                      <a:pt x="2157" y="1067"/>
                    </a:lnTo>
                    <a:lnTo>
                      <a:pt x="2162" y="1055"/>
                    </a:lnTo>
                    <a:lnTo>
                      <a:pt x="2167" y="1043"/>
                    </a:lnTo>
                    <a:lnTo>
                      <a:pt x="2179" y="1020"/>
                    </a:lnTo>
                    <a:lnTo>
                      <a:pt x="2192" y="998"/>
                    </a:lnTo>
                    <a:lnTo>
                      <a:pt x="2207" y="978"/>
                    </a:lnTo>
                    <a:lnTo>
                      <a:pt x="2223" y="958"/>
                    </a:lnTo>
                    <a:lnTo>
                      <a:pt x="2241" y="940"/>
                    </a:lnTo>
                    <a:lnTo>
                      <a:pt x="2261" y="9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30" name="Freeform 16"/>
              <p:cNvSpPr>
                <a:spLocks/>
              </p:cNvSpPr>
              <p:nvPr/>
            </p:nvSpPr>
            <p:spPr bwMode="auto">
              <a:xfrm>
                <a:off x="351422" y="277809"/>
                <a:ext cx="169523" cy="189323"/>
              </a:xfrm>
              <a:custGeom>
                <a:avLst/>
                <a:gdLst>
                  <a:gd name="T0" fmla="*/ 58 w 1648"/>
                  <a:gd name="T1" fmla="*/ 136 h 1845"/>
                  <a:gd name="T2" fmla="*/ 56 w 1648"/>
                  <a:gd name="T3" fmla="*/ 160 h 1845"/>
                  <a:gd name="T4" fmla="*/ 53 w 1648"/>
                  <a:gd name="T5" fmla="*/ 184 h 1845"/>
                  <a:gd name="T6" fmla="*/ 48 w 1648"/>
                  <a:gd name="T7" fmla="*/ 207 h 1845"/>
                  <a:gd name="T8" fmla="*/ 41 w 1648"/>
                  <a:gd name="T9" fmla="*/ 230 h 1845"/>
                  <a:gd name="T10" fmla="*/ 33 w 1648"/>
                  <a:gd name="T11" fmla="*/ 252 h 1845"/>
                  <a:gd name="T12" fmla="*/ 23 w 1648"/>
                  <a:gd name="T13" fmla="*/ 273 h 1845"/>
                  <a:gd name="T14" fmla="*/ 12 w 1648"/>
                  <a:gd name="T15" fmla="*/ 293 h 1845"/>
                  <a:gd name="T16" fmla="*/ 0 w 1648"/>
                  <a:gd name="T17" fmla="*/ 313 h 1845"/>
                  <a:gd name="T18" fmla="*/ 1617 w 1648"/>
                  <a:gd name="T19" fmla="*/ 1845 h 1845"/>
                  <a:gd name="T20" fmla="*/ 1624 w 1648"/>
                  <a:gd name="T21" fmla="*/ 1797 h 1845"/>
                  <a:gd name="T22" fmla="*/ 1630 w 1648"/>
                  <a:gd name="T23" fmla="*/ 1748 h 1845"/>
                  <a:gd name="T24" fmla="*/ 1635 w 1648"/>
                  <a:gd name="T25" fmla="*/ 1700 h 1845"/>
                  <a:gd name="T26" fmla="*/ 1640 w 1648"/>
                  <a:gd name="T27" fmla="*/ 1651 h 1845"/>
                  <a:gd name="T28" fmla="*/ 1643 w 1648"/>
                  <a:gd name="T29" fmla="*/ 1602 h 1845"/>
                  <a:gd name="T30" fmla="*/ 1646 w 1648"/>
                  <a:gd name="T31" fmla="*/ 1552 h 1845"/>
                  <a:gd name="T32" fmla="*/ 1647 w 1648"/>
                  <a:gd name="T33" fmla="*/ 1503 h 1845"/>
                  <a:gd name="T34" fmla="*/ 1648 w 1648"/>
                  <a:gd name="T35" fmla="*/ 1452 h 1845"/>
                  <a:gd name="T36" fmla="*/ 1647 w 1648"/>
                  <a:gd name="T37" fmla="*/ 1401 h 1845"/>
                  <a:gd name="T38" fmla="*/ 1646 w 1648"/>
                  <a:gd name="T39" fmla="*/ 1351 h 1845"/>
                  <a:gd name="T40" fmla="*/ 1643 w 1648"/>
                  <a:gd name="T41" fmla="*/ 1301 h 1845"/>
                  <a:gd name="T42" fmla="*/ 1640 w 1648"/>
                  <a:gd name="T43" fmla="*/ 1251 h 1845"/>
                  <a:gd name="T44" fmla="*/ 1635 w 1648"/>
                  <a:gd name="T45" fmla="*/ 1202 h 1845"/>
                  <a:gd name="T46" fmla="*/ 1630 w 1648"/>
                  <a:gd name="T47" fmla="*/ 1153 h 1845"/>
                  <a:gd name="T48" fmla="*/ 1624 w 1648"/>
                  <a:gd name="T49" fmla="*/ 1103 h 1845"/>
                  <a:gd name="T50" fmla="*/ 1616 w 1648"/>
                  <a:gd name="T51" fmla="*/ 1054 h 1845"/>
                  <a:gd name="T52" fmla="*/ 1608 w 1648"/>
                  <a:gd name="T53" fmla="*/ 1006 h 1845"/>
                  <a:gd name="T54" fmla="*/ 1599 w 1648"/>
                  <a:gd name="T55" fmla="*/ 958 h 1845"/>
                  <a:gd name="T56" fmla="*/ 1589 w 1648"/>
                  <a:gd name="T57" fmla="*/ 911 h 1845"/>
                  <a:gd name="T58" fmla="*/ 1578 w 1648"/>
                  <a:gd name="T59" fmla="*/ 863 h 1845"/>
                  <a:gd name="T60" fmla="*/ 1567 w 1648"/>
                  <a:gd name="T61" fmla="*/ 816 h 1845"/>
                  <a:gd name="T62" fmla="*/ 1554 w 1648"/>
                  <a:gd name="T63" fmla="*/ 769 h 1845"/>
                  <a:gd name="T64" fmla="*/ 1540 w 1648"/>
                  <a:gd name="T65" fmla="*/ 723 h 1845"/>
                  <a:gd name="T66" fmla="*/ 1526 w 1648"/>
                  <a:gd name="T67" fmla="*/ 677 h 1845"/>
                  <a:gd name="T68" fmla="*/ 1511 w 1648"/>
                  <a:gd name="T69" fmla="*/ 631 h 1845"/>
                  <a:gd name="T70" fmla="*/ 1495 w 1648"/>
                  <a:gd name="T71" fmla="*/ 586 h 1845"/>
                  <a:gd name="T72" fmla="*/ 1478 w 1648"/>
                  <a:gd name="T73" fmla="*/ 542 h 1845"/>
                  <a:gd name="T74" fmla="*/ 1460 w 1648"/>
                  <a:gd name="T75" fmla="*/ 497 h 1845"/>
                  <a:gd name="T76" fmla="*/ 1441 w 1648"/>
                  <a:gd name="T77" fmla="*/ 453 h 1845"/>
                  <a:gd name="T78" fmla="*/ 1421 w 1648"/>
                  <a:gd name="T79" fmla="*/ 409 h 1845"/>
                  <a:gd name="T80" fmla="*/ 1401 w 1648"/>
                  <a:gd name="T81" fmla="*/ 366 h 1845"/>
                  <a:gd name="T82" fmla="*/ 1381 w 1648"/>
                  <a:gd name="T83" fmla="*/ 324 h 1845"/>
                  <a:gd name="T84" fmla="*/ 1359 w 1648"/>
                  <a:gd name="T85" fmla="*/ 281 h 1845"/>
                  <a:gd name="T86" fmla="*/ 1337 w 1648"/>
                  <a:gd name="T87" fmla="*/ 240 h 1845"/>
                  <a:gd name="T88" fmla="*/ 1313 w 1648"/>
                  <a:gd name="T89" fmla="*/ 199 h 1845"/>
                  <a:gd name="T90" fmla="*/ 1289 w 1648"/>
                  <a:gd name="T91" fmla="*/ 158 h 1845"/>
                  <a:gd name="T92" fmla="*/ 1265 w 1648"/>
                  <a:gd name="T93" fmla="*/ 118 h 1845"/>
                  <a:gd name="T94" fmla="*/ 1240 w 1648"/>
                  <a:gd name="T95" fmla="*/ 77 h 1845"/>
                  <a:gd name="T96" fmla="*/ 1214 w 1648"/>
                  <a:gd name="T97" fmla="*/ 38 h 1845"/>
                  <a:gd name="T98" fmla="*/ 1186 w 1648"/>
                  <a:gd name="T99" fmla="*/ 0 h 1845"/>
                  <a:gd name="T100" fmla="*/ 58 w 1648"/>
                  <a:gd name="T101" fmla="*/ 136 h 1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48" h="1845">
                    <a:moveTo>
                      <a:pt x="58" y="136"/>
                    </a:moveTo>
                    <a:lnTo>
                      <a:pt x="56" y="160"/>
                    </a:lnTo>
                    <a:lnTo>
                      <a:pt x="53" y="184"/>
                    </a:lnTo>
                    <a:lnTo>
                      <a:pt x="48" y="207"/>
                    </a:lnTo>
                    <a:lnTo>
                      <a:pt x="41" y="230"/>
                    </a:lnTo>
                    <a:lnTo>
                      <a:pt x="33" y="252"/>
                    </a:lnTo>
                    <a:lnTo>
                      <a:pt x="23" y="273"/>
                    </a:lnTo>
                    <a:lnTo>
                      <a:pt x="12" y="293"/>
                    </a:lnTo>
                    <a:lnTo>
                      <a:pt x="0" y="313"/>
                    </a:lnTo>
                    <a:lnTo>
                      <a:pt x="1617" y="1845"/>
                    </a:lnTo>
                    <a:lnTo>
                      <a:pt x="1624" y="1797"/>
                    </a:lnTo>
                    <a:lnTo>
                      <a:pt x="1630" y="1748"/>
                    </a:lnTo>
                    <a:lnTo>
                      <a:pt x="1635" y="1700"/>
                    </a:lnTo>
                    <a:lnTo>
                      <a:pt x="1640" y="1651"/>
                    </a:lnTo>
                    <a:lnTo>
                      <a:pt x="1643" y="1602"/>
                    </a:lnTo>
                    <a:lnTo>
                      <a:pt x="1646" y="1552"/>
                    </a:lnTo>
                    <a:lnTo>
                      <a:pt x="1647" y="1503"/>
                    </a:lnTo>
                    <a:lnTo>
                      <a:pt x="1648" y="1452"/>
                    </a:lnTo>
                    <a:lnTo>
                      <a:pt x="1647" y="1401"/>
                    </a:lnTo>
                    <a:lnTo>
                      <a:pt x="1646" y="1351"/>
                    </a:lnTo>
                    <a:lnTo>
                      <a:pt x="1643" y="1301"/>
                    </a:lnTo>
                    <a:lnTo>
                      <a:pt x="1640" y="1251"/>
                    </a:lnTo>
                    <a:lnTo>
                      <a:pt x="1635" y="1202"/>
                    </a:lnTo>
                    <a:lnTo>
                      <a:pt x="1630" y="1153"/>
                    </a:lnTo>
                    <a:lnTo>
                      <a:pt x="1624" y="1103"/>
                    </a:lnTo>
                    <a:lnTo>
                      <a:pt x="1616" y="1054"/>
                    </a:lnTo>
                    <a:lnTo>
                      <a:pt x="1608" y="1006"/>
                    </a:lnTo>
                    <a:lnTo>
                      <a:pt x="1599" y="958"/>
                    </a:lnTo>
                    <a:lnTo>
                      <a:pt x="1589" y="911"/>
                    </a:lnTo>
                    <a:lnTo>
                      <a:pt x="1578" y="863"/>
                    </a:lnTo>
                    <a:lnTo>
                      <a:pt x="1567" y="816"/>
                    </a:lnTo>
                    <a:lnTo>
                      <a:pt x="1554" y="769"/>
                    </a:lnTo>
                    <a:lnTo>
                      <a:pt x="1540" y="723"/>
                    </a:lnTo>
                    <a:lnTo>
                      <a:pt x="1526" y="677"/>
                    </a:lnTo>
                    <a:lnTo>
                      <a:pt x="1511" y="631"/>
                    </a:lnTo>
                    <a:lnTo>
                      <a:pt x="1495" y="586"/>
                    </a:lnTo>
                    <a:lnTo>
                      <a:pt x="1478" y="542"/>
                    </a:lnTo>
                    <a:lnTo>
                      <a:pt x="1460" y="497"/>
                    </a:lnTo>
                    <a:lnTo>
                      <a:pt x="1441" y="453"/>
                    </a:lnTo>
                    <a:lnTo>
                      <a:pt x="1421" y="409"/>
                    </a:lnTo>
                    <a:lnTo>
                      <a:pt x="1401" y="366"/>
                    </a:lnTo>
                    <a:lnTo>
                      <a:pt x="1381" y="324"/>
                    </a:lnTo>
                    <a:lnTo>
                      <a:pt x="1359" y="281"/>
                    </a:lnTo>
                    <a:lnTo>
                      <a:pt x="1337" y="240"/>
                    </a:lnTo>
                    <a:lnTo>
                      <a:pt x="1313" y="199"/>
                    </a:lnTo>
                    <a:lnTo>
                      <a:pt x="1289" y="158"/>
                    </a:lnTo>
                    <a:lnTo>
                      <a:pt x="1265" y="118"/>
                    </a:lnTo>
                    <a:lnTo>
                      <a:pt x="1240" y="77"/>
                    </a:lnTo>
                    <a:lnTo>
                      <a:pt x="1214" y="38"/>
                    </a:lnTo>
                    <a:lnTo>
                      <a:pt x="1186" y="0"/>
                    </a:lnTo>
                    <a:lnTo>
                      <a:pt x="58" y="1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31" name="Freeform 17"/>
              <p:cNvSpPr>
                <a:spLocks/>
              </p:cNvSpPr>
              <p:nvPr/>
            </p:nvSpPr>
            <p:spPr bwMode="auto">
              <a:xfrm>
                <a:off x="0" y="281521"/>
                <a:ext cx="288314" cy="188085"/>
              </a:xfrm>
              <a:custGeom>
                <a:avLst/>
                <a:gdLst>
                  <a:gd name="T0" fmla="*/ 2782 w 2801"/>
                  <a:gd name="T1" fmla="*/ 123 h 1832"/>
                  <a:gd name="T2" fmla="*/ 436 w 2801"/>
                  <a:gd name="T3" fmla="*/ 0 h 1832"/>
                  <a:gd name="T4" fmla="*/ 410 w 2801"/>
                  <a:gd name="T5" fmla="*/ 38 h 1832"/>
                  <a:gd name="T6" fmla="*/ 386 w 2801"/>
                  <a:gd name="T7" fmla="*/ 77 h 1832"/>
                  <a:gd name="T8" fmla="*/ 362 w 2801"/>
                  <a:gd name="T9" fmla="*/ 116 h 1832"/>
                  <a:gd name="T10" fmla="*/ 337 w 2801"/>
                  <a:gd name="T11" fmla="*/ 155 h 1832"/>
                  <a:gd name="T12" fmla="*/ 315 w 2801"/>
                  <a:gd name="T13" fmla="*/ 195 h 1832"/>
                  <a:gd name="T14" fmla="*/ 293 w 2801"/>
                  <a:gd name="T15" fmla="*/ 236 h 1832"/>
                  <a:gd name="T16" fmla="*/ 272 w 2801"/>
                  <a:gd name="T17" fmla="*/ 276 h 1832"/>
                  <a:gd name="T18" fmla="*/ 251 w 2801"/>
                  <a:gd name="T19" fmla="*/ 317 h 1832"/>
                  <a:gd name="T20" fmla="*/ 232 w 2801"/>
                  <a:gd name="T21" fmla="*/ 359 h 1832"/>
                  <a:gd name="T22" fmla="*/ 213 w 2801"/>
                  <a:gd name="T23" fmla="*/ 401 h 1832"/>
                  <a:gd name="T24" fmla="*/ 195 w 2801"/>
                  <a:gd name="T25" fmla="*/ 444 h 1832"/>
                  <a:gd name="T26" fmla="*/ 177 w 2801"/>
                  <a:gd name="T27" fmla="*/ 487 h 1832"/>
                  <a:gd name="T28" fmla="*/ 160 w 2801"/>
                  <a:gd name="T29" fmla="*/ 530 h 1832"/>
                  <a:gd name="T30" fmla="*/ 145 w 2801"/>
                  <a:gd name="T31" fmla="*/ 574 h 1832"/>
                  <a:gd name="T32" fmla="*/ 129 w 2801"/>
                  <a:gd name="T33" fmla="*/ 618 h 1832"/>
                  <a:gd name="T34" fmla="*/ 114 w 2801"/>
                  <a:gd name="T35" fmla="*/ 662 h 1832"/>
                  <a:gd name="T36" fmla="*/ 101 w 2801"/>
                  <a:gd name="T37" fmla="*/ 707 h 1832"/>
                  <a:gd name="T38" fmla="*/ 88 w 2801"/>
                  <a:gd name="T39" fmla="*/ 753 h 1832"/>
                  <a:gd name="T40" fmla="*/ 76 w 2801"/>
                  <a:gd name="T41" fmla="*/ 798 h 1832"/>
                  <a:gd name="T42" fmla="*/ 65 w 2801"/>
                  <a:gd name="T43" fmla="*/ 844 h 1832"/>
                  <a:gd name="T44" fmla="*/ 55 w 2801"/>
                  <a:gd name="T45" fmla="*/ 890 h 1832"/>
                  <a:gd name="T46" fmla="*/ 45 w 2801"/>
                  <a:gd name="T47" fmla="*/ 936 h 1832"/>
                  <a:gd name="T48" fmla="*/ 37 w 2801"/>
                  <a:gd name="T49" fmla="*/ 983 h 1832"/>
                  <a:gd name="T50" fmla="*/ 29 w 2801"/>
                  <a:gd name="T51" fmla="*/ 1030 h 1832"/>
                  <a:gd name="T52" fmla="*/ 22 w 2801"/>
                  <a:gd name="T53" fmla="*/ 1077 h 1832"/>
                  <a:gd name="T54" fmla="*/ 17 w 2801"/>
                  <a:gd name="T55" fmla="*/ 1126 h 1832"/>
                  <a:gd name="T56" fmla="*/ 12 w 2801"/>
                  <a:gd name="T57" fmla="*/ 1173 h 1832"/>
                  <a:gd name="T58" fmla="*/ 7 w 2801"/>
                  <a:gd name="T59" fmla="*/ 1221 h 1832"/>
                  <a:gd name="T60" fmla="*/ 4 w 2801"/>
                  <a:gd name="T61" fmla="*/ 1270 h 1832"/>
                  <a:gd name="T62" fmla="*/ 2 w 2801"/>
                  <a:gd name="T63" fmla="*/ 1318 h 1832"/>
                  <a:gd name="T64" fmla="*/ 0 w 2801"/>
                  <a:gd name="T65" fmla="*/ 1367 h 1832"/>
                  <a:gd name="T66" fmla="*/ 0 w 2801"/>
                  <a:gd name="T67" fmla="*/ 1416 h 1832"/>
                  <a:gd name="T68" fmla="*/ 1 w 2801"/>
                  <a:gd name="T69" fmla="*/ 1470 h 1832"/>
                  <a:gd name="T70" fmla="*/ 2 w 2801"/>
                  <a:gd name="T71" fmla="*/ 1522 h 1832"/>
                  <a:gd name="T72" fmla="*/ 5 w 2801"/>
                  <a:gd name="T73" fmla="*/ 1575 h 1832"/>
                  <a:gd name="T74" fmla="*/ 9 w 2801"/>
                  <a:gd name="T75" fmla="*/ 1627 h 1832"/>
                  <a:gd name="T76" fmla="*/ 14 w 2801"/>
                  <a:gd name="T77" fmla="*/ 1678 h 1832"/>
                  <a:gd name="T78" fmla="*/ 20 w 2801"/>
                  <a:gd name="T79" fmla="*/ 1730 h 1832"/>
                  <a:gd name="T80" fmla="*/ 27 w 2801"/>
                  <a:gd name="T81" fmla="*/ 1782 h 1832"/>
                  <a:gd name="T82" fmla="*/ 35 w 2801"/>
                  <a:gd name="T83" fmla="*/ 1832 h 1832"/>
                  <a:gd name="T84" fmla="*/ 2801 w 2801"/>
                  <a:gd name="T85" fmla="*/ 208 h 1832"/>
                  <a:gd name="T86" fmla="*/ 2794 w 2801"/>
                  <a:gd name="T87" fmla="*/ 188 h 1832"/>
                  <a:gd name="T88" fmla="*/ 2789 w 2801"/>
                  <a:gd name="T89" fmla="*/ 167 h 1832"/>
                  <a:gd name="T90" fmla="*/ 2785 w 2801"/>
                  <a:gd name="T91" fmla="*/ 145 h 1832"/>
                  <a:gd name="T92" fmla="*/ 2782 w 2801"/>
                  <a:gd name="T93" fmla="*/ 123 h 1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801" h="1832">
                    <a:moveTo>
                      <a:pt x="2782" y="123"/>
                    </a:moveTo>
                    <a:lnTo>
                      <a:pt x="436" y="0"/>
                    </a:lnTo>
                    <a:lnTo>
                      <a:pt x="410" y="38"/>
                    </a:lnTo>
                    <a:lnTo>
                      <a:pt x="386" y="77"/>
                    </a:lnTo>
                    <a:lnTo>
                      <a:pt x="362" y="116"/>
                    </a:lnTo>
                    <a:lnTo>
                      <a:pt x="337" y="155"/>
                    </a:lnTo>
                    <a:lnTo>
                      <a:pt x="315" y="195"/>
                    </a:lnTo>
                    <a:lnTo>
                      <a:pt x="293" y="236"/>
                    </a:lnTo>
                    <a:lnTo>
                      <a:pt x="272" y="276"/>
                    </a:lnTo>
                    <a:lnTo>
                      <a:pt x="251" y="317"/>
                    </a:lnTo>
                    <a:lnTo>
                      <a:pt x="232" y="359"/>
                    </a:lnTo>
                    <a:lnTo>
                      <a:pt x="213" y="401"/>
                    </a:lnTo>
                    <a:lnTo>
                      <a:pt x="195" y="444"/>
                    </a:lnTo>
                    <a:lnTo>
                      <a:pt x="177" y="487"/>
                    </a:lnTo>
                    <a:lnTo>
                      <a:pt x="160" y="530"/>
                    </a:lnTo>
                    <a:lnTo>
                      <a:pt x="145" y="574"/>
                    </a:lnTo>
                    <a:lnTo>
                      <a:pt x="129" y="618"/>
                    </a:lnTo>
                    <a:lnTo>
                      <a:pt x="114" y="662"/>
                    </a:lnTo>
                    <a:lnTo>
                      <a:pt x="101" y="707"/>
                    </a:lnTo>
                    <a:lnTo>
                      <a:pt x="88" y="753"/>
                    </a:lnTo>
                    <a:lnTo>
                      <a:pt x="76" y="798"/>
                    </a:lnTo>
                    <a:lnTo>
                      <a:pt x="65" y="844"/>
                    </a:lnTo>
                    <a:lnTo>
                      <a:pt x="55" y="890"/>
                    </a:lnTo>
                    <a:lnTo>
                      <a:pt x="45" y="936"/>
                    </a:lnTo>
                    <a:lnTo>
                      <a:pt x="37" y="983"/>
                    </a:lnTo>
                    <a:lnTo>
                      <a:pt x="29" y="1030"/>
                    </a:lnTo>
                    <a:lnTo>
                      <a:pt x="22" y="1077"/>
                    </a:lnTo>
                    <a:lnTo>
                      <a:pt x="17" y="1126"/>
                    </a:lnTo>
                    <a:lnTo>
                      <a:pt x="12" y="1173"/>
                    </a:lnTo>
                    <a:lnTo>
                      <a:pt x="7" y="1221"/>
                    </a:lnTo>
                    <a:lnTo>
                      <a:pt x="4" y="1270"/>
                    </a:lnTo>
                    <a:lnTo>
                      <a:pt x="2" y="1318"/>
                    </a:lnTo>
                    <a:lnTo>
                      <a:pt x="0" y="1367"/>
                    </a:lnTo>
                    <a:lnTo>
                      <a:pt x="0" y="1416"/>
                    </a:lnTo>
                    <a:lnTo>
                      <a:pt x="1" y="1470"/>
                    </a:lnTo>
                    <a:lnTo>
                      <a:pt x="2" y="1522"/>
                    </a:lnTo>
                    <a:lnTo>
                      <a:pt x="5" y="1575"/>
                    </a:lnTo>
                    <a:lnTo>
                      <a:pt x="9" y="1627"/>
                    </a:lnTo>
                    <a:lnTo>
                      <a:pt x="14" y="1678"/>
                    </a:lnTo>
                    <a:lnTo>
                      <a:pt x="20" y="1730"/>
                    </a:lnTo>
                    <a:lnTo>
                      <a:pt x="27" y="1782"/>
                    </a:lnTo>
                    <a:lnTo>
                      <a:pt x="35" y="1832"/>
                    </a:lnTo>
                    <a:lnTo>
                      <a:pt x="2801" y="208"/>
                    </a:lnTo>
                    <a:lnTo>
                      <a:pt x="2794" y="188"/>
                    </a:lnTo>
                    <a:lnTo>
                      <a:pt x="2789" y="167"/>
                    </a:lnTo>
                    <a:lnTo>
                      <a:pt x="2785" y="145"/>
                    </a:lnTo>
                    <a:lnTo>
                      <a:pt x="2782" y="1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32" name="Freeform 18"/>
              <p:cNvSpPr>
                <a:spLocks/>
              </p:cNvSpPr>
              <p:nvPr/>
            </p:nvSpPr>
            <p:spPr bwMode="auto">
              <a:xfrm>
                <a:off x="277178" y="167680"/>
                <a:ext cx="176948" cy="108891"/>
              </a:xfrm>
              <a:custGeom>
                <a:avLst/>
                <a:gdLst>
                  <a:gd name="T0" fmla="*/ 442 w 1714"/>
                  <a:gd name="T1" fmla="*/ 845 h 1055"/>
                  <a:gd name="T2" fmla="*/ 467 w 1714"/>
                  <a:gd name="T3" fmla="*/ 846 h 1055"/>
                  <a:gd name="T4" fmla="*/ 493 w 1714"/>
                  <a:gd name="T5" fmla="*/ 850 h 1055"/>
                  <a:gd name="T6" fmla="*/ 518 w 1714"/>
                  <a:gd name="T7" fmla="*/ 855 h 1055"/>
                  <a:gd name="T8" fmla="*/ 542 w 1714"/>
                  <a:gd name="T9" fmla="*/ 862 h 1055"/>
                  <a:gd name="T10" fmla="*/ 565 w 1714"/>
                  <a:gd name="T11" fmla="*/ 871 h 1055"/>
                  <a:gd name="T12" fmla="*/ 587 w 1714"/>
                  <a:gd name="T13" fmla="*/ 881 h 1055"/>
                  <a:gd name="T14" fmla="*/ 608 w 1714"/>
                  <a:gd name="T15" fmla="*/ 893 h 1055"/>
                  <a:gd name="T16" fmla="*/ 629 w 1714"/>
                  <a:gd name="T17" fmla="*/ 906 h 1055"/>
                  <a:gd name="T18" fmla="*/ 648 w 1714"/>
                  <a:gd name="T19" fmla="*/ 920 h 1055"/>
                  <a:gd name="T20" fmla="*/ 666 w 1714"/>
                  <a:gd name="T21" fmla="*/ 936 h 1055"/>
                  <a:gd name="T22" fmla="*/ 684 w 1714"/>
                  <a:gd name="T23" fmla="*/ 953 h 1055"/>
                  <a:gd name="T24" fmla="*/ 699 w 1714"/>
                  <a:gd name="T25" fmla="*/ 971 h 1055"/>
                  <a:gd name="T26" fmla="*/ 714 w 1714"/>
                  <a:gd name="T27" fmla="*/ 991 h 1055"/>
                  <a:gd name="T28" fmla="*/ 727 w 1714"/>
                  <a:gd name="T29" fmla="*/ 1011 h 1055"/>
                  <a:gd name="T30" fmla="*/ 739 w 1714"/>
                  <a:gd name="T31" fmla="*/ 1032 h 1055"/>
                  <a:gd name="T32" fmla="*/ 750 w 1714"/>
                  <a:gd name="T33" fmla="*/ 1055 h 1055"/>
                  <a:gd name="T34" fmla="*/ 1714 w 1714"/>
                  <a:gd name="T35" fmla="*/ 825 h 1055"/>
                  <a:gd name="T36" fmla="*/ 1672 w 1714"/>
                  <a:gd name="T37" fmla="*/ 781 h 1055"/>
                  <a:gd name="T38" fmla="*/ 1631 w 1714"/>
                  <a:gd name="T39" fmla="*/ 739 h 1055"/>
                  <a:gd name="T40" fmla="*/ 1588 w 1714"/>
                  <a:gd name="T41" fmla="*/ 697 h 1055"/>
                  <a:gd name="T42" fmla="*/ 1545 w 1714"/>
                  <a:gd name="T43" fmla="*/ 656 h 1055"/>
                  <a:gd name="T44" fmla="*/ 1500 w 1714"/>
                  <a:gd name="T45" fmla="*/ 616 h 1055"/>
                  <a:gd name="T46" fmla="*/ 1455 w 1714"/>
                  <a:gd name="T47" fmla="*/ 577 h 1055"/>
                  <a:gd name="T48" fmla="*/ 1408 w 1714"/>
                  <a:gd name="T49" fmla="*/ 540 h 1055"/>
                  <a:gd name="T50" fmla="*/ 1360 w 1714"/>
                  <a:gd name="T51" fmla="*/ 502 h 1055"/>
                  <a:gd name="T52" fmla="*/ 1312 w 1714"/>
                  <a:gd name="T53" fmla="*/ 467 h 1055"/>
                  <a:gd name="T54" fmla="*/ 1263 w 1714"/>
                  <a:gd name="T55" fmla="*/ 432 h 1055"/>
                  <a:gd name="T56" fmla="*/ 1213 w 1714"/>
                  <a:gd name="T57" fmla="*/ 399 h 1055"/>
                  <a:gd name="T58" fmla="*/ 1162 w 1714"/>
                  <a:gd name="T59" fmla="*/ 367 h 1055"/>
                  <a:gd name="T60" fmla="*/ 1110 w 1714"/>
                  <a:gd name="T61" fmla="*/ 336 h 1055"/>
                  <a:gd name="T62" fmla="*/ 1058 w 1714"/>
                  <a:gd name="T63" fmla="*/ 307 h 1055"/>
                  <a:gd name="T64" fmla="*/ 1005 w 1714"/>
                  <a:gd name="T65" fmla="*/ 278 h 1055"/>
                  <a:gd name="T66" fmla="*/ 950 w 1714"/>
                  <a:gd name="T67" fmla="*/ 251 h 1055"/>
                  <a:gd name="T68" fmla="*/ 896 w 1714"/>
                  <a:gd name="T69" fmla="*/ 225 h 1055"/>
                  <a:gd name="T70" fmla="*/ 841 w 1714"/>
                  <a:gd name="T71" fmla="*/ 201 h 1055"/>
                  <a:gd name="T72" fmla="*/ 785 w 1714"/>
                  <a:gd name="T73" fmla="*/ 177 h 1055"/>
                  <a:gd name="T74" fmla="*/ 727 w 1714"/>
                  <a:gd name="T75" fmla="*/ 154 h 1055"/>
                  <a:gd name="T76" fmla="*/ 670 w 1714"/>
                  <a:gd name="T77" fmla="*/ 134 h 1055"/>
                  <a:gd name="T78" fmla="*/ 612 w 1714"/>
                  <a:gd name="T79" fmla="*/ 114 h 1055"/>
                  <a:gd name="T80" fmla="*/ 554 w 1714"/>
                  <a:gd name="T81" fmla="*/ 96 h 1055"/>
                  <a:gd name="T82" fmla="*/ 494 w 1714"/>
                  <a:gd name="T83" fmla="*/ 80 h 1055"/>
                  <a:gd name="T84" fmla="*/ 434 w 1714"/>
                  <a:gd name="T85" fmla="*/ 65 h 1055"/>
                  <a:gd name="T86" fmla="*/ 374 w 1714"/>
                  <a:gd name="T87" fmla="*/ 51 h 1055"/>
                  <a:gd name="T88" fmla="*/ 313 w 1714"/>
                  <a:gd name="T89" fmla="*/ 39 h 1055"/>
                  <a:gd name="T90" fmla="*/ 251 w 1714"/>
                  <a:gd name="T91" fmla="*/ 28 h 1055"/>
                  <a:gd name="T92" fmla="*/ 189 w 1714"/>
                  <a:gd name="T93" fmla="*/ 19 h 1055"/>
                  <a:gd name="T94" fmla="*/ 127 w 1714"/>
                  <a:gd name="T95" fmla="*/ 11 h 1055"/>
                  <a:gd name="T96" fmla="*/ 64 w 1714"/>
                  <a:gd name="T97" fmla="*/ 4 h 1055"/>
                  <a:gd name="T98" fmla="*/ 0 w 1714"/>
                  <a:gd name="T99" fmla="*/ 0 h 1055"/>
                  <a:gd name="T100" fmla="*/ 357 w 1714"/>
                  <a:gd name="T101" fmla="*/ 855 h 1055"/>
                  <a:gd name="T102" fmla="*/ 377 w 1714"/>
                  <a:gd name="T103" fmla="*/ 851 h 1055"/>
                  <a:gd name="T104" fmla="*/ 398 w 1714"/>
                  <a:gd name="T105" fmla="*/ 848 h 1055"/>
                  <a:gd name="T106" fmla="*/ 420 w 1714"/>
                  <a:gd name="T107" fmla="*/ 845 h 1055"/>
                  <a:gd name="T108" fmla="*/ 442 w 1714"/>
                  <a:gd name="T109" fmla="*/ 845 h 10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14" h="1055">
                    <a:moveTo>
                      <a:pt x="442" y="845"/>
                    </a:moveTo>
                    <a:lnTo>
                      <a:pt x="467" y="846"/>
                    </a:lnTo>
                    <a:lnTo>
                      <a:pt x="493" y="850"/>
                    </a:lnTo>
                    <a:lnTo>
                      <a:pt x="518" y="855"/>
                    </a:lnTo>
                    <a:lnTo>
                      <a:pt x="542" y="862"/>
                    </a:lnTo>
                    <a:lnTo>
                      <a:pt x="565" y="871"/>
                    </a:lnTo>
                    <a:lnTo>
                      <a:pt x="587" y="881"/>
                    </a:lnTo>
                    <a:lnTo>
                      <a:pt x="608" y="893"/>
                    </a:lnTo>
                    <a:lnTo>
                      <a:pt x="629" y="906"/>
                    </a:lnTo>
                    <a:lnTo>
                      <a:pt x="648" y="920"/>
                    </a:lnTo>
                    <a:lnTo>
                      <a:pt x="666" y="936"/>
                    </a:lnTo>
                    <a:lnTo>
                      <a:pt x="684" y="953"/>
                    </a:lnTo>
                    <a:lnTo>
                      <a:pt x="699" y="971"/>
                    </a:lnTo>
                    <a:lnTo>
                      <a:pt x="714" y="991"/>
                    </a:lnTo>
                    <a:lnTo>
                      <a:pt x="727" y="1011"/>
                    </a:lnTo>
                    <a:lnTo>
                      <a:pt x="739" y="1032"/>
                    </a:lnTo>
                    <a:lnTo>
                      <a:pt x="750" y="1055"/>
                    </a:lnTo>
                    <a:lnTo>
                      <a:pt x="1714" y="825"/>
                    </a:lnTo>
                    <a:lnTo>
                      <a:pt x="1672" y="781"/>
                    </a:lnTo>
                    <a:lnTo>
                      <a:pt x="1631" y="739"/>
                    </a:lnTo>
                    <a:lnTo>
                      <a:pt x="1588" y="697"/>
                    </a:lnTo>
                    <a:lnTo>
                      <a:pt x="1545" y="656"/>
                    </a:lnTo>
                    <a:lnTo>
                      <a:pt x="1500" y="616"/>
                    </a:lnTo>
                    <a:lnTo>
                      <a:pt x="1455" y="577"/>
                    </a:lnTo>
                    <a:lnTo>
                      <a:pt x="1408" y="540"/>
                    </a:lnTo>
                    <a:lnTo>
                      <a:pt x="1360" y="502"/>
                    </a:lnTo>
                    <a:lnTo>
                      <a:pt x="1312" y="467"/>
                    </a:lnTo>
                    <a:lnTo>
                      <a:pt x="1263" y="432"/>
                    </a:lnTo>
                    <a:lnTo>
                      <a:pt x="1213" y="399"/>
                    </a:lnTo>
                    <a:lnTo>
                      <a:pt x="1162" y="367"/>
                    </a:lnTo>
                    <a:lnTo>
                      <a:pt x="1110" y="336"/>
                    </a:lnTo>
                    <a:lnTo>
                      <a:pt x="1058" y="307"/>
                    </a:lnTo>
                    <a:lnTo>
                      <a:pt x="1005" y="278"/>
                    </a:lnTo>
                    <a:lnTo>
                      <a:pt x="950" y="251"/>
                    </a:lnTo>
                    <a:lnTo>
                      <a:pt x="896" y="225"/>
                    </a:lnTo>
                    <a:lnTo>
                      <a:pt x="841" y="201"/>
                    </a:lnTo>
                    <a:lnTo>
                      <a:pt x="785" y="177"/>
                    </a:lnTo>
                    <a:lnTo>
                      <a:pt x="727" y="154"/>
                    </a:lnTo>
                    <a:lnTo>
                      <a:pt x="670" y="134"/>
                    </a:lnTo>
                    <a:lnTo>
                      <a:pt x="612" y="114"/>
                    </a:lnTo>
                    <a:lnTo>
                      <a:pt x="554" y="96"/>
                    </a:lnTo>
                    <a:lnTo>
                      <a:pt x="494" y="80"/>
                    </a:lnTo>
                    <a:lnTo>
                      <a:pt x="434" y="65"/>
                    </a:lnTo>
                    <a:lnTo>
                      <a:pt x="374" y="51"/>
                    </a:lnTo>
                    <a:lnTo>
                      <a:pt x="313" y="39"/>
                    </a:lnTo>
                    <a:lnTo>
                      <a:pt x="251" y="28"/>
                    </a:lnTo>
                    <a:lnTo>
                      <a:pt x="189" y="19"/>
                    </a:lnTo>
                    <a:lnTo>
                      <a:pt x="127" y="11"/>
                    </a:lnTo>
                    <a:lnTo>
                      <a:pt x="64" y="4"/>
                    </a:lnTo>
                    <a:lnTo>
                      <a:pt x="0" y="0"/>
                    </a:lnTo>
                    <a:lnTo>
                      <a:pt x="357" y="855"/>
                    </a:lnTo>
                    <a:lnTo>
                      <a:pt x="377" y="851"/>
                    </a:lnTo>
                    <a:lnTo>
                      <a:pt x="398" y="848"/>
                    </a:lnTo>
                    <a:lnTo>
                      <a:pt x="420" y="845"/>
                    </a:lnTo>
                    <a:lnTo>
                      <a:pt x="442" y="8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0268703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Изображение и подпись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599440" y="975360"/>
            <a:ext cx="11003280" cy="54051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grpSp>
        <p:nvGrpSpPr>
          <p:cNvPr id="23" name="Группа 22"/>
          <p:cNvGrpSpPr/>
          <p:nvPr userDrawn="1"/>
        </p:nvGrpSpPr>
        <p:grpSpPr>
          <a:xfrm>
            <a:off x="613117" y="323850"/>
            <a:ext cx="1138551" cy="321285"/>
            <a:chOff x="0" y="687388"/>
            <a:chExt cx="1440180" cy="406401"/>
          </a:xfrm>
          <a:solidFill>
            <a:schemeClr val="bg1"/>
          </a:solidFill>
        </p:grpSpPr>
        <p:grpSp>
          <p:nvGrpSpPr>
            <p:cNvPr id="24" name="Группа 23"/>
            <p:cNvGrpSpPr/>
            <p:nvPr userDrawn="1"/>
          </p:nvGrpSpPr>
          <p:grpSpPr>
            <a:xfrm>
              <a:off x="493068" y="808707"/>
              <a:ext cx="947112" cy="176599"/>
              <a:chOff x="614988" y="259248"/>
              <a:chExt cx="1041891" cy="194272"/>
            </a:xfrm>
            <a:grpFill/>
          </p:grpSpPr>
          <p:sp>
            <p:nvSpPr>
              <p:cNvPr id="33" name="Freeform 5"/>
              <p:cNvSpPr>
                <a:spLocks noEditPoints="1"/>
              </p:cNvSpPr>
              <p:nvPr/>
            </p:nvSpPr>
            <p:spPr bwMode="auto">
              <a:xfrm>
                <a:off x="614988" y="260485"/>
                <a:ext cx="122502" cy="190560"/>
              </a:xfrm>
              <a:custGeom>
                <a:avLst/>
                <a:gdLst>
                  <a:gd name="T0" fmla="*/ 723 w 1181"/>
                  <a:gd name="T1" fmla="*/ 773 h 1846"/>
                  <a:gd name="T2" fmla="*/ 688 w 1181"/>
                  <a:gd name="T3" fmla="*/ 793 h 1846"/>
                  <a:gd name="T4" fmla="*/ 650 w 1181"/>
                  <a:gd name="T5" fmla="*/ 806 h 1846"/>
                  <a:gd name="T6" fmla="*/ 611 w 1181"/>
                  <a:gd name="T7" fmla="*/ 813 h 1846"/>
                  <a:gd name="T8" fmla="*/ 385 w 1181"/>
                  <a:gd name="T9" fmla="*/ 813 h 1846"/>
                  <a:gd name="T10" fmla="*/ 587 w 1181"/>
                  <a:gd name="T11" fmla="*/ 355 h 1846"/>
                  <a:gd name="T12" fmla="*/ 635 w 1181"/>
                  <a:gd name="T13" fmla="*/ 358 h 1846"/>
                  <a:gd name="T14" fmla="*/ 677 w 1181"/>
                  <a:gd name="T15" fmla="*/ 368 h 1846"/>
                  <a:gd name="T16" fmla="*/ 696 w 1181"/>
                  <a:gd name="T17" fmla="*/ 375 h 1846"/>
                  <a:gd name="T18" fmla="*/ 714 w 1181"/>
                  <a:gd name="T19" fmla="*/ 384 h 1846"/>
                  <a:gd name="T20" fmla="*/ 731 w 1181"/>
                  <a:gd name="T21" fmla="*/ 395 h 1846"/>
                  <a:gd name="T22" fmla="*/ 746 w 1181"/>
                  <a:gd name="T23" fmla="*/ 407 h 1846"/>
                  <a:gd name="T24" fmla="*/ 759 w 1181"/>
                  <a:gd name="T25" fmla="*/ 421 h 1846"/>
                  <a:gd name="T26" fmla="*/ 772 w 1181"/>
                  <a:gd name="T27" fmla="*/ 437 h 1846"/>
                  <a:gd name="T28" fmla="*/ 782 w 1181"/>
                  <a:gd name="T29" fmla="*/ 455 h 1846"/>
                  <a:gd name="T30" fmla="*/ 790 w 1181"/>
                  <a:gd name="T31" fmla="*/ 476 h 1846"/>
                  <a:gd name="T32" fmla="*/ 797 w 1181"/>
                  <a:gd name="T33" fmla="*/ 498 h 1846"/>
                  <a:gd name="T34" fmla="*/ 801 w 1181"/>
                  <a:gd name="T35" fmla="*/ 522 h 1846"/>
                  <a:gd name="T36" fmla="*/ 805 w 1181"/>
                  <a:gd name="T37" fmla="*/ 578 h 1846"/>
                  <a:gd name="T38" fmla="*/ 804 w 1181"/>
                  <a:gd name="T39" fmla="*/ 610 h 1846"/>
                  <a:gd name="T40" fmla="*/ 801 w 1181"/>
                  <a:gd name="T41" fmla="*/ 639 h 1846"/>
                  <a:gd name="T42" fmla="*/ 796 w 1181"/>
                  <a:gd name="T43" fmla="*/ 665 h 1846"/>
                  <a:gd name="T44" fmla="*/ 789 w 1181"/>
                  <a:gd name="T45" fmla="*/ 689 h 1846"/>
                  <a:gd name="T46" fmla="*/ 780 w 1181"/>
                  <a:gd name="T47" fmla="*/ 710 h 1846"/>
                  <a:gd name="T48" fmla="*/ 769 w 1181"/>
                  <a:gd name="T49" fmla="*/ 730 h 1846"/>
                  <a:gd name="T50" fmla="*/ 754 w 1181"/>
                  <a:gd name="T51" fmla="*/ 746 h 1846"/>
                  <a:gd name="T52" fmla="*/ 739 w 1181"/>
                  <a:gd name="T53" fmla="*/ 761 h 1846"/>
                  <a:gd name="T54" fmla="*/ 1151 w 1181"/>
                  <a:gd name="T55" fmla="*/ 797 h 1846"/>
                  <a:gd name="T56" fmla="*/ 1166 w 1181"/>
                  <a:gd name="T57" fmla="*/ 740 h 1846"/>
                  <a:gd name="T58" fmla="*/ 1176 w 1181"/>
                  <a:gd name="T59" fmla="*/ 680 h 1846"/>
                  <a:gd name="T60" fmla="*/ 1181 w 1181"/>
                  <a:gd name="T61" fmla="*/ 617 h 1846"/>
                  <a:gd name="T62" fmla="*/ 1181 w 1181"/>
                  <a:gd name="T63" fmla="*/ 546 h 1846"/>
                  <a:gd name="T64" fmla="*/ 1175 w 1181"/>
                  <a:gd name="T65" fmla="*/ 476 h 1846"/>
                  <a:gd name="T66" fmla="*/ 1164 w 1181"/>
                  <a:gd name="T67" fmla="*/ 411 h 1846"/>
                  <a:gd name="T68" fmla="*/ 1148 w 1181"/>
                  <a:gd name="T69" fmla="*/ 350 h 1846"/>
                  <a:gd name="T70" fmla="*/ 1127 w 1181"/>
                  <a:gd name="T71" fmla="*/ 295 h 1846"/>
                  <a:gd name="T72" fmla="*/ 1100 w 1181"/>
                  <a:gd name="T73" fmla="*/ 244 h 1846"/>
                  <a:gd name="T74" fmla="*/ 1070 w 1181"/>
                  <a:gd name="T75" fmla="*/ 199 h 1846"/>
                  <a:gd name="T76" fmla="*/ 1035 w 1181"/>
                  <a:gd name="T77" fmla="*/ 159 h 1846"/>
                  <a:gd name="T78" fmla="*/ 995 w 1181"/>
                  <a:gd name="T79" fmla="*/ 123 h 1846"/>
                  <a:gd name="T80" fmla="*/ 952 w 1181"/>
                  <a:gd name="T81" fmla="*/ 92 h 1846"/>
                  <a:gd name="T82" fmla="*/ 905 w 1181"/>
                  <a:gd name="T83" fmla="*/ 65 h 1846"/>
                  <a:gd name="T84" fmla="*/ 854 w 1181"/>
                  <a:gd name="T85" fmla="*/ 44 h 1846"/>
                  <a:gd name="T86" fmla="*/ 799 w 1181"/>
                  <a:gd name="T87" fmla="*/ 26 h 1846"/>
                  <a:gd name="T88" fmla="*/ 741 w 1181"/>
                  <a:gd name="T89" fmla="*/ 13 h 1846"/>
                  <a:gd name="T90" fmla="*/ 681 w 1181"/>
                  <a:gd name="T91" fmla="*/ 5 h 1846"/>
                  <a:gd name="T92" fmla="*/ 619 w 1181"/>
                  <a:gd name="T93" fmla="*/ 1 h 1846"/>
                  <a:gd name="T94" fmla="*/ 0 w 1181"/>
                  <a:gd name="T95" fmla="*/ 0 h 1846"/>
                  <a:gd name="T96" fmla="*/ 385 w 1181"/>
                  <a:gd name="T97" fmla="*/ 1846 h 1846"/>
                  <a:gd name="T98" fmla="*/ 608 w 1181"/>
                  <a:gd name="T99" fmla="*/ 1172 h 1846"/>
                  <a:gd name="T100" fmla="*/ 673 w 1181"/>
                  <a:gd name="T101" fmla="*/ 1169 h 1846"/>
                  <a:gd name="T102" fmla="*/ 734 w 1181"/>
                  <a:gd name="T103" fmla="*/ 1161 h 1846"/>
                  <a:gd name="T104" fmla="*/ 793 w 1181"/>
                  <a:gd name="T105" fmla="*/ 1148 h 1846"/>
                  <a:gd name="T106" fmla="*/ 847 w 1181"/>
                  <a:gd name="T107" fmla="*/ 1129 h 1846"/>
                  <a:gd name="T108" fmla="*/ 898 w 1181"/>
                  <a:gd name="T109" fmla="*/ 1106 h 1846"/>
                  <a:gd name="T110" fmla="*/ 945 w 1181"/>
                  <a:gd name="T111" fmla="*/ 1079 h 1846"/>
                  <a:gd name="T112" fmla="*/ 988 w 1181"/>
                  <a:gd name="T113" fmla="*/ 1047 h 1846"/>
                  <a:gd name="T114" fmla="*/ 1029 w 1181"/>
                  <a:gd name="T115" fmla="*/ 1011 h 1846"/>
                  <a:gd name="T116" fmla="*/ 1063 w 1181"/>
                  <a:gd name="T117" fmla="*/ 971 h 1846"/>
                  <a:gd name="T118" fmla="*/ 1093 w 1181"/>
                  <a:gd name="T119" fmla="*/ 925 h 1846"/>
                  <a:gd name="T120" fmla="*/ 1120 w 1181"/>
                  <a:gd name="T121" fmla="*/ 876 h 1846"/>
                  <a:gd name="T122" fmla="*/ 1142 w 1181"/>
                  <a:gd name="T123" fmla="*/ 824 h 18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81" h="1846">
                    <a:moveTo>
                      <a:pt x="739" y="761"/>
                    </a:moveTo>
                    <a:lnTo>
                      <a:pt x="723" y="773"/>
                    </a:lnTo>
                    <a:lnTo>
                      <a:pt x="706" y="784"/>
                    </a:lnTo>
                    <a:lnTo>
                      <a:pt x="688" y="793"/>
                    </a:lnTo>
                    <a:lnTo>
                      <a:pt x="669" y="801"/>
                    </a:lnTo>
                    <a:lnTo>
                      <a:pt x="650" y="806"/>
                    </a:lnTo>
                    <a:lnTo>
                      <a:pt x="631" y="810"/>
                    </a:lnTo>
                    <a:lnTo>
                      <a:pt x="611" y="813"/>
                    </a:lnTo>
                    <a:lnTo>
                      <a:pt x="590" y="813"/>
                    </a:lnTo>
                    <a:lnTo>
                      <a:pt x="385" y="813"/>
                    </a:lnTo>
                    <a:lnTo>
                      <a:pt x="385" y="355"/>
                    </a:lnTo>
                    <a:lnTo>
                      <a:pt x="587" y="355"/>
                    </a:lnTo>
                    <a:lnTo>
                      <a:pt x="611" y="356"/>
                    </a:lnTo>
                    <a:lnTo>
                      <a:pt x="635" y="358"/>
                    </a:lnTo>
                    <a:lnTo>
                      <a:pt x="657" y="362"/>
                    </a:lnTo>
                    <a:lnTo>
                      <a:pt x="677" y="368"/>
                    </a:lnTo>
                    <a:lnTo>
                      <a:pt x="687" y="372"/>
                    </a:lnTo>
                    <a:lnTo>
                      <a:pt x="696" y="375"/>
                    </a:lnTo>
                    <a:lnTo>
                      <a:pt x="705" y="380"/>
                    </a:lnTo>
                    <a:lnTo>
                      <a:pt x="714" y="384"/>
                    </a:lnTo>
                    <a:lnTo>
                      <a:pt x="723" y="389"/>
                    </a:lnTo>
                    <a:lnTo>
                      <a:pt x="731" y="395"/>
                    </a:lnTo>
                    <a:lnTo>
                      <a:pt x="738" y="401"/>
                    </a:lnTo>
                    <a:lnTo>
                      <a:pt x="746" y="407"/>
                    </a:lnTo>
                    <a:lnTo>
                      <a:pt x="753" y="414"/>
                    </a:lnTo>
                    <a:lnTo>
                      <a:pt x="759" y="421"/>
                    </a:lnTo>
                    <a:lnTo>
                      <a:pt x="767" y="429"/>
                    </a:lnTo>
                    <a:lnTo>
                      <a:pt x="772" y="437"/>
                    </a:lnTo>
                    <a:lnTo>
                      <a:pt x="777" y="446"/>
                    </a:lnTo>
                    <a:lnTo>
                      <a:pt x="782" y="455"/>
                    </a:lnTo>
                    <a:lnTo>
                      <a:pt x="786" y="465"/>
                    </a:lnTo>
                    <a:lnTo>
                      <a:pt x="790" y="476"/>
                    </a:lnTo>
                    <a:lnTo>
                      <a:pt x="794" y="486"/>
                    </a:lnTo>
                    <a:lnTo>
                      <a:pt x="797" y="498"/>
                    </a:lnTo>
                    <a:lnTo>
                      <a:pt x="799" y="510"/>
                    </a:lnTo>
                    <a:lnTo>
                      <a:pt x="801" y="522"/>
                    </a:lnTo>
                    <a:lnTo>
                      <a:pt x="804" y="549"/>
                    </a:lnTo>
                    <a:lnTo>
                      <a:pt x="805" y="578"/>
                    </a:lnTo>
                    <a:lnTo>
                      <a:pt x="805" y="594"/>
                    </a:lnTo>
                    <a:lnTo>
                      <a:pt x="804" y="610"/>
                    </a:lnTo>
                    <a:lnTo>
                      <a:pt x="803" y="625"/>
                    </a:lnTo>
                    <a:lnTo>
                      <a:pt x="801" y="639"/>
                    </a:lnTo>
                    <a:lnTo>
                      <a:pt x="799" y="652"/>
                    </a:lnTo>
                    <a:lnTo>
                      <a:pt x="796" y="665"/>
                    </a:lnTo>
                    <a:lnTo>
                      <a:pt x="793" y="677"/>
                    </a:lnTo>
                    <a:lnTo>
                      <a:pt x="789" y="689"/>
                    </a:lnTo>
                    <a:lnTo>
                      <a:pt x="785" y="700"/>
                    </a:lnTo>
                    <a:lnTo>
                      <a:pt x="780" y="710"/>
                    </a:lnTo>
                    <a:lnTo>
                      <a:pt x="774" y="720"/>
                    </a:lnTo>
                    <a:lnTo>
                      <a:pt x="769" y="730"/>
                    </a:lnTo>
                    <a:lnTo>
                      <a:pt x="761" y="738"/>
                    </a:lnTo>
                    <a:lnTo>
                      <a:pt x="754" y="746"/>
                    </a:lnTo>
                    <a:lnTo>
                      <a:pt x="747" y="754"/>
                    </a:lnTo>
                    <a:lnTo>
                      <a:pt x="739" y="761"/>
                    </a:lnTo>
                    <a:close/>
                    <a:moveTo>
                      <a:pt x="1142" y="824"/>
                    </a:moveTo>
                    <a:lnTo>
                      <a:pt x="1151" y="797"/>
                    </a:lnTo>
                    <a:lnTo>
                      <a:pt x="1159" y="768"/>
                    </a:lnTo>
                    <a:lnTo>
                      <a:pt x="1166" y="740"/>
                    </a:lnTo>
                    <a:lnTo>
                      <a:pt x="1171" y="710"/>
                    </a:lnTo>
                    <a:lnTo>
                      <a:pt x="1176" y="680"/>
                    </a:lnTo>
                    <a:lnTo>
                      <a:pt x="1179" y="649"/>
                    </a:lnTo>
                    <a:lnTo>
                      <a:pt x="1181" y="617"/>
                    </a:lnTo>
                    <a:lnTo>
                      <a:pt x="1181" y="583"/>
                    </a:lnTo>
                    <a:lnTo>
                      <a:pt x="1181" y="546"/>
                    </a:lnTo>
                    <a:lnTo>
                      <a:pt x="1179" y="510"/>
                    </a:lnTo>
                    <a:lnTo>
                      <a:pt x="1175" y="476"/>
                    </a:lnTo>
                    <a:lnTo>
                      <a:pt x="1170" y="442"/>
                    </a:lnTo>
                    <a:lnTo>
                      <a:pt x="1164" y="411"/>
                    </a:lnTo>
                    <a:lnTo>
                      <a:pt x="1157" y="380"/>
                    </a:lnTo>
                    <a:lnTo>
                      <a:pt x="1148" y="350"/>
                    </a:lnTo>
                    <a:lnTo>
                      <a:pt x="1138" y="322"/>
                    </a:lnTo>
                    <a:lnTo>
                      <a:pt x="1127" y="295"/>
                    </a:lnTo>
                    <a:lnTo>
                      <a:pt x="1114" y="269"/>
                    </a:lnTo>
                    <a:lnTo>
                      <a:pt x="1100" y="244"/>
                    </a:lnTo>
                    <a:lnTo>
                      <a:pt x="1086" y="221"/>
                    </a:lnTo>
                    <a:lnTo>
                      <a:pt x="1070" y="199"/>
                    </a:lnTo>
                    <a:lnTo>
                      <a:pt x="1053" y="178"/>
                    </a:lnTo>
                    <a:lnTo>
                      <a:pt x="1035" y="159"/>
                    </a:lnTo>
                    <a:lnTo>
                      <a:pt x="1016" y="140"/>
                    </a:lnTo>
                    <a:lnTo>
                      <a:pt x="995" y="123"/>
                    </a:lnTo>
                    <a:lnTo>
                      <a:pt x="974" y="107"/>
                    </a:lnTo>
                    <a:lnTo>
                      <a:pt x="952" y="92"/>
                    </a:lnTo>
                    <a:lnTo>
                      <a:pt x="929" y="78"/>
                    </a:lnTo>
                    <a:lnTo>
                      <a:pt x="905" y="65"/>
                    </a:lnTo>
                    <a:lnTo>
                      <a:pt x="880" y="54"/>
                    </a:lnTo>
                    <a:lnTo>
                      <a:pt x="854" y="44"/>
                    </a:lnTo>
                    <a:lnTo>
                      <a:pt x="827" y="34"/>
                    </a:lnTo>
                    <a:lnTo>
                      <a:pt x="799" y="26"/>
                    </a:lnTo>
                    <a:lnTo>
                      <a:pt x="771" y="19"/>
                    </a:lnTo>
                    <a:lnTo>
                      <a:pt x="741" y="13"/>
                    </a:lnTo>
                    <a:lnTo>
                      <a:pt x="711" y="8"/>
                    </a:lnTo>
                    <a:lnTo>
                      <a:pt x="681" y="5"/>
                    </a:lnTo>
                    <a:lnTo>
                      <a:pt x="650" y="2"/>
                    </a:lnTo>
                    <a:lnTo>
                      <a:pt x="619" y="1"/>
                    </a:lnTo>
                    <a:lnTo>
                      <a:pt x="587" y="0"/>
                    </a:lnTo>
                    <a:lnTo>
                      <a:pt x="0" y="0"/>
                    </a:lnTo>
                    <a:lnTo>
                      <a:pt x="0" y="1846"/>
                    </a:lnTo>
                    <a:lnTo>
                      <a:pt x="385" y="1846"/>
                    </a:lnTo>
                    <a:lnTo>
                      <a:pt x="385" y="1172"/>
                    </a:lnTo>
                    <a:lnTo>
                      <a:pt x="608" y="1172"/>
                    </a:lnTo>
                    <a:lnTo>
                      <a:pt x="641" y="1171"/>
                    </a:lnTo>
                    <a:lnTo>
                      <a:pt x="673" y="1169"/>
                    </a:lnTo>
                    <a:lnTo>
                      <a:pt x="704" y="1166"/>
                    </a:lnTo>
                    <a:lnTo>
                      <a:pt x="734" y="1161"/>
                    </a:lnTo>
                    <a:lnTo>
                      <a:pt x="763" y="1155"/>
                    </a:lnTo>
                    <a:lnTo>
                      <a:pt x="793" y="1148"/>
                    </a:lnTo>
                    <a:lnTo>
                      <a:pt x="820" y="1139"/>
                    </a:lnTo>
                    <a:lnTo>
                      <a:pt x="847" y="1129"/>
                    </a:lnTo>
                    <a:lnTo>
                      <a:pt x="873" y="1118"/>
                    </a:lnTo>
                    <a:lnTo>
                      <a:pt x="898" y="1106"/>
                    </a:lnTo>
                    <a:lnTo>
                      <a:pt x="922" y="1093"/>
                    </a:lnTo>
                    <a:lnTo>
                      <a:pt x="945" y="1079"/>
                    </a:lnTo>
                    <a:lnTo>
                      <a:pt x="967" y="1063"/>
                    </a:lnTo>
                    <a:lnTo>
                      <a:pt x="988" y="1047"/>
                    </a:lnTo>
                    <a:lnTo>
                      <a:pt x="1009" y="1030"/>
                    </a:lnTo>
                    <a:lnTo>
                      <a:pt x="1029" y="1011"/>
                    </a:lnTo>
                    <a:lnTo>
                      <a:pt x="1046" y="991"/>
                    </a:lnTo>
                    <a:lnTo>
                      <a:pt x="1063" y="971"/>
                    </a:lnTo>
                    <a:lnTo>
                      <a:pt x="1079" y="949"/>
                    </a:lnTo>
                    <a:lnTo>
                      <a:pt x="1093" y="925"/>
                    </a:lnTo>
                    <a:lnTo>
                      <a:pt x="1107" y="901"/>
                    </a:lnTo>
                    <a:lnTo>
                      <a:pt x="1120" y="876"/>
                    </a:lnTo>
                    <a:lnTo>
                      <a:pt x="1131" y="851"/>
                    </a:lnTo>
                    <a:lnTo>
                      <a:pt x="1142" y="8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34" name="Freeform 6"/>
              <p:cNvSpPr>
                <a:spLocks noEditPoints="1"/>
              </p:cNvSpPr>
              <p:nvPr/>
            </p:nvSpPr>
            <p:spPr bwMode="auto">
              <a:xfrm>
                <a:off x="765951" y="259248"/>
                <a:ext cx="122502" cy="194272"/>
              </a:xfrm>
              <a:custGeom>
                <a:avLst/>
                <a:gdLst>
                  <a:gd name="T0" fmla="*/ 386 w 1185"/>
                  <a:gd name="T1" fmla="*/ 542 h 1875"/>
                  <a:gd name="T2" fmla="*/ 410 w 1185"/>
                  <a:gd name="T3" fmla="*/ 473 h 1875"/>
                  <a:gd name="T4" fmla="*/ 446 w 1185"/>
                  <a:gd name="T5" fmla="*/ 427 h 1875"/>
                  <a:gd name="T6" fmla="*/ 478 w 1185"/>
                  <a:gd name="T7" fmla="*/ 402 h 1875"/>
                  <a:gd name="T8" fmla="*/ 519 w 1185"/>
                  <a:gd name="T9" fmla="*/ 382 h 1875"/>
                  <a:gd name="T10" fmla="*/ 568 w 1185"/>
                  <a:gd name="T11" fmla="*/ 372 h 1875"/>
                  <a:gd name="T12" fmla="*/ 624 w 1185"/>
                  <a:gd name="T13" fmla="*/ 372 h 1875"/>
                  <a:gd name="T14" fmla="*/ 672 w 1185"/>
                  <a:gd name="T15" fmla="*/ 384 h 1875"/>
                  <a:gd name="T16" fmla="*/ 728 w 1185"/>
                  <a:gd name="T17" fmla="*/ 418 h 1875"/>
                  <a:gd name="T18" fmla="*/ 756 w 1185"/>
                  <a:gd name="T19" fmla="*/ 447 h 1875"/>
                  <a:gd name="T20" fmla="*/ 789 w 1185"/>
                  <a:gd name="T21" fmla="*/ 514 h 1875"/>
                  <a:gd name="T22" fmla="*/ 797 w 1185"/>
                  <a:gd name="T23" fmla="*/ 575 h 1875"/>
                  <a:gd name="T24" fmla="*/ 792 w 1185"/>
                  <a:gd name="T25" fmla="*/ 1359 h 1875"/>
                  <a:gd name="T26" fmla="*/ 779 w 1185"/>
                  <a:gd name="T27" fmla="*/ 1396 h 1875"/>
                  <a:gd name="T28" fmla="*/ 759 w 1185"/>
                  <a:gd name="T29" fmla="*/ 1429 h 1875"/>
                  <a:gd name="T30" fmla="*/ 723 w 1185"/>
                  <a:gd name="T31" fmla="*/ 1463 h 1875"/>
                  <a:gd name="T32" fmla="*/ 654 w 1185"/>
                  <a:gd name="T33" fmla="*/ 1496 h 1875"/>
                  <a:gd name="T34" fmla="*/ 582 w 1185"/>
                  <a:gd name="T35" fmla="*/ 1503 h 1875"/>
                  <a:gd name="T36" fmla="*/ 531 w 1185"/>
                  <a:gd name="T37" fmla="*/ 1497 h 1875"/>
                  <a:gd name="T38" fmla="*/ 489 w 1185"/>
                  <a:gd name="T39" fmla="*/ 1482 h 1875"/>
                  <a:gd name="T40" fmla="*/ 453 w 1185"/>
                  <a:gd name="T41" fmla="*/ 1458 h 1875"/>
                  <a:gd name="T42" fmla="*/ 421 w 1185"/>
                  <a:gd name="T43" fmla="*/ 1417 h 1875"/>
                  <a:gd name="T44" fmla="*/ 390 w 1185"/>
                  <a:gd name="T45" fmla="*/ 1334 h 1875"/>
                  <a:gd name="T46" fmla="*/ 834 w 1185"/>
                  <a:gd name="T47" fmla="*/ 1834 h 1875"/>
                  <a:gd name="T48" fmla="*/ 934 w 1185"/>
                  <a:gd name="T49" fmla="*/ 1784 h 1875"/>
                  <a:gd name="T50" fmla="*/ 1019 w 1185"/>
                  <a:gd name="T51" fmla="*/ 1715 h 1875"/>
                  <a:gd name="T52" fmla="*/ 1089 w 1185"/>
                  <a:gd name="T53" fmla="*/ 1629 h 1875"/>
                  <a:gd name="T54" fmla="*/ 1141 w 1185"/>
                  <a:gd name="T55" fmla="*/ 1525 h 1875"/>
                  <a:gd name="T56" fmla="*/ 1174 w 1185"/>
                  <a:gd name="T57" fmla="*/ 1409 h 1875"/>
                  <a:gd name="T58" fmla="*/ 1185 w 1185"/>
                  <a:gd name="T59" fmla="*/ 1278 h 1875"/>
                  <a:gd name="T60" fmla="*/ 1180 w 1185"/>
                  <a:gd name="T61" fmla="*/ 510 h 1875"/>
                  <a:gd name="T62" fmla="*/ 1158 w 1185"/>
                  <a:gd name="T63" fmla="*/ 403 h 1875"/>
                  <a:gd name="T64" fmla="*/ 1118 w 1185"/>
                  <a:gd name="T65" fmla="*/ 300 h 1875"/>
                  <a:gd name="T66" fmla="*/ 1060 w 1185"/>
                  <a:gd name="T67" fmla="*/ 207 h 1875"/>
                  <a:gd name="T68" fmla="*/ 983 w 1185"/>
                  <a:gd name="T69" fmla="*/ 128 h 1875"/>
                  <a:gd name="T70" fmla="*/ 886 w 1185"/>
                  <a:gd name="T71" fmla="*/ 65 h 1875"/>
                  <a:gd name="T72" fmla="*/ 770 w 1185"/>
                  <a:gd name="T73" fmla="*/ 20 h 1875"/>
                  <a:gd name="T74" fmla="*/ 633 w 1185"/>
                  <a:gd name="T75" fmla="*/ 1 h 1875"/>
                  <a:gd name="T76" fmla="*/ 481 w 1185"/>
                  <a:gd name="T77" fmla="*/ 7 h 1875"/>
                  <a:gd name="T78" fmla="*/ 396 w 1185"/>
                  <a:gd name="T79" fmla="*/ 25 h 1875"/>
                  <a:gd name="T80" fmla="*/ 335 w 1185"/>
                  <a:gd name="T81" fmla="*/ 47 h 1875"/>
                  <a:gd name="T82" fmla="*/ 242 w 1185"/>
                  <a:gd name="T83" fmla="*/ 99 h 1875"/>
                  <a:gd name="T84" fmla="*/ 155 w 1185"/>
                  <a:gd name="T85" fmla="*/ 172 h 1875"/>
                  <a:gd name="T86" fmla="*/ 88 w 1185"/>
                  <a:gd name="T87" fmla="*/ 259 h 1875"/>
                  <a:gd name="T88" fmla="*/ 41 w 1185"/>
                  <a:gd name="T89" fmla="*/ 357 h 1875"/>
                  <a:gd name="T90" fmla="*/ 14 w 1185"/>
                  <a:gd name="T91" fmla="*/ 461 h 1875"/>
                  <a:gd name="T92" fmla="*/ 0 w 1185"/>
                  <a:gd name="T93" fmla="*/ 565 h 1875"/>
                  <a:gd name="T94" fmla="*/ 2 w 1185"/>
                  <a:gd name="T95" fmla="*/ 1311 h 1875"/>
                  <a:gd name="T96" fmla="*/ 20 w 1185"/>
                  <a:gd name="T97" fmla="*/ 1430 h 1875"/>
                  <a:gd name="T98" fmla="*/ 54 w 1185"/>
                  <a:gd name="T99" fmla="*/ 1543 h 1875"/>
                  <a:gd name="T100" fmla="*/ 106 w 1185"/>
                  <a:gd name="T101" fmla="*/ 1643 h 1875"/>
                  <a:gd name="T102" fmla="*/ 177 w 1185"/>
                  <a:gd name="T103" fmla="*/ 1729 h 1875"/>
                  <a:gd name="T104" fmla="*/ 270 w 1185"/>
                  <a:gd name="T105" fmla="*/ 1797 h 1875"/>
                  <a:gd name="T106" fmla="*/ 353 w 1185"/>
                  <a:gd name="T107" fmla="*/ 1836 h 1875"/>
                  <a:gd name="T108" fmla="*/ 448 w 1185"/>
                  <a:gd name="T109" fmla="*/ 1862 h 1875"/>
                  <a:gd name="T110" fmla="*/ 596 w 1185"/>
                  <a:gd name="T111" fmla="*/ 1875 h 1875"/>
                  <a:gd name="T112" fmla="*/ 721 w 1185"/>
                  <a:gd name="T113" fmla="*/ 1864 h 1875"/>
                  <a:gd name="T114" fmla="*/ 834 w 1185"/>
                  <a:gd name="T115" fmla="*/ 1834 h 1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85" h="1875">
                    <a:moveTo>
                      <a:pt x="383" y="1259"/>
                    </a:moveTo>
                    <a:lnTo>
                      <a:pt x="383" y="575"/>
                    </a:lnTo>
                    <a:lnTo>
                      <a:pt x="384" y="559"/>
                    </a:lnTo>
                    <a:lnTo>
                      <a:pt x="386" y="542"/>
                    </a:lnTo>
                    <a:lnTo>
                      <a:pt x="390" y="525"/>
                    </a:lnTo>
                    <a:lnTo>
                      <a:pt x="395" y="507"/>
                    </a:lnTo>
                    <a:lnTo>
                      <a:pt x="402" y="490"/>
                    </a:lnTo>
                    <a:lnTo>
                      <a:pt x="410" y="473"/>
                    </a:lnTo>
                    <a:lnTo>
                      <a:pt x="420" y="456"/>
                    </a:lnTo>
                    <a:lnTo>
                      <a:pt x="432" y="441"/>
                    </a:lnTo>
                    <a:lnTo>
                      <a:pt x="439" y="434"/>
                    </a:lnTo>
                    <a:lnTo>
                      <a:pt x="446" y="427"/>
                    </a:lnTo>
                    <a:lnTo>
                      <a:pt x="453" y="420"/>
                    </a:lnTo>
                    <a:lnTo>
                      <a:pt x="461" y="414"/>
                    </a:lnTo>
                    <a:lnTo>
                      <a:pt x="469" y="407"/>
                    </a:lnTo>
                    <a:lnTo>
                      <a:pt x="478" y="402"/>
                    </a:lnTo>
                    <a:lnTo>
                      <a:pt x="488" y="396"/>
                    </a:lnTo>
                    <a:lnTo>
                      <a:pt x="498" y="391"/>
                    </a:lnTo>
                    <a:lnTo>
                      <a:pt x="508" y="386"/>
                    </a:lnTo>
                    <a:lnTo>
                      <a:pt x="519" y="382"/>
                    </a:lnTo>
                    <a:lnTo>
                      <a:pt x="531" y="379"/>
                    </a:lnTo>
                    <a:lnTo>
                      <a:pt x="543" y="376"/>
                    </a:lnTo>
                    <a:lnTo>
                      <a:pt x="555" y="374"/>
                    </a:lnTo>
                    <a:lnTo>
                      <a:pt x="568" y="372"/>
                    </a:lnTo>
                    <a:lnTo>
                      <a:pt x="582" y="371"/>
                    </a:lnTo>
                    <a:lnTo>
                      <a:pt x="596" y="371"/>
                    </a:lnTo>
                    <a:lnTo>
                      <a:pt x="610" y="371"/>
                    </a:lnTo>
                    <a:lnTo>
                      <a:pt x="624" y="372"/>
                    </a:lnTo>
                    <a:lnTo>
                      <a:pt x="637" y="374"/>
                    </a:lnTo>
                    <a:lnTo>
                      <a:pt x="649" y="377"/>
                    </a:lnTo>
                    <a:lnTo>
                      <a:pt x="661" y="380"/>
                    </a:lnTo>
                    <a:lnTo>
                      <a:pt x="672" y="384"/>
                    </a:lnTo>
                    <a:lnTo>
                      <a:pt x="682" y="388"/>
                    </a:lnTo>
                    <a:lnTo>
                      <a:pt x="692" y="393"/>
                    </a:lnTo>
                    <a:lnTo>
                      <a:pt x="711" y="405"/>
                    </a:lnTo>
                    <a:lnTo>
                      <a:pt x="728" y="418"/>
                    </a:lnTo>
                    <a:lnTo>
                      <a:pt x="736" y="425"/>
                    </a:lnTo>
                    <a:lnTo>
                      <a:pt x="743" y="432"/>
                    </a:lnTo>
                    <a:lnTo>
                      <a:pt x="750" y="440"/>
                    </a:lnTo>
                    <a:lnTo>
                      <a:pt x="756" y="447"/>
                    </a:lnTo>
                    <a:lnTo>
                      <a:pt x="766" y="464"/>
                    </a:lnTo>
                    <a:lnTo>
                      <a:pt x="776" y="480"/>
                    </a:lnTo>
                    <a:lnTo>
                      <a:pt x="783" y="497"/>
                    </a:lnTo>
                    <a:lnTo>
                      <a:pt x="789" y="514"/>
                    </a:lnTo>
                    <a:lnTo>
                      <a:pt x="793" y="531"/>
                    </a:lnTo>
                    <a:lnTo>
                      <a:pt x="795" y="546"/>
                    </a:lnTo>
                    <a:lnTo>
                      <a:pt x="797" y="561"/>
                    </a:lnTo>
                    <a:lnTo>
                      <a:pt x="797" y="575"/>
                    </a:lnTo>
                    <a:lnTo>
                      <a:pt x="797" y="1305"/>
                    </a:lnTo>
                    <a:lnTo>
                      <a:pt x="797" y="1327"/>
                    </a:lnTo>
                    <a:lnTo>
                      <a:pt x="794" y="1349"/>
                    </a:lnTo>
                    <a:lnTo>
                      <a:pt x="792" y="1359"/>
                    </a:lnTo>
                    <a:lnTo>
                      <a:pt x="789" y="1369"/>
                    </a:lnTo>
                    <a:lnTo>
                      <a:pt x="786" y="1378"/>
                    </a:lnTo>
                    <a:lnTo>
                      <a:pt x="783" y="1388"/>
                    </a:lnTo>
                    <a:lnTo>
                      <a:pt x="779" y="1396"/>
                    </a:lnTo>
                    <a:lnTo>
                      <a:pt x="775" y="1405"/>
                    </a:lnTo>
                    <a:lnTo>
                      <a:pt x="770" y="1413"/>
                    </a:lnTo>
                    <a:lnTo>
                      <a:pt x="764" y="1421"/>
                    </a:lnTo>
                    <a:lnTo>
                      <a:pt x="759" y="1429"/>
                    </a:lnTo>
                    <a:lnTo>
                      <a:pt x="752" y="1436"/>
                    </a:lnTo>
                    <a:lnTo>
                      <a:pt x="745" y="1443"/>
                    </a:lnTo>
                    <a:lnTo>
                      <a:pt x="738" y="1450"/>
                    </a:lnTo>
                    <a:lnTo>
                      <a:pt x="723" y="1463"/>
                    </a:lnTo>
                    <a:lnTo>
                      <a:pt x="706" y="1473"/>
                    </a:lnTo>
                    <a:lnTo>
                      <a:pt x="689" y="1483"/>
                    </a:lnTo>
                    <a:lnTo>
                      <a:pt x="672" y="1490"/>
                    </a:lnTo>
                    <a:lnTo>
                      <a:pt x="654" y="1496"/>
                    </a:lnTo>
                    <a:lnTo>
                      <a:pt x="635" y="1500"/>
                    </a:lnTo>
                    <a:lnTo>
                      <a:pt x="616" y="1502"/>
                    </a:lnTo>
                    <a:lnTo>
                      <a:pt x="596" y="1503"/>
                    </a:lnTo>
                    <a:lnTo>
                      <a:pt x="582" y="1503"/>
                    </a:lnTo>
                    <a:lnTo>
                      <a:pt x="569" y="1502"/>
                    </a:lnTo>
                    <a:lnTo>
                      <a:pt x="556" y="1501"/>
                    </a:lnTo>
                    <a:lnTo>
                      <a:pt x="543" y="1499"/>
                    </a:lnTo>
                    <a:lnTo>
                      <a:pt x="531" y="1497"/>
                    </a:lnTo>
                    <a:lnTo>
                      <a:pt x="520" y="1494"/>
                    </a:lnTo>
                    <a:lnTo>
                      <a:pt x="509" y="1490"/>
                    </a:lnTo>
                    <a:lnTo>
                      <a:pt x="498" y="1486"/>
                    </a:lnTo>
                    <a:lnTo>
                      <a:pt x="489" y="1482"/>
                    </a:lnTo>
                    <a:lnTo>
                      <a:pt x="478" y="1477"/>
                    </a:lnTo>
                    <a:lnTo>
                      <a:pt x="469" y="1471"/>
                    </a:lnTo>
                    <a:lnTo>
                      <a:pt x="461" y="1465"/>
                    </a:lnTo>
                    <a:lnTo>
                      <a:pt x="453" y="1458"/>
                    </a:lnTo>
                    <a:lnTo>
                      <a:pt x="446" y="1451"/>
                    </a:lnTo>
                    <a:lnTo>
                      <a:pt x="439" y="1443"/>
                    </a:lnTo>
                    <a:lnTo>
                      <a:pt x="432" y="1435"/>
                    </a:lnTo>
                    <a:lnTo>
                      <a:pt x="421" y="1417"/>
                    </a:lnTo>
                    <a:lnTo>
                      <a:pt x="411" y="1398"/>
                    </a:lnTo>
                    <a:lnTo>
                      <a:pt x="402" y="1378"/>
                    </a:lnTo>
                    <a:lnTo>
                      <a:pt x="395" y="1357"/>
                    </a:lnTo>
                    <a:lnTo>
                      <a:pt x="390" y="1334"/>
                    </a:lnTo>
                    <a:lnTo>
                      <a:pt x="386" y="1311"/>
                    </a:lnTo>
                    <a:lnTo>
                      <a:pt x="384" y="1285"/>
                    </a:lnTo>
                    <a:lnTo>
                      <a:pt x="383" y="1259"/>
                    </a:lnTo>
                    <a:close/>
                    <a:moveTo>
                      <a:pt x="834" y="1834"/>
                    </a:moveTo>
                    <a:lnTo>
                      <a:pt x="860" y="1823"/>
                    </a:lnTo>
                    <a:lnTo>
                      <a:pt x="886" y="1811"/>
                    </a:lnTo>
                    <a:lnTo>
                      <a:pt x="910" y="1798"/>
                    </a:lnTo>
                    <a:lnTo>
                      <a:pt x="934" y="1784"/>
                    </a:lnTo>
                    <a:lnTo>
                      <a:pt x="957" y="1768"/>
                    </a:lnTo>
                    <a:lnTo>
                      <a:pt x="979" y="1752"/>
                    </a:lnTo>
                    <a:lnTo>
                      <a:pt x="1000" y="1734"/>
                    </a:lnTo>
                    <a:lnTo>
                      <a:pt x="1019" y="1715"/>
                    </a:lnTo>
                    <a:lnTo>
                      <a:pt x="1039" y="1695"/>
                    </a:lnTo>
                    <a:lnTo>
                      <a:pt x="1057" y="1674"/>
                    </a:lnTo>
                    <a:lnTo>
                      <a:pt x="1073" y="1652"/>
                    </a:lnTo>
                    <a:lnTo>
                      <a:pt x="1089" y="1629"/>
                    </a:lnTo>
                    <a:lnTo>
                      <a:pt x="1104" y="1604"/>
                    </a:lnTo>
                    <a:lnTo>
                      <a:pt x="1117" y="1579"/>
                    </a:lnTo>
                    <a:lnTo>
                      <a:pt x="1130" y="1553"/>
                    </a:lnTo>
                    <a:lnTo>
                      <a:pt x="1141" y="1525"/>
                    </a:lnTo>
                    <a:lnTo>
                      <a:pt x="1151" y="1498"/>
                    </a:lnTo>
                    <a:lnTo>
                      <a:pt x="1160" y="1469"/>
                    </a:lnTo>
                    <a:lnTo>
                      <a:pt x="1168" y="1439"/>
                    </a:lnTo>
                    <a:lnTo>
                      <a:pt x="1174" y="1409"/>
                    </a:lnTo>
                    <a:lnTo>
                      <a:pt x="1179" y="1378"/>
                    </a:lnTo>
                    <a:lnTo>
                      <a:pt x="1182" y="1346"/>
                    </a:lnTo>
                    <a:lnTo>
                      <a:pt x="1184" y="1313"/>
                    </a:lnTo>
                    <a:lnTo>
                      <a:pt x="1185" y="1278"/>
                    </a:lnTo>
                    <a:lnTo>
                      <a:pt x="1185" y="591"/>
                    </a:lnTo>
                    <a:lnTo>
                      <a:pt x="1185" y="564"/>
                    </a:lnTo>
                    <a:lnTo>
                      <a:pt x="1183" y="536"/>
                    </a:lnTo>
                    <a:lnTo>
                      <a:pt x="1180" y="510"/>
                    </a:lnTo>
                    <a:lnTo>
                      <a:pt x="1176" y="483"/>
                    </a:lnTo>
                    <a:lnTo>
                      <a:pt x="1171" y="456"/>
                    </a:lnTo>
                    <a:lnTo>
                      <a:pt x="1165" y="429"/>
                    </a:lnTo>
                    <a:lnTo>
                      <a:pt x="1158" y="403"/>
                    </a:lnTo>
                    <a:lnTo>
                      <a:pt x="1149" y="376"/>
                    </a:lnTo>
                    <a:lnTo>
                      <a:pt x="1140" y="350"/>
                    </a:lnTo>
                    <a:lnTo>
                      <a:pt x="1129" y="325"/>
                    </a:lnTo>
                    <a:lnTo>
                      <a:pt x="1118" y="300"/>
                    </a:lnTo>
                    <a:lnTo>
                      <a:pt x="1105" y="275"/>
                    </a:lnTo>
                    <a:lnTo>
                      <a:pt x="1091" y="252"/>
                    </a:lnTo>
                    <a:lnTo>
                      <a:pt x="1076" y="229"/>
                    </a:lnTo>
                    <a:lnTo>
                      <a:pt x="1060" y="207"/>
                    </a:lnTo>
                    <a:lnTo>
                      <a:pt x="1042" y="186"/>
                    </a:lnTo>
                    <a:lnTo>
                      <a:pt x="1024" y="166"/>
                    </a:lnTo>
                    <a:lnTo>
                      <a:pt x="1004" y="147"/>
                    </a:lnTo>
                    <a:lnTo>
                      <a:pt x="983" y="128"/>
                    </a:lnTo>
                    <a:lnTo>
                      <a:pt x="961" y="111"/>
                    </a:lnTo>
                    <a:lnTo>
                      <a:pt x="937" y="95"/>
                    </a:lnTo>
                    <a:lnTo>
                      <a:pt x="912" y="79"/>
                    </a:lnTo>
                    <a:lnTo>
                      <a:pt x="886" y="65"/>
                    </a:lnTo>
                    <a:lnTo>
                      <a:pt x="859" y="52"/>
                    </a:lnTo>
                    <a:lnTo>
                      <a:pt x="830" y="39"/>
                    </a:lnTo>
                    <a:lnTo>
                      <a:pt x="801" y="29"/>
                    </a:lnTo>
                    <a:lnTo>
                      <a:pt x="770" y="20"/>
                    </a:lnTo>
                    <a:lnTo>
                      <a:pt x="738" y="13"/>
                    </a:lnTo>
                    <a:lnTo>
                      <a:pt x="703" y="7"/>
                    </a:lnTo>
                    <a:lnTo>
                      <a:pt x="669" y="3"/>
                    </a:lnTo>
                    <a:lnTo>
                      <a:pt x="633" y="1"/>
                    </a:lnTo>
                    <a:lnTo>
                      <a:pt x="596" y="0"/>
                    </a:lnTo>
                    <a:lnTo>
                      <a:pt x="556" y="1"/>
                    </a:lnTo>
                    <a:lnTo>
                      <a:pt x="518" y="3"/>
                    </a:lnTo>
                    <a:lnTo>
                      <a:pt x="481" y="7"/>
                    </a:lnTo>
                    <a:lnTo>
                      <a:pt x="446" y="13"/>
                    </a:lnTo>
                    <a:lnTo>
                      <a:pt x="429" y="17"/>
                    </a:lnTo>
                    <a:lnTo>
                      <a:pt x="412" y="21"/>
                    </a:lnTo>
                    <a:lnTo>
                      <a:pt x="396" y="25"/>
                    </a:lnTo>
                    <a:lnTo>
                      <a:pt x="380" y="30"/>
                    </a:lnTo>
                    <a:lnTo>
                      <a:pt x="365" y="35"/>
                    </a:lnTo>
                    <a:lnTo>
                      <a:pt x="350" y="41"/>
                    </a:lnTo>
                    <a:lnTo>
                      <a:pt x="335" y="47"/>
                    </a:lnTo>
                    <a:lnTo>
                      <a:pt x="321" y="54"/>
                    </a:lnTo>
                    <a:lnTo>
                      <a:pt x="294" y="68"/>
                    </a:lnTo>
                    <a:lnTo>
                      <a:pt x="268" y="83"/>
                    </a:lnTo>
                    <a:lnTo>
                      <a:pt x="242" y="99"/>
                    </a:lnTo>
                    <a:lnTo>
                      <a:pt x="218" y="116"/>
                    </a:lnTo>
                    <a:lnTo>
                      <a:pt x="196" y="134"/>
                    </a:lnTo>
                    <a:lnTo>
                      <a:pt x="175" y="152"/>
                    </a:lnTo>
                    <a:lnTo>
                      <a:pt x="155" y="172"/>
                    </a:lnTo>
                    <a:lnTo>
                      <a:pt x="137" y="193"/>
                    </a:lnTo>
                    <a:lnTo>
                      <a:pt x="120" y="214"/>
                    </a:lnTo>
                    <a:lnTo>
                      <a:pt x="103" y="236"/>
                    </a:lnTo>
                    <a:lnTo>
                      <a:pt x="88" y="259"/>
                    </a:lnTo>
                    <a:lnTo>
                      <a:pt x="75" y="282"/>
                    </a:lnTo>
                    <a:lnTo>
                      <a:pt x="62" y="307"/>
                    </a:lnTo>
                    <a:lnTo>
                      <a:pt x="51" y="332"/>
                    </a:lnTo>
                    <a:lnTo>
                      <a:pt x="41" y="357"/>
                    </a:lnTo>
                    <a:lnTo>
                      <a:pt x="33" y="383"/>
                    </a:lnTo>
                    <a:lnTo>
                      <a:pt x="26" y="409"/>
                    </a:lnTo>
                    <a:lnTo>
                      <a:pt x="19" y="435"/>
                    </a:lnTo>
                    <a:lnTo>
                      <a:pt x="14" y="461"/>
                    </a:lnTo>
                    <a:lnTo>
                      <a:pt x="8" y="487"/>
                    </a:lnTo>
                    <a:lnTo>
                      <a:pt x="4" y="513"/>
                    </a:lnTo>
                    <a:lnTo>
                      <a:pt x="2" y="539"/>
                    </a:lnTo>
                    <a:lnTo>
                      <a:pt x="0" y="565"/>
                    </a:lnTo>
                    <a:lnTo>
                      <a:pt x="0" y="591"/>
                    </a:lnTo>
                    <a:lnTo>
                      <a:pt x="0" y="1248"/>
                    </a:lnTo>
                    <a:lnTo>
                      <a:pt x="0" y="1279"/>
                    </a:lnTo>
                    <a:lnTo>
                      <a:pt x="2" y="1311"/>
                    </a:lnTo>
                    <a:lnTo>
                      <a:pt x="4" y="1341"/>
                    </a:lnTo>
                    <a:lnTo>
                      <a:pt x="8" y="1371"/>
                    </a:lnTo>
                    <a:lnTo>
                      <a:pt x="14" y="1401"/>
                    </a:lnTo>
                    <a:lnTo>
                      <a:pt x="20" y="1430"/>
                    </a:lnTo>
                    <a:lnTo>
                      <a:pt x="27" y="1459"/>
                    </a:lnTo>
                    <a:lnTo>
                      <a:pt x="34" y="1487"/>
                    </a:lnTo>
                    <a:lnTo>
                      <a:pt x="43" y="1515"/>
                    </a:lnTo>
                    <a:lnTo>
                      <a:pt x="54" y="1543"/>
                    </a:lnTo>
                    <a:lnTo>
                      <a:pt x="65" y="1569"/>
                    </a:lnTo>
                    <a:lnTo>
                      <a:pt x="77" y="1594"/>
                    </a:lnTo>
                    <a:lnTo>
                      <a:pt x="91" y="1619"/>
                    </a:lnTo>
                    <a:lnTo>
                      <a:pt x="106" y="1643"/>
                    </a:lnTo>
                    <a:lnTo>
                      <a:pt x="122" y="1666"/>
                    </a:lnTo>
                    <a:lnTo>
                      <a:pt x="139" y="1688"/>
                    </a:lnTo>
                    <a:lnTo>
                      <a:pt x="157" y="1709"/>
                    </a:lnTo>
                    <a:lnTo>
                      <a:pt x="177" y="1729"/>
                    </a:lnTo>
                    <a:lnTo>
                      <a:pt x="198" y="1747"/>
                    </a:lnTo>
                    <a:lnTo>
                      <a:pt x="221" y="1765"/>
                    </a:lnTo>
                    <a:lnTo>
                      <a:pt x="244" y="1782"/>
                    </a:lnTo>
                    <a:lnTo>
                      <a:pt x="270" y="1797"/>
                    </a:lnTo>
                    <a:lnTo>
                      <a:pt x="296" y="1811"/>
                    </a:lnTo>
                    <a:lnTo>
                      <a:pt x="324" y="1824"/>
                    </a:lnTo>
                    <a:lnTo>
                      <a:pt x="338" y="1830"/>
                    </a:lnTo>
                    <a:lnTo>
                      <a:pt x="353" y="1836"/>
                    </a:lnTo>
                    <a:lnTo>
                      <a:pt x="368" y="1841"/>
                    </a:lnTo>
                    <a:lnTo>
                      <a:pt x="383" y="1846"/>
                    </a:lnTo>
                    <a:lnTo>
                      <a:pt x="415" y="1855"/>
                    </a:lnTo>
                    <a:lnTo>
                      <a:pt x="448" y="1862"/>
                    </a:lnTo>
                    <a:lnTo>
                      <a:pt x="484" y="1868"/>
                    </a:lnTo>
                    <a:lnTo>
                      <a:pt x="520" y="1871"/>
                    </a:lnTo>
                    <a:lnTo>
                      <a:pt x="557" y="1874"/>
                    </a:lnTo>
                    <a:lnTo>
                      <a:pt x="596" y="1875"/>
                    </a:lnTo>
                    <a:lnTo>
                      <a:pt x="628" y="1874"/>
                    </a:lnTo>
                    <a:lnTo>
                      <a:pt x="659" y="1872"/>
                    </a:lnTo>
                    <a:lnTo>
                      <a:pt x="690" y="1869"/>
                    </a:lnTo>
                    <a:lnTo>
                      <a:pt x="721" y="1864"/>
                    </a:lnTo>
                    <a:lnTo>
                      <a:pt x="750" y="1859"/>
                    </a:lnTo>
                    <a:lnTo>
                      <a:pt x="779" y="1852"/>
                    </a:lnTo>
                    <a:lnTo>
                      <a:pt x="806" y="1843"/>
                    </a:lnTo>
                    <a:lnTo>
                      <a:pt x="834" y="18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35" name="Freeform 7"/>
              <p:cNvSpPr>
                <a:spLocks/>
              </p:cNvSpPr>
              <p:nvPr/>
            </p:nvSpPr>
            <p:spPr bwMode="auto">
              <a:xfrm>
                <a:off x="926813" y="259248"/>
                <a:ext cx="121265" cy="194272"/>
              </a:xfrm>
              <a:custGeom>
                <a:avLst/>
                <a:gdLst>
                  <a:gd name="T0" fmla="*/ 197 w 1175"/>
                  <a:gd name="T1" fmla="*/ 1747 h 1875"/>
                  <a:gd name="T2" fmla="*/ 294 w 1175"/>
                  <a:gd name="T3" fmla="*/ 1811 h 1875"/>
                  <a:gd name="T4" fmla="*/ 366 w 1175"/>
                  <a:gd name="T5" fmla="*/ 1841 h 1875"/>
                  <a:gd name="T6" fmla="*/ 481 w 1175"/>
                  <a:gd name="T7" fmla="*/ 1868 h 1875"/>
                  <a:gd name="T8" fmla="*/ 622 w 1175"/>
                  <a:gd name="T9" fmla="*/ 1874 h 1875"/>
                  <a:gd name="T10" fmla="*/ 728 w 1175"/>
                  <a:gd name="T11" fmla="*/ 1863 h 1875"/>
                  <a:gd name="T12" fmla="*/ 826 w 1175"/>
                  <a:gd name="T13" fmla="*/ 1836 h 1875"/>
                  <a:gd name="T14" fmla="*/ 915 w 1175"/>
                  <a:gd name="T15" fmla="*/ 1794 h 1875"/>
                  <a:gd name="T16" fmla="*/ 995 w 1175"/>
                  <a:gd name="T17" fmla="*/ 1737 h 1875"/>
                  <a:gd name="T18" fmla="*/ 1063 w 1175"/>
                  <a:gd name="T19" fmla="*/ 1668 h 1875"/>
                  <a:gd name="T20" fmla="*/ 1116 w 1175"/>
                  <a:gd name="T21" fmla="*/ 1586 h 1875"/>
                  <a:gd name="T22" fmla="*/ 1154 w 1175"/>
                  <a:gd name="T23" fmla="*/ 1493 h 1875"/>
                  <a:gd name="T24" fmla="*/ 806 w 1175"/>
                  <a:gd name="T25" fmla="*/ 1310 h 1875"/>
                  <a:gd name="T26" fmla="*/ 782 w 1175"/>
                  <a:gd name="T27" fmla="*/ 1391 h 1875"/>
                  <a:gd name="T28" fmla="*/ 734 w 1175"/>
                  <a:gd name="T29" fmla="*/ 1452 h 1875"/>
                  <a:gd name="T30" fmla="*/ 669 w 1175"/>
                  <a:gd name="T31" fmla="*/ 1490 h 1875"/>
                  <a:gd name="T32" fmla="*/ 595 w 1175"/>
                  <a:gd name="T33" fmla="*/ 1503 h 1875"/>
                  <a:gd name="T34" fmla="*/ 540 w 1175"/>
                  <a:gd name="T35" fmla="*/ 1499 h 1875"/>
                  <a:gd name="T36" fmla="*/ 496 w 1175"/>
                  <a:gd name="T37" fmla="*/ 1486 h 1875"/>
                  <a:gd name="T38" fmla="*/ 460 w 1175"/>
                  <a:gd name="T39" fmla="*/ 1465 h 1875"/>
                  <a:gd name="T40" fmla="*/ 433 w 1175"/>
                  <a:gd name="T41" fmla="*/ 1435 h 1875"/>
                  <a:gd name="T42" fmla="*/ 398 w 1175"/>
                  <a:gd name="T43" fmla="*/ 1357 h 1875"/>
                  <a:gd name="T44" fmla="*/ 387 w 1175"/>
                  <a:gd name="T45" fmla="*/ 1259 h 1875"/>
                  <a:gd name="T46" fmla="*/ 393 w 1175"/>
                  <a:gd name="T47" fmla="*/ 525 h 1875"/>
                  <a:gd name="T48" fmla="*/ 421 w 1175"/>
                  <a:gd name="T49" fmla="*/ 457 h 1875"/>
                  <a:gd name="T50" fmla="*/ 452 w 1175"/>
                  <a:gd name="T51" fmla="*/ 420 h 1875"/>
                  <a:gd name="T52" fmla="*/ 485 w 1175"/>
                  <a:gd name="T53" fmla="*/ 396 h 1875"/>
                  <a:gd name="T54" fmla="*/ 527 w 1175"/>
                  <a:gd name="T55" fmla="*/ 379 h 1875"/>
                  <a:gd name="T56" fmla="*/ 579 w 1175"/>
                  <a:gd name="T57" fmla="*/ 371 h 1875"/>
                  <a:gd name="T58" fmla="*/ 634 w 1175"/>
                  <a:gd name="T59" fmla="*/ 374 h 1875"/>
                  <a:gd name="T60" fmla="*/ 679 w 1175"/>
                  <a:gd name="T61" fmla="*/ 387 h 1875"/>
                  <a:gd name="T62" fmla="*/ 741 w 1175"/>
                  <a:gd name="T63" fmla="*/ 428 h 1875"/>
                  <a:gd name="T64" fmla="*/ 787 w 1175"/>
                  <a:gd name="T65" fmla="*/ 490 h 1875"/>
                  <a:gd name="T66" fmla="*/ 808 w 1175"/>
                  <a:gd name="T67" fmla="*/ 556 h 1875"/>
                  <a:gd name="T68" fmla="*/ 1165 w 1175"/>
                  <a:gd name="T69" fmla="*/ 417 h 1875"/>
                  <a:gd name="T70" fmla="*/ 1133 w 1175"/>
                  <a:gd name="T71" fmla="*/ 330 h 1875"/>
                  <a:gd name="T72" fmla="*/ 1087 w 1175"/>
                  <a:gd name="T73" fmla="*/ 246 h 1875"/>
                  <a:gd name="T74" fmla="*/ 1028 w 1175"/>
                  <a:gd name="T75" fmla="*/ 173 h 1875"/>
                  <a:gd name="T76" fmla="*/ 957 w 1175"/>
                  <a:gd name="T77" fmla="*/ 110 h 1875"/>
                  <a:gd name="T78" fmla="*/ 871 w 1175"/>
                  <a:gd name="T79" fmla="*/ 59 h 1875"/>
                  <a:gd name="T80" fmla="*/ 770 w 1175"/>
                  <a:gd name="T81" fmla="*/ 21 h 1875"/>
                  <a:gd name="T82" fmla="*/ 656 w 1175"/>
                  <a:gd name="T83" fmla="*/ 2 h 1875"/>
                  <a:gd name="T84" fmla="*/ 516 w 1175"/>
                  <a:gd name="T85" fmla="*/ 3 h 1875"/>
                  <a:gd name="T86" fmla="*/ 410 w 1175"/>
                  <a:gd name="T87" fmla="*/ 21 h 1875"/>
                  <a:gd name="T88" fmla="*/ 348 w 1175"/>
                  <a:gd name="T89" fmla="*/ 41 h 1875"/>
                  <a:gd name="T90" fmla="*/ 265 w 1175"/>
                  <a:gd name="T91" fmla="*/ 83 h 1875"/>
                  <a:gd name="T92" fmla="*/ 174 w 1175"/>
                  <a:gd name="T93" fmla="*/ 152 h 1875"/>
                  <a:gd name="T94" fmla="*/ 102 w 1175"/>
                  <a:gd name="T95" fmla="*/ 236 h 1875"/>
                  <a:gd name="T96" fmla="*/ 51 w 1175"/>
                  <a:gd name="T97" fmla="*/ 332 h 1875"/>
                  <a:gd name="T98" fmla="*/ 19 w 1175"/>
                  <a:gd name="T99" fmla="*/ 435 h 1875"/>
                  <a:gd name="T100" fmla="*/ 2 w 1175"/>
                  <a:gd name="T101" fmla="*/ 539 h 1875"/>
                  <a:gd name="T102" fmla="*/ 1 w 1175"/>
                  <a:gd name="T103" fmla="*/ 1279 h 1875"/>
                  <a:gd name="T104" fmla="*/ 14 w 1175"/>
                  <a:gd name="T105" fmla="*/ 1401 h 1875"/>
                  <a:gd name="T106" fmla="*/ 43 w 1175"/>
                  <a:gd name="T107" fmla="*/ 1515 h 1875"/>
                  <a:gd name="T108" fmla="*/ 90 w 1175"/>
                  <a:gd name="T109" fmla="*/ 1619 h 1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75" h="1875">
                    <a:moveTo>
                      <a:pt x="138" y="1688"/>
                    </a:moveTo>
                    <a:lnTo>
                      <a:pt x="157" y="1709"/>
                    </a:lnTo>
                    <a:lnTo>
                      <a:pt x="176" y="1729"/>
                    </a:lnTo>
                    <a:lnTo>
                      <a:pt x="197" y="1747"/>
                    </a:lnTo>
                    <a:lnTo>
                      <a:pt x="219" y="1765"/>
                    </a:lnTo>
                    <a:lnTo>
                      <a:pt x="243" y="1781"/>
                    </a:lnTo>
                    <a:lnTo>
                      <a:pt x="268" y="1797"/>
                    </a:lnTo>
                    <a:lnTo>
                      <a:pt x="294" y="1811"/>
                    </a:lnTo>
                    <a:lnTo>
                      <a:pt x="321" y="1824"/>
                    </a:lnTo>
                    <a:lnTo>
                      <a:pt x="335" y="1830"/>
                    </a:lnTo>
                    <a:lnTo>
                      <a:pt x="351" y="1836"/>
                    </a:lnTo>
                    <a:lnTo>
                      <a:pt x="366" y="1841"/>
                    </a:lnTo>
                    <a:lnTo>
                      <a:pt x="381" y="1846"/>
                    </a:lnTo>
                    <a:lnTo>
                      <a:pt x="413" y="1855"/>
                    </a:lnTo>
                    <a:lnTo>
                      <a:pt x="446" y="1862"/>
                    </a:lnTo>
                    <a:lnTo>
                      <a:pt x="481" y="1868"/>
                    </a:lnTo>
                    <a:lnTo>
                      <a:pt x="517" y="1872"/>
                    </a:lnTo>
                    <a:lnTo>
                      <a:pt x="555" y="1874"/>
                    </a:lnTo>
                    <a:lnTo>
                      <a:pt x="595" y="1875"/>
                    </a:lnTo>
                    <a:lnTo>
                      <a:pt x="622" y="1874"/>
                    </a:lnTo>
                    <a:lnTo>
                      <a:pt x="650" y="1873"/>
                    </a:lnTo>
                    <a:lnTo>
                      <a:pt x="676" y="1871"/>
                    </a:lnTo>
                    <a:lnTo>
                      <a:pt x="702" y="1867"/>
                    </a:lnTo>
                    <a:lnTo>
                      <a:pt x="728" y="1863"/>
                    </a:lnTo>
                    <a:lnTo>
                      <a:pt x="753" y="1858"/>
                    </a:lnTo>
                    <a:lnTo>
                      <a:pt x="778" y="1851"/>
                    </a:lnTo>
                    <a:lnTo>
                      <a:pt x="802" y="1844"/>
                    </a:lnTo>
                    <a:lnTo>
                      <a:pt x="826" y="1836"/>
                    </a:lnTo>
                    <a:lnTo>
                      <a:pt x="849" y="1827"/>
                    </a:lnTo>
                    <a:lnTo>
                      <a:pt x="872" y="1817"/>
                    </a:lnTo>
                    <a:lnTo>
                      <a:pt x="894" y="1806"/>
                    </a:lnTo>
                    <a:lnTo>
                      <a:pt x="915" y="1794"/>
                    </a:lnTo>
                    <a:lnTo>
                      <a:pt x="936" y="1782"/>
                    </a:lnTo>
                    <a:lnTo>
                      <a:pt x="956" y="1768"/>
                    </a:lnTo>
                    <a:lnTo>
                      <a:pt x="976" y="1753"/>
                    </a:lnTo>
                    <a:lnTo>
                      <a:pt x="995" y="1737"/>
                    </a:lnTo>
                    <a:lnTo>
                      <a:pt x="1013" y="1721"/>
                    </a:lnTo>
                    <a:lnTo>
                      <a:pt x="1030" y="1704"/>
                    </a:lnTo>
                    <a:lnTo>
                      <a:pt x="1046" y="1686"/>
                    </a:lnTo>
                    <a:lnTo>
                      <a:pt x="1063" y="1668"/>
                    </a:lnTo>
                    <a:lnTo>
                      <a:pt x="1077" y="1649"/>
                    </a:lnTo>
                    <a:lnTo>
                      <a:pt x="1091" y="1629"/>
                    </a:lnTo>
                    <a:lnTo>
                      <a:pt x="1104" y="1607"/>
                    </a:lnTo>
                    <a:lnTo>
                      <a:pt x="1116" y="1586"/>
                    </a:lnTo>
                    <a:lnTo>
                      <a:pt x="1127" y="1564"/>
                    </a:lnTo>
                    <a:lnTo>
                      <a:pt x="1137" y="1541"/>
                    </a:lnTo>
                    <a:lnTo>
                      <a:pt x="1146" y="1517"/>
                    </a:lnTo>
                    <a:lnTo>
                      <a:pt x="1154" y="1493"/>
                    </a:lnTo>
                    <a:lnTo>
                      <a:pt x="1161" y="1468"/>
                    </a:lnTo>
                    <a:lnTo>
                      <a:pt x="1167" y="1442"/>
                    </a:lnTo>
                    <a:lnTo>
                      <a:pt x="1173" y="1416"/>
                    </a:lnTo>
                    <a:lnTo>
                      <a:pt x="806" y="1310"/>
                    </a:lnTo>
                    <a:lnTo>
                      <a:pt x="802" y="1332"/>
                    </a:lnTo>
                    <a:lnTo>
                      <a:pt x="797" y="1353"/>
                    </a:lnTo>
                    <a:lnTo>
                      <a:pt x="791" y="1372"/>
                    </a:lnTo>
                    <a:lnTo>
                      <a:pt x="782" y="1391"/>
                    </a:lnTo>
                    <a:lnTo>
                      <a:pt x="773" y="1408"/>
                    </a:lnTo>
                    <a:lnTo>
                      <a:pt x="761" y="1423"/>
                    </a:lnTo>
                    <a:lnTo>
                      <a:pt x="749" y="1438"/>
                    </a:lnTo>
                    <a:lnTo>
                      <a:pt x="734" y="1452"/>
                    </a:lnTo>
                    <a:lnTo>
                      <a:pt x="719" y="1464"/>
                    </a:lnTo>
                    <a:lnTo>
                      <a:pt x="703" y="1474"/>
                    </a:lnTo>
                    <a:lnTo>
                      <a:pt x="686" y="1483"/>
                    </a:lnTo>
                    <a:lnTo>
                      <a:pt x="669" y="1490"/>
                    </a:lnTo>
                    <a:lnTo>
                      <a:pt x="651" y="1496"/>
                    </a:lnTo>
                    <a:lnTo>
                      <a:pt x="633" y="1500"/>
                    </a:lnTo>
                    <a:lnTo>
                      <a:pt x="614" y="1502"/>
                    </a:lnTo>
                    <a:lnTo>
                      <a:pt x="595" y="1503"/>
                    </a:lnTo>
                    <a:lnTo>
                      <a:pt x="580" y="1503"/>
                    </a:lnTo>
                    <a:lnTo>
                      <a:pt x="566" y="1502"/>
                    </a:lnTo>
                    <a:lnTo>
                      <a:pt x="553" y="1501"/>
                    </a:lnTo>
                    <a:lnTo>
                      <a:pt x="540" y="1499"/>
                    </a:lnTo>
                    <a:lnTo>
                      <a:pt x="529" y="1497"/>
                    </a:lnTo>
                    <a:lnTo>
                      <a:pt x="517" y="1494"/>
                    </a:lnTo>
                    <a:lnTo>
                      <a:pt x="506" y="1490"/>
                    </a:lnTo>
                    <a:lnTo>
                      <a:pt x="496" y="1486"/>
                    </a:lnTo>
                    <a:lnTo>
                      <a:pt x="486" y="1482"/>
                    </a:lnTo>
                    <a:lnTo>
                      <a:pt x="477" y="1477"/>
                    </a:lnTo>
                    <a:lnTo>
                      <a:pt x="468" y="1471"/>
                    </a:lnTo>
                    <a:lnTo>
                      <a:pt x="460" y="1465"/>
                    </a:lnTo>
                    <a:lnTo>
                      <a:pt x="453" y="1458"/>
                    </a:lnTo>
                    <a:lnTo>
                      <a:pt x="446" y="1451"/>
                    </a:lnTo>
                    <a:lnTo>
                      <a:pt x="439" y="1443"/>
                    </a:lnTo>
                    <a:lnTo>
                      <a:pt x="433" y="1435"/>
                    </a:lnTo>
                    <a:lnTo>
                      <a:pt x="422" y="1417"/>
                    </a:lnTo>
                    <a:lnTo>
                      <a:pt x="413" y="1398"/>
                    </a:lnTo>
                    <a:lnTo>
                      <a:pt x="405" y="1378"/>
                    </a:lnTo>
                    <a:lnTo>
                      <a:pt x="398" y="1357"/>
                    </a:lnTo>
                    <a:lnTo>
                      <a:pt x="393" y="1334"/>
                    </a:lnTo>
                    <a:lnTo>
                      <a:pt x="390" y="1311"/>
                    </a:lnTo>
                    <a:lnTo>
                      <a:pt x="387" y="1285"/>
                    </a:lnTo>
                    <a:lnTo>
                      <a:pt x="387" y="1259"/>
                    </a:lnTo>
                    <a:lnTo>
                      <a:pt x="387" y="575"/>
                    </a:lnTo>
                    <a:lnTo>
                      <a:pt x="387" y="558"/>
                    </a:lnTo>
                    <a:lnTo>
                      <a:pt x="389" y="542"/>
                    </a:lnTo>
                    <a:lnTo>
                      <a:pt x="393" y="525"/>
                    </a:lnTo>
                    <a:lnTo>
                      <a:pt x="398" y="507"/>
                    </a:lnTo>
                    <a:lnTo>
                      <a:pt x="404" y="490"/>
                    </a:lnTo>
                    <a:lnTo>
                      <a:pt x="411" y="473"/>
                    </a:lnTo>
                    <a:lnTo>
                      <a:pt x="421" y="457"/>
                    </a:lnTo>
                    <a:lnTo>
                      <a:pt x="432" y="441"/>
                    </a:lnTo>
                    <a:lnTo>
                      <a:pt x="438" y="434"/>
                    </a:lnTo>
                    <a:lnTo>
                      <a:pt x="445" y="427"/>
                    </a:lnTo>
                    <a:lnTo>
                      <a:pt x="452" y="420"/>
                    </a:lnTo>
                    <a:lnTo>
                      <a:pt x="460" y="413"/>
                    </a:lnTo>
                    <a:lnTo>
                      <a:pt x="468" y="407"/>
                    </a:lnTo>
                    <a:lnTo>
                      <a:pt x="476" y="401"/>
                    </a:lnTo>
                    <a:lnTo>
                      <a:pt x="485" y="396"/>
                    </a:lnTo>
                    <a:lnTo>
                      <a:pt x="495" y="391"/>
                    </a:lnTo>
                    <a:lnTo>
                      <a:pt x="505" y="386"/>
                    </a:lnTo>
                    <a:lnTo>
                      <a:pt x="516" y="382"/>
                    </a:lnTo>
                    <a:lnTo>
                      <a:pt x="527" y="379"/>
                    </a:lnTo>
                    <a:lnTo>
                      <a:pt x="539" y="376"/>
                    </a:lnTo>
                    <a:lnTo>
                      <a:pt x="552" y="374"/>
                    </a:lnTo>
                    <a:lnTo>
                      <a:pt x="565" y="372"/>
                    </a:lnTo>
                    <a:lnTo>
                      <a:pt x="579" y="371"/>
                    </a:lnTo>
                    <a:lnTo>
                      <a:pt x="595" y="371"/>
                    </a:lnTo>
                    <a:lnTo>
                      <a:pt x="608" y="371"/>
                    </a:lnTo>
                    <a:lnTo>
                      <a:pt x="621" y="372"/>
                    </a:lnTo>
                    <a:lnTo>
                      <a:pt x="634" y="374"/>
                    </a:lnTo>
                    <a:lnTo>
                      <a:pt x="646" y="376"/>
                    </a:lnTo>
                    <a:lnTo>
                      <a:pt x="657" y="379"/>
                    </a:lnTo>
                    <a:lnTo>
                      <a:pt x="668" y="383"/>
                    </a:lnTo>
                    <a:lnTo>
                      <a:pt x="679" y="387"/>
                    </a:lnTo>
                    <a:lnTo>
                      <a:pt x="689" y="392"/>
                    </a:lnTo>
                    <a:lnTo>
                      <a:pt x="708" y="403"/>
                    </a:lnTo>
                    <a:lnTo>
                      <a:pt x="725" y="415"/>
                    </a:lnTo>
                    <a:lnTo>
                      <a:pt x="741" y="428"/>
                    </a:lnTo>
                    <a:lnTo>
                      <a:pt x="755" y="442"/>
                    </a:lnTo>
                    <a:lnTo>
                      <a:pt x="767" y="457"/>
                    </a:lnTo>
                    <a:lnTo>
                      <a:pt x="778" y="473"/>
                    </a:lnTo>
                    <a:lnTo>
                      <a:pt x="787" y="490"/>
                    </a:lnTo>
                    <a:lnTo>
                      <a:pt x="794" y="507"/>
                    </a:lnTo>
                    <a:lnTo>
                      <a:pt x="799" y="524"/>
                    </a:lnTo>
                    <a:lnTo>
                      <a:pt x="804" y="541"/>
                    </a:lnTo>
                    <a:lnTo>
                      <a:pt x="808" y="556"/>
                    </a:lnTo>
                    <a:lnTo>
                      <a:pt x="811" y="569"/>
                    </a:lnTo>
                    <a:lnTo>
                      <a:pt x="1175" y="461"/>
                    </a:lnTo>
                    <a:lnTo>
                      <a:pt x="1170" y="439"/>
                    </a:lnTo>
                    <a:lnTo>
                      <a:pt x="1165" y="417"/>
                    </a:lnTo>
                    <a:lnTo>
                      <a:pt x="1158" y="395"/>
                    </a:lnTo>
                    <a:lnTo>
                      <a:pt x="1150" y="373"/>
                    </a:lnTo>
                    <a:lnTo>
                      <a:pt x="1142" y="351"/>
                    </a:lnTo>
                    <a:lnTo>
                      <a:pt x="1133" y="330"/>
                    </a:lnTo>
                    <a:lnTo>
                      <a:pt x="1123" y="309"/>
                    </a:lnTo>
                    <a:lnTo>
                      <a:pt x="1112" y="288"/>
                    </a:lnTo>
                    <a:lnTo>
                      <a:pt x="1100" y="266"/>
                    </a:lnTo>
                    <a:lnTo>
                      <a:pt x="1087" y="246"/>
                    </a:lnTo>
                    <a:lnTo>
                      <a:pt x="1074" y="227"/>
                    </a:lnTo>
                    <a:lnTo>
                      <a:pt x="1060" y="208"/>
                    </a:lnTo>
                    <a:lnTo>
                      <a:pt x="1044" y="190"/>
                    </a:lnTo>
                    <a:lnTo>
                      <a:pt x="1028" y="173"/>
                    </a:lnTo>
                    <a:lnTo>
                      <a:pt x="1011" y="156"/>
                    </a:lnTo>
                    <a:lnTo>
                      <a:pt x="994" y="140"/>
                    </a:lnTo>
                    <a:lnTo>
                      <a:pt x="976" y="125"/>
                    </a:lnTo>
                    <a:lnTo>
                      <a:pt x="957" y="110"/>
                    </a:lnTo>
                    <a:lnTo>
                      <a:pt x="937" y="96"/>
                    </a:lnTo>
                    <a:lnTo>
                      <a:pt x="916" y="82"/>
                    </a:lnTo>
                    <a:lnTo>
                      <a:pt x="894" y="70"/>
                    </a:lnTo>
                    <a:lnTo>
                      <a:pt x="871" y="59"/>
                    </a:lnTo>
                    <a:lnTo>
                      <a:pt x="847" y="48"/>
                    </a:lnTo>
                    <a:lnTo>
                      <a:pt x="822" y="38"/>
                    </a:lnTo>
                    <a:lnTo>
                      <a:pt x="796" y="29"/>
                    </a:lnTo>
                    <a:lnTo>
                      <a:pt x="770" y="21"/>
                    </a:lnTo>
                    <a:lnTo>
                      <a:pt x="742" y="15"/>
                    </a:lnTo>
                    <a:lnTo>
                      <a:pt x="714" y="9"/>
                    </a:lnTo>
                    <a:lnTo>
                      <a:pt x="686" y="5"/>
                    </a:lnTo>
                    <a:lnTo>
                      <a:pt x="656" y="2"/>
                    </a:lnTo>
                    <a:lnTo>
                      <a:pt x="626" y="1"/>
                    </a:lnTo>
                    <a:lnTo>
                      <a:pt x="595" y="0"/>
                    </a:lnTo>
                    <a:lnTo>
                      <a:pt x="554" y="1"/>
                    </a:lnTo>
                    <a:lnTo>
                      <a:pt x="516" y="3"/>
                    </a:lnTo>
                    <a:lnTo>
                      <a:pt x="479" y="7"/>
                    </a:lnTo>
                    <a:lnTo>
                      <a:pt x="444" y="13"/>
                    </a:lnTo>
                    <a:lnTo>
                      <a:pt x="427" y="17"/>
                    </a:lnTo>
                    <a:lnTo>
                      <a:pt x="410" y="21"/>
                    </a:lnTo>
                    <a:lnTo>
                      <a:pt x="394" y="25"/>
                    </a:lnTo>
                    <a:lnTo>
                      <a:pt x="378" y="30"/>
                    </a:lnTo>
                    <a:lnTo>
                      <a:pt x="363" y="35"/>
                    </a:lnTo>
                    <a:lnTo>
                      <a:pt x="348" y="41"/>
                    </a:lnTo>
                    <a:lnTo>
                      <a:pt x="332" y="47"/>
                    </a:lnTo>
                    <a:lnTo>
                      <a:pt x="318" y="54"/>
                    </a:lnTo>
                    <a:lnTo>
                      <a:pt x="291" y="68"/>
                    </a:lnTo>
                    <a:lnTo>
                      <a:pt x="265" y="83"/>
                    </a:lnTo>
                    <a:lnTo>
                      <a:pt x="240" y="99"/>
                    </a:lnTo>
                    <a:lnTo>
                      <a:pt x="217" y="116"/>
                    </a:lnTo>
                    <a:lnTo>
                      <a:pt x="194" y="134"/>
                    </a:lnTo>
                    <a:lnTo>
                      <a:pt x="174" y="152"/>
                    </a:lnTo>
                    <a:lnTo>
                      <a:pt x="154" y="172"/>
                    </a:lnTo>
                    <a:lnTo>
                      <a:pt x="136" y="193"/>
                    </a:lnTo>
                    <a:lnTo>
                      <a:pt x="119" y="214"/>
                    </a:lnTo>
                    <a:lnTo>
                      <a:pt x="102" y="236"/>
                    </a:lnTo>
                    <a:lnTo>
                      <a:pt x="88" y="259"/>
                    </a:lnTo>
                    <a:lnTo>
                      <a:pt x="74" y="282"/>
                    </a:lnTo>
                    <a:lnTo>
                      <a:pt x="62" y="307"/>
                    </a:lnTo>
                    <a:lnTo>
                      <a:pt x="51" y="332"/>
                    </a:lnTo>
                    <a:lnTo>
                      <a:pt x="41" y="357"/>
                    </a:lnTo>
                    <a:lnTo>
                      <a:pt x="33" y="383"/>
                    </a:lnTo>
                    <a:lnTo>
                      <a:pt x="25" y="409"/>
                    </a:lnTo>
                    <a:lnTo>
                      <a:pt x="19" y="435"/>
                    </a:lnTo>
                    <a:lnTo>
                      <a:pt x="13" y="461"/>
                    </a:lnTo>
                    <a:lnTo>
                      <a:pt x="9" y="487"/>
                    </a:lnTo>
                    <a:lnTo>
                      <a:pt x="5" y="513"/>
                    </a:lnTo>
                    <a:lnTo>
                      <a:pt x="2" y="539"/>
                    </a:lnTo>
                    <a:lnTo>
                      <a:pt x="1" y="565"/>
                    </a:lnTo>
                    <a:lnTo>
                      <a:pt x="0" y="591"/>
                    </a:lnTo>
                    <a:lnTo>
                      <a:pt x="0" y="1248"/>
                    </a:lnTo>
                    <a:lnTo>
                      <a:pt x="1" y="1279"/>
                    </a:lnTo>
                    <a:lnTo>
                      <a:pt x="3" y="1311"/>
                    </a:lnTo>
                    <a:lnTo>
                      <a:pt x="5" y="1341"/>
                    </a:lnTo>
                    <a:lnTo>
                      <a:pt x="9" y="1371"/>
                    </a:lnTo>
                    <a:lnTo>
                      <a:pt x="14" y="1401"/>
                    </a:lnTo>
                    <a:lnTo>
                      <a:pt x="20" y="1430"/>
                    </a:lnTo>
                    <a:lnTo>
                      <a:pt x="27" y="1459"/>
                    </a:lnTo>
                    <a:lnTo>
                      <a:pt x="34" y="1487"/>
                    </a:lnTo>
                    <a:lnTo>
                      <a:pt x="43" y="1515"/>
                    </a:lnTo>
                    <a:lnTo>
                      <a:pt x="53" y="1543"/>
                    </a:lnTo>
                    <a:lnTo>
                      <a:pt x="64" y="1569"/>
                    </a:lnTo>
                    <a:lnTo>
                      <a:pt x="77" y="1594"/>
                    </a:lnTo>
                    <a:lnTo>
                      <a:pt x="90" y="1619"/>
                    </a:lnTo>
                    <a:lnTo>
                      <a:pt x="105" y="1643"/>
                    </a:lnTo>
                    <a:lnTo>
                      <a:pt x="121" y="1666"/>
                    </a:lnTo>
                    <a:lnTo>
                      <a:pt x="138" y="16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36" name="Freeform 8"/>
              <p:cNvSpPr>
                <a:spLocks/>
              </p:cNvSpPr>
              <p:nvPr/>
            </p:nvSpPr>
            <p:spPr bwMode="auto">
              <a:xfrm>
                <a:off x="1081488" y="259248"/>
                <a:ext cx="121265" cy="194272"/>
              </a:xfrm>
              <a:custGeom>
                <a:avLst/>
                <a:gdLst>
                  <a:gd name="T0" fmla="*/ 419 w 1174"/>
                  <a:gd name="T1" fmla="*/ 457 h 1875"/>
                  <a:gd name="T2" fmla="*/ 450 w 1174"/>
                  <a:gd name="T3" fmla="*/ 420 h 1875"/>
                  <a:gd name="T4" fmla="*/ 484 w 1174"/>
                  <a:gd name="T5" fmla="*/ 396 h 1875"/>
                  <a:gd name="T6" fmla="*/ 527 w 1174"/>
                  <a:gd name="T7" fmla="*/ 379 h 1875"/>
                  <a:gd name="T8" fmla="*/ 579 w 1174"/>
                  <a:gd name="T9" fmla="*/ 371 h 1875"/>
                  <a:gd name="T10" fmla="*/ 632 w 1174"/>
                  <a:gd name="T11" fmla="*/ 374 h 1875"/>
                  <a:gd name="T12" fmla="*/ 677 w 1174"/>
                  <a:gd name="T13" fmla="*/ 387 h 1875"/>
                  <a:gd name="T14" fmla="*/ 741 w 1174"/>
                  <a:gd name="T15" fmla="*/ 428 h 1875"/>
                  <a:gd name="T16" fmla="*/ 782 w 1174"/>
                  <a:gd name="T17" fmla="*/ 481 h 1875"/>
                  <a:gd name="T18" fmla="*/ 798 w 1174"/>
                  <a:gd name="T19" fmla="*/ 524 h 1875"/>
                  <a:gd name="T20" fmla="*/ 1174 w 1174"/>
                  <a:gd name="T21" fmla="*/ 461 h 1875"/>
                  <a:gd name="T22" fmla="*/ 1149 w 1174"/>
                  <a:gd name="T23" fmla="*/ 373 h 1875"/>
                  <a:gd name="T24" fmla="*/ 1110 w 1174"/>
                  <a:gd name="T25" fmla="*/ 288 h 1875"/>
                  <a:gd name="T26" fmla="*/ 1059 w 1174"/>
                  <a:gd name="T27" fmla="*/ 208 h 1875"/>
                  <a:gd name="T28" fmla="*/ 994 w 1174"/>
                  <a:gd name="T29" fmla="*/ 140 h 1875"/>
                  <a:gd name="T30" fmla="*/ 914 w 1174"/>
                  <a:gd name="T31" fmla="*/ 83 h 1875"/>
                  <a:gd name="T32" fmla="*/ 821 w 1174"/>
                  <a:gd name="T33" fmla="*/ 38 h 1875"/>
                  <a:gd name="T34" fmla="*/ 713 w 1174"/>
                  <a:gd name="T35" fmla="*/ 9 h 1875"/>
                  <a:gd name="T36" fmla="*/ 593 w 1174"/>
                  <a:gd name="T37" fmla="*/ 0 h 1875"/>
                  <a:gd name="T38" fmla="*/ 443 w 1174"/>
                  <a:gd name="T39" fmla="*/ 13 h 1875"/>
                  <a:gd name="T40" fmla="*/ 377 w 1174"/>
                  <a:gd name="T41" fmla="*/ 30 h 1875"/>
                  <a:gd name="T42" fmla="*/ 318 w 1174"/>
                  <a:gd name="T43" fmla="*/ 54 h 1875"/>
                  <a:gd name="T44" fmla="*/ 215 w 1174"/>
                  <a:gd name="T45" fmla="*/ 116 h 1875"/>
                  <a:gd name="T46" fmla="*/ 134 w 1174"/>
                  <a:gd name="T47" fmla="*/ 193 h 1875"/>
                  <a:gd name="T48" fmla="*/ 74 w 1174"/>
                  <a:gd name="T49" fmla="*/ 282 h 1875"/>
                  <a:gd name="T50" fmla="*/ 33 w 1174"/>
                  <a:gd name="T51" fmla="*/ 383 h 1875"/>
                  <a:gd name="T52" fmla="*/ 8 w 1174"/>
                  <a:gd name="T53" fmla="*/ 487 h 1875"/>
                  <a:gd name="T54" fmla="*/ 0 w 1174"/>
                  <a:gd name="T55" fmla="*/ 591 h 1875"/>
                  <a:gd name="T56" fmla="*/ 5 w 1174"/>
                  <a:gd name="T57" fmla="*/ 1341 h 1875"/>
                  <a:gd name="T58" fmla="*/ 25 w 1174"/>
                  <a:gd name="T59" fmla="*/ 1459 h 1875"/>
                  <a:gd name="T60" fmla="*/ 64 w 1174"/>
                  <a:gd name="T61" fmla="*/ 1569 h 1875"/>
                  <a:gd name="T62" fmla="*/ 120 w 1174"/>
                  <a:gd name="T63" fmla="*/ 1666 h 1875"/>
                  <a:gd name="T64" fmla="*/ 196 w 1174"/>
                  <a:gd name="T65" fmla="*/ 1747 h 1875"/>
                  <a:gd name="T66" fmla="*/ 293 w 1174"/>
                  <a:gd name="T67" fmla="*/ 1811 h 1875"/>
                  <a:gd name="T68" fmla="*/ 364 w 1174"/>
                  <a:gd name="T69" fmla="*/ 1841 h 1875"/>
                  <a:gd name="T70" fmla="*/ 479 w 1174"/>
                  <a:gd name="T71" fmla="*/ 1868 h 1875"/>
                  <a:gd name="T72" fmla="*/ 621 w 1174"/>
                  <a:gd name="T73" fmla="*/ 1874 h 1875"/>
                  <a:gd name="T74" fmla="*/ 726 w 1174"/>
                  <a:gd name="T75" fmla="*/ 1863 h 1875"/>
                  <a:gd name="T76" fmla="*/ 825 w 1174"/>
                  <a:gd name="T77" fmla="*/ 1836 h 1875"/>
                  <a:gd name="T78" fmla="*/ 913 w 1174"/>
                  <a:gd name="T79" fmla="*/ 1794 h 1875"/>
                  <a:gd name="T80" fmla="*/ 994 w 1174"/>
                  <a:gd name="T81" fmla="*/ 1737 h 1875"/>
                  <a:gd name="T82" fmla="*/ 1061 w 1174"/>
                  <a:gd name="T83" fmla="*/ 1668 h 1875"/>
                  <a:gd name="T84" fmla="*/ 1114 w 1174"/>
                  <a:gd name="T85" fmla="*/ 1586 h 1875"/>
                  <a:gd name="T86" fmla="*/ 1152 w 1174"/>
                  <a:gd name="T87" fmla="*/ 1493 h 1875"/>
                  <a:gd name="T88" fmla="*/ 806 w 1174"/>
                  <a:gd name="T89" fmla="*/ 1310 h 1875"/>
                  <a:gd name="T90" fmla="*/ 782 w 1174"/>
                  <a:gd name="T91" fmla="*/ 1390 h 1875"/>
                  <a:gd name="T92" fmla="*/ 733 w 1174"/>
                  <a:gd name="T93" fmla="*/ 1452 h 1875"/>
                  <a:gd name="T94" fmla="*/ 667 w 1174"/>
                  <a:gd name="T95" fmla="*/ 1490 h 1875"/>
                  <a:gd name="T96" fmla="*/ 593 w 1174"/>
                  <a:gd name="T97" fmla="*/ 1503 h 1875"/>
                  <a:gd name="T98" fmla="*/ 540 w 1174"/>
                  <a:gd name="T99" fmla="*/ 1499 h 1875"/>
                  <a:gd name="T100" fmla="*/ 495 w 1174"/>
                  <a:gd name="T101" fmla="*/ 1486 h 1875"/>
                  <a:gd name="T102" fmla="*/ 459 w 1174"/>
                  <a:gd name="T103" fmla="*/ 1465 h 1875"/>
                  <a:gd name="T104" fmla="*/ 432 w 1174"/>
                  <a:gd name="T105" fmla="*/ 1435 h 1875"/>
                  <a:gd name="T106" fmla="*/ 397 w 1174"/>
                  <a:gd name="T107" fmla="*/ 1357 h 1875"/>
                  <a:gd name="T108" fmla="*/ 385 w 1174"/>
                  <a:gd name="T109" fmla="*/ 1259 h 1875"/>
                  <a:gd name="T110" fmla="*/ 391 w 1174"/>
                  <a:gd name="T111" fmla="*/ 525 h 1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74" h="1875">
                    <a:moveTo>
                      <a:pt x="396" y="507"/>
                    </a:moveTo>
                    <a:lnTo>
                      <a:pt x="402" y="490"/>
                    </a:lnTo>
                    <a:lnTo>
                      <a:pt x="410" y="473"/>
                    </a:lnTo>
                    <a:lnTo>
                      <a:pt x="419" y="457"/>
                    </a:lnTo>
                    <a:lnTo>
                      <a:pt x="430" y="441"/>
                    </a:lnTo>
                    <a:lnTo>
                      <a:pt x="436" y="434"/>
                    </a:lnTo>
                    <a:lnTo>
                      <a:pt x="443" y="427"/>
                    </a:lnTo>
                    <a:lnTo>
                      <a:pt x="450" y="420"/>
                    </a:lnTo>
                    <a:lnTo>
                      <a:pt x="458" y="413"/>
                    </a:lnTo>
                    <a:lnTo>
                      <a:pt x="466" y="407"/>
                    </a:lnTo>
                    <a:lnTo>
                      <a:pt x="475" y="401"/>
                    </a:lnTo>
                    <a:lnTo>
                      <a:pt x="484" y="396"/>
                    </a:lnTo>
                    <a:lnTo>
                      <a:pt x="494" y="391"/>
                    </a:lnTo>
                    <a:lnTo>
                      <a:pt x="505" y="386"/>
                    </a:lnTo>
                    <a:lnTo>
                      <a:pt x="516" y="382"/>
                    </a:lnTo>
                    <a:lnTo>
                      <a:pt x="527" y="379"/>
                    </a:lnTo>
                    <a:lnTo>
                      <a:pt x="539" y="376"/>
                    </a:lnTo>
                    <a:lnTo>
                      <a:pt x="552" y="374"/>
                    </a:lnTo>
                    <a:lnTo>
                      <a:pt x="565" y="372"/>
                    </a:lnTo>
                    <a:lnTo>
                      <a:pt x="579" y="371"/>
                    </a:lnTo>
                    <a:lnTo>
                      <a:pt x="593" y="371"/>
                    </a:lnTo>
                    <a:lnTo>
                      <a:pt x="606" y="371"/>
                    </a:lnTo>
                    <a:lnTo>
                      <a:pt x="619" y="372"/>
                    </a:lnTo>
                    <a:lnTo>
                      <a:pt x="632" y="374"/>
                    </a:lnTo>
                    <a:lnTo>
                      <a:pt x="644" y="376"/>
                    </a:lnTo>
                    <a:lnTo>
                      <a:pt x="656" y="379"/>
                    </a:lnTo>
                    <a:lnTo>
                      <a:pt x="667" y="383"/>
                    </a:lnTo>
                    <a:lnTo>
                      <a:pt x="677" y="387"/>
                    </a:lnTo>
                    <a:lnTo>
                      <a:pt x="688" y="392"/>
                    </a:lnTo>
                    <a:lnTo>
                      <a:pt x="707" y="403"/>
                    </a:lnTo>
                    <a:lnTo>
                      <a:pt x="724" y="415"/>
                    </a:lnTo>
                    <a:lnTo>
                      <a:pt x="741" y="428"/>
                    </a:lnTo>
                    <a:lnTo>
                      <a:pt x="755" y="442"/>
                    </a:lnTo>
                    <a:lnTo>
                      <a:pt x="767" y="457"/>
                    </a:lnTo>
                    <a:lnTo>
                      <a:pt x="778" y="473"/>
                    </a:lnTo>
                    <a:lnTo>
                      <a:pt x="782" y="481"/>
                    </a:lnTo>
                    <a:lnTo>
                      <a:pt x="786" y="490"/>
                    </a:lnTo>
                    <a:lnTo>
                      <a:pt x="790" y="498"/>
                    </a:lnTo>
                    <a:lnTo>
                      <a:pt x="793" y="507"/>
                    </a:lnTo>
                    <a:lnTo>
                      <a:pt x="798" y="524"/>
                    </a:lnTo>
                    <a:lnTo>
                      <a:pt x="803" y="541"/>
                    </a:lnTo>
                    <a:lnTo>
                      <a:pt x="807" y="556"/>
                    </a:lnTo>
                    <a:lnTo>
                      <a:pt x="810" y="569"/>
                    </a:lnTo>
                    <a:lnTo>
                      <a:pt x="1174" y="461"/>
                    </a:lnTo>
                    <a:lnTo>
                      <a:pt x="1169" y="439"/>
                    </a:lnTo>
                    <a:lnTo>
                      <a:pt x="1163" y="416"/>
                    </a:lnTo>
                    <a:lnTo>
                      <a:pt x="1156" y="395"/>
                    </a:lnTo>
                    <a:lnTo>
                      <a:pt x="1149" y="373"/>
                    </a:lnTo>
                    <a:lnTo>
                      <a:pt x="1140" y="351"/>
                    </a:lnTo>
                    <a:lnTo>
                      <a:pt x="1131" y="330"/>
                    </a:lnTo>
                    <a:lnTo>
                      <a:pt x="1121" y="309"/>
                    </a:lnTo>
                    <a:lnTo>
                      <a:pt x="1110" y="288"/>
                    </a:lnTo>
                    <a:lnTo>
                      <a:pt x="1099" y="266"/>
                    </a:lnTo>
                    <a:lnTo>
                      <a:pt x="1086" y="246"/>
                    </a:lnTo>
                    <a:lnTo>
                      <a:pt x="1073" y="227"/>
                    </a:lnTo>
                    <a:lnTo>
                      <a:pt x="1059" y="208"/>
                    </a:lnTo>
                    <a:lnTo>
                      <a:pt x="1044" y="190"/>
                    </a:lnTo>
                    <a:lnTo>
                      <a:pt x="1028" y="173"/>
                    </a:lnTo>
                    <a:lnTo>
                      <a:pt x="1011" y="156"/>
                    </a:lnTo>
                    <a:lnTo>
                      <a:pt x="994" y="140"/>
                    </a:lnTo>
                    <a:lnTo>
                      <a:pt x="975" y="125"/>
                    </a:lnTo>
                    <a:lnTo>
                      <a:pt x="955" y="110"/>
                    </a:lnTo>
                    <a:lnTo>
                      <a:pt x="935" y="96"/>
                    </a:lnTo>
                    <a:lnTo>
                      <a:pt x="914" y="83"/>
                    </a:lnTo>
                    <a:lnTo>
                      <a:pt x="892" y="70"/>
                    </a:lnTo>
                    <a:lnTo>
                      <a:pt x="869" y="59"/>
                    </a:lnTo>
                    <a:lnTo>
                      <a:pt x="846" y="48"/>
                    </a:lnTo>
                    <a:lnTo>
                      <a:pt x="821" y="38"/>
                    </a:lnTo>
                    <a:lnTo>
                      <a:pt x="796" y="29"/>
                    </a:lnTo>
                    <a:lnTo>
                      <a:pt x="769" y="21"/>
                    </a:lnTo>
                    <a:lnTo>
                      <a:pt x="742" y="15"/>
                    </a:lnTo>
                    <a:lnTo>
                      <a:pt x="713" y="9"/>
                    </a:lnTo>
                    <a:lnTo>
                      <a:pt x="684" y="5"/>
                    </a:lnTo>
                    <a:lnTo>
                      <a:pt x="654" y="2"/>
                    </a:lnTo>
                    <a:lnTo>
                      <a:pt x="624" y="1"/>
                    </a:lnTo>
                    <a:lnTo>
                      <a:pt x="593" y="0"/>
                    </a:lnTo>
                    <a:lnTo>
                      <a:pt x="553" y="1"/>
                    </a:lnTo>
                    <a:lnTo>
                      <a:pt x="515" y="3"/>
                    </a:lnTo>
                    <a:lnTo>
                      <a:pt x="478" y="7"/>
                    </a:lnTo>
                    <a:lnTo>
                      <a:pt x="443" y="13"/>
                    </a:lnTo>
                    <a:lnTo>
                      <a:pt x="426" y="17"/>
                    </a:lnTo>
                    <a:lnTo>
                      <a:pt x="409" y="21"/>
                    </a:lnTo>
                    <a:lnTo>
                      <a:pt x="393" y="25"/>
                    </a:lnTo>
                    <a:lnTo>
                      <a:pt x="377" y="30"/>
                    </a:lnTo>
                    <a:lnTo>
                      <a:pt x="362" y="35"/>
                    </a:lnTo>
                    <a:lnTo>
                      <a:pt x="347" y="41"/>
                    </a:lnTo>
                    <a:lnTo>
                      <a:pt x="332" y="47"/>
                    </a:lnTo>
                    <a:lnTo>
                      <a:pt x="318" y="54"/>
                    </a:lnTo>
                    <a:lnTo>
                      <a:pt x="291" y="68"/>
                    </a:lnTo>
                    <a:lnTo>
                      <a:pt x="264" y="83"/>
                    </a:lnTo>
                    <a:lnTo>
                      <a:pt x="238" y="99"/>
                    </a:lnTo>
                    <a:lnTo>
                      <a:pt x="215" y="116"/>
                    </a:lnTo>
                    <a:lnTo>
                      <a:pt x="193" y="134"/>
                    </a:lnTo>
                    <a:lnTo>
                      <a:pt x="172" y="152"/>
                    </a:lnTo>
                    <a:lnTo>
                      <a:pt x="153" y="172"/>
                    </a:lnTo>
                    <a:lnTo>
                      <a:pt x="134" y="193"/>
                    </a:lnTo>
                    <a:lnTo>
                      <a:pt x="118" y="214"/>
                    </a:lnTo>
                    <a:lnTo>
                      <a:pt x="102" y="236"/>
                    </a:lnTo>
                    <a:lnTo>
                      <a:pt x="87" y="259"/>
                    </a:lnTo>
                    <a:lnTo>
                      <a:pt x="74" y="282"/>
                    </a:lnTo>
                    <a:lnTo>
                      <a:pt x="62" y="307"/>
                    </a:lnTo>
                    <a:lnTo>
                      <a:pt x="51" y="332"/>
                    </a:lnTo>
                    <a:lnTo>
                      <a:pt x="41" y="357"/>
                    </a:lnTo>
                    <a:lnTo>
                      <a:pt x="33" y="383"/>
                    </a:lnTo>
                    <a:lnTo>
                      <a:pt x="24" y="409"/>
                    </a:lnTo>
                    <a:lnTo>
                      <a:pt x="18" y="435"/>
                    </a:lnTo>
                    <a:lnTo>
                      <a:pt x="12" y="461"/>
                    </a:lnTo>
                    <a:lnTo>
                      <a:pt x="8" y="487"/>
                    </a:lnTo>
                    <a:lnTo>
                      <a:pt x="5" y="513"/>
                    </a:lnTo>
                    <a:lnTo>
                      <a:pt x="2" y="539"/>
                    </a:lnTo>
                    <a:lnTo>
                      <a:pt x="1" y="565"/>
                    </a:lnTo>
                    <a:lnTo>
                      <a:pt x="0" y="591"/>
                    </a:lnTo>
                    <a:lnTo>
                      <a:pt x="0" y="1248"/>
                    </a:lnTo>
                    <a:lnTo>
                      <a:pt x="1" y="1279"/>
                    </a:lnTo>
                    <a:lnTo>
                      <a:pt x="2" y="1311"/>
                    </a:lnTo>
                    <a:lnTo>
                      <a:pt x="5" y="1341"/>
                    </a:lnTo>
                    <a:lnTo>
                      <a:pt x="8" y="1371"/>
                    </a:lnTo>
                    <a:lnTo>
                      <a:pt x="13" y="1401"/>
                    </a:lnTo>
                    <a:lnTo>
                      <a:pt x="18" y="1430"/>
                    </a:lnTo>
                    <a:lnTo>
                      <a:pt x="25" y="1459"/>
                    </a:lnTo>
                    <a:lnTo>
                      <a:pt x="34" y="1487"/>
                    </a:lnTo>
                    <a:lnTo>
                      <a:pt x="43" y="1515"/>
                    </a:lnTo>
                    <a:lnTo>
                      <a:pt x="53" y="1543"/>
                    </a:lnTo>
                    <a:lnTo>
                      <a:pt x="64" y="1569"/>
                    </a:lnTo>
                    <a:lnTo>
                      <a:pt x="76" y="1594"/>
                    </a:lnTo>
                    <a:lnTo>
                      <a:pt x="89" y="1619"/>
                    </a:lnTo>
                    <a:lnTo>
                      <a:pt x="104" y="1643"/>
                    </a:lnTo>
                    <a:lnTo>
                      <a:pt x="120" y="1666"/>
                    </a:lnTo>
                    <a:lnTo>
                      <a:pt x="137" y="1688"/>
                    </a:lnTo>
                    <a:lnTo>
                      <a:pt x="155" y="1709"/>
                    </a:lnTo>
                    <a:lnTo>
                      <a:pt x="175" y="1729"/>
                    </a:lnTo>
                    <a:lnTo>
                      <a:pt x="196" y="1747"/>
                    </a:lnTo>
                    <a:lnTo>
                      <a:pt x="218" y="1765"/>
                    </a:lnTo>
                    <a:lnTo>
                      <a:pt x="241" y="1781"/>
                    </a:lnTo>
                    <a:lnTo>
                      <a:pt x="267" y="1797"/>
                    </a:lnTo>
                    <a:lnTo>
                      <a:pt x="293" y="1811"/>
                    </a:lnTo>
                    <a:lnTo>
                      <a:pt x="321" y="1824"/>
                    </a:lnTo>
                    <a:lnTo>
                      <a:pt x="335" y="1830"/>
                    </a:lnTo>
                    <a:lnTo>
                      <a:pt x="349" y="1836"/>
                    </a:lnTo>
                    <a:lnTo>
                      <a:pt x="364" y="1841"/>
                    </a:lnTo>
                    <a:lnTo>
                      <a:pt x="379" y="1846"/>
                    </a:lnTo>
                    <a:lnTo>
                      <a:pt x="411" y="1855"/>
                    </a:lnTo>
                    <a:lnTo>
                      <a:pt x="444" y="1862"/>
                    </a:lnTo>
                    <a:lnTo>
                      <a:pt x="479" y="1868"/>
                    </a:lnTo>
                    <a:lnTo>
                      <a:pt x="516" y="1872"/>
                    </a:lnTo>
                    <a:lnTo>
                      <a:pt x="554" y="1874"/>
                    </a:lnTo>
                    <a:lnTo>
                      <a:pt x="593" y="1875"/>
                    </a:lnTo>
                    <a:lnTo>
                      <a:pt x="621" y="1874"/>
                    </a:lnTo>
                    <a:lnTo>
                      <a:pt x="648" y="1873"/>
                    </a:lnTo>
                    <a:lnTo>
                      <a:pt x="675" y="1871"/>
                    </a:lnTo>
                    <a:lnTo>
                      <a:pt x="701" y="1867"/>
                    </a:lnTo>
                    <a:lnTo>
                      <a:pt x="726" y="1863"/>
                    </a:lnTo>
                    <a:lnTo>
                      <a:pt x="753" y="1858"/>
                    </a:lnTo>
                    <a:lnTo>
                      <a:pt x="777" y="1851"/>
                    </a:lnTo>
                    <a:lnTo>
                      <a:pt x="801" y="1844"/>
                    </a:lnTo>
                    <a:lnTo>
                      <a:pt x="825" y="1836"/>
                    </a:lnTo>
                    <a:lnTo>
                      <a:pt x="848" y="1827"/>
                    </a:lnTo>
                    <a:lnTo>
                      <a:pt x="870" y="1817"/>
                    </a:lnTo>
                    <a:lnTo>
                      <a:pt x="892" y="1806"/>
                    </a:lnTo>
                    <a:lnTo>
                      <a:pt x="913" y="1794"/>
                    </a:lnTo>
                    <a:lnTo>
                      <a:pt x="934" y="1782"/>
                    </a:lnTo>
                    <a:lnTo>
                      <a:pt x="954" y="1768"/>
                    </a:lnTo>
                    <a:lnTo>
                      <a:pt x="975" y="1753"/>
                    </a:lnTo>
                    <a:lnTo>
                      <a:pt x="994" y="1737"/>
                    </a:lnTo>
                    <a:lnTo>
                      <a:pt x="1012" y="1721"/>
                    </a:lnTo>
                    <a:lnTo>
                      <a:pt x="1030" y="1704"/>
                    </a:lnTo>
                    <a:lnTo>
                      <a:pt x="1046" y="1686"/>
                    </a:lnTo>
                    <a:lnTo>
                      <a:pt x="1061" y="1668"/>
                    </a:lnTo>
                    <a:lnTo>
                      <a:pt x="1076" y="1649"/>
                    </a:lnTo>
                    <a:lnTo>
                      <a:pt x="1089" y="1629"/>
                    </a:lnTo>
                    <a:lnTo>
                      <a:pt x="1102" y="1607"/>
                    </a:lnTo>
                    <a:lnTo>
                      <a:pt x="1114" y="1586"/>
                    </a:lnTo>
                    <a:lnTo>
                      <a:pt x="1125" y="1564"/>
                    </a:lnTo>
                    <a:lnTo>
                      <a:pt x="1135" y="1541"/>
                    </a:lnTo>
                    <a:lnTo>
                      <a:pt x="1144" y="1517"/>
                    </a:lnTo>
                    <a:lnTo>
                      <a:pt x="1152" y="1493"/>
                    </a:lnTo>
                    <a:lnTo>
                      <a:pt x="1159" y="1468"/>
                    </a:lnTo>
                    <a:lnTo>
                      <a:pt x="1165" y="1442"/>
                    </a:lnTo>
                    <a:lnTo>
                      <a:pt x="1171" y="1416"/>
                    </a:lnTo>
                    <a:lnTo>
                      <a:pt x="806" y="1310"/>
                    </a:lnTo>
                    <a:lnTo>
                      <a:pt x="802" y="1332"/>
                    </a:lnTo>
                    <a:lnTo>
                      <a:pt x="797" y="1353"/>
                    </a:lnTo>
                    <a:lnTo>
                      <a:pt x="790" y="1372"/>
                    </a:lnTo>
                    <a:lnTo>
                      <a:pt x="782" y="1390"/>
                    </a:lnTo>
                    <a:lnTo>
                      <a:pt x="772" y="1408"/>
                    </a:lnTo>
                    <a:lnTo>
                      <a:pt x="761" y="1423"/>
                    </a:lnTo>
                    <a:lnTo>
                      <a:pt x="748" y="1438"/>
                    </a:lnTo>
                    <a:lnTo>
                      <a:pt x="733" y="1452"/>
                    </a:lnTo>
                    <a:lnTo>
                      <a:pt x="717" y="1464"/>
                    </a:lnTo>
                    <a:lnTo>
                      <a:pt x="701" y="1474"/>
                    </a:lnTo>
                    <a:lnTo>
                      <a:pt x="685" y="1483"/>
                    </a:lnTo>
                    <a:lnTo>
                      <a:pt x="667" y="1490"/>
                    </a:lnTo>
                    <a:lnTo>
                      <a:pt x="650" y="1496"/>
                    </a:lnTo>
                    <a:lnTo>
                      <a:pt x="631" y="1500"/>
                    </a:lnTo>
                    <a:lnTo>
                      <a:pt x="612" y="1502"/>
                    </a:lnTo>
                    <a:lnTo>
                      <a:pt x="593" y="1503"/>
                    </a:lnTo>
                    <a:lnTo>
                      <a:pt x="579" y="1503"/>
                    </a:lnTo>
                    <a:lnTo>
                      <a:pt x="565" y="1502"/>
                    </a:lnTo>
                    <a:lnTo>
                      <a:pt x="552" y="1501"/>
                    </a:lnTo>
                    <a:lnTo>
                      <a:pt x="540" y="1499"/>
                    </a:lnTo>
                    <a:lnTo>
                      <a:pt x="528" y="1497"/>
                    </a:lnTo>
                    <a:lnTo>
                      <a:pt x="517" y="1494"/>
                    </a:lnTo>
                    <a:lnTo>
                      <a:pt x="506" y="1490"/>
                    </a:lnTo>
                    <a:lnTo>
                      <a:pt x="495" y="1486"/>
                    </a:lnTo>
                    <a:lnTo>
                      <a:pt x="485" y="1482"/>
                    </a:lnTo>
                    <a:lnTo>
                      <a:pt x="476" y="1477"/>
                    </a:lnTo>
                    <a:lnTo>
                      <a:pt x="467" y="1471"/>
                    </a:lnTo>
                    <a:lnTo>
                      <a:pt x="459" y="1465"/>
                    </a:lnTo>
                    <a:lnTo>
                      <a:pt x="451" y="1458"/>
                    </a:lnTo>
                    <a:lnTo>
                      <a:pt x="444" y="1451"/>
                    </a:lnTo>
                    <a:lnTo>
                      <a:pt x="438" y="1443"/>
                    </a:lnTo>
                    <a:lnTo>
                      <a:pt x="432" y="1435"/>
                    </a:lnTo>
                    <a:lnTo>
                      <a:pt x="421" y="1417"/>
                    </a:lnTo>
                    <a:lnTo>
                      <a:pt x="411" y="1398"/>
                    </a:lnTo>
                    <a:lnTo>
                      <a:pt x="403" y="1378"/>
                    </a:lnTo>
                    <a:lnTo>
                      <a:pt x="397" y="1357"/>
                    </a:lnTo>
                    <a:lnTo>
                      <a:pt x="392" y="1334"/>
                    </a:lnTo>
                    <a:lnTo>
                      <a:pt x="388" y="1311"/>
                    </a:lnTo>
                    <a:lnTo>
                      <a:pt x="386" y="1285"/>
                    </a:lnTo>
                    <a:lnTo>
                      <a:pt x="385" y="1259"/>
                    </a:lnTo>
                    <a:lnTo>
                      <a:pt x="385" y="575"/>
                    </a:lnTo>
                    <a:lnTo>
                      <a:pt x="386" y="558"/>
                    </a:lnTo>
                    <a:lnTo>
                      <a:pt x="388" y="542"/>
                    </a:lnTo>
                    <a:lnTo>
                      <a:pt x="391" y="525"/>
                    </a:lnTo>
                    <a:lnTo>
                      <a:pt x="396" y="50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37" name="Freeform 9"/>
              <p:cNvSpPr>
                <a:spLocks/>
              </p:cNvSpPr>
              <p:nvPr/>
            </p:nvSpPr>
            <p:spPr bwMode="auto">
              <a:xfrm>
                <a:off x="1239875" y="260485"/>
                <a:ext cx="111366" cy="190560"/>
              </a:xfrm>
              <a:custGeom>
                <a:avLst/>
                <a:gdLst>
                  <a:gd name="T0" fmla="*/ 0 w 1075"/>
                  <a:gd name="T1" fmla="*/ 1845 h 1845"/>
                  <a:gd name="T2" fmla="*/ 1075 w 1075"/>
                  <a:gd name="T3" fmla="*/ 1845 h 1845"/>
                  <a:gd name="T4" fmla="*/ 1075 w 1075"/>
                  <a:gd name="T5" fmla="*/ 1482 h 1845"/>
                  <a:gd name="T6" fmla="*/ 385 w 1075"/>
                  <a:gd name="T7" fmla="*/ 1482 h 1845"/>
                  <a:gd name="T8" fmla="*/ 385 w 1075"/>
                  <a:gd name="T9" fmla="*/ 1090 h 1845"/>
                  <a:gd name="T10" fmla="*/ 979 w 1075"/>
                  <a:gd name="T11" fmla="*/ 1090 h 1845"/>
                  <a:gd name="T12" fmla="*/ 979 w 1075"/>
                  <a:gd name="T13" fmla="*/ 737 h 1845"/>
                  <a:gd name="T14" fmla="*/ 385 w 1075"/>
                  <a:gd name="T15" fmla="*/ 737 h 1845"/>
                  <a:gd name="T16" fmla="*/ 385 w 1075"/>
                  <a:gd name="T17" fmla="*/ 355 h 1845"/>
                  <a:gd name="T18" fmla="*/ 1075 w 1075"/>
                  <a:gd name="T19" fmla="*/ 355 h 1845"/>
                  <a:gd name="T20" fmla="*/ 1075 w 1075"/>
                  <a:gd name="T21" fmla="*/ 0 h 1845"/>
                  <a:gd name="T22" fmla="*/ 0 w 1075"/>
                  <a:gd name="T23" fmla="*/ 0 h 1845"/>
                  <a:gd name="T24" fmla="*/ 0 w 1075"/>
                  <a:gd name="T25" fmla="*/ 1845 h 1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75" h="1845">
                    <a:moveTo>
                      <a:pt x="0" y="1845"/>
                    </a:moveTo>
                    <a:lnTo>
                      <a:pt x="1075" y="1845"/>
                    </a:lnTo>
                    <a:lnTo>
                      <a:pt x="1075" y="1482"/>
                    </a:lnTo>
                    <a:lnTo>
                      <a:pt x="385" y="1482"/>
                    </a:lnTo>
                    <a:lnTo>
                      <a:pt x="385" y="1090"/>
                    </a:lnTo>
                    <a:lnTo>
                      <a:pt x="979" y="1090"/>
                    </a:lnTo>
                    <a:lnTo>
                      <a:pt x="979" y="737"/>
                    </a:lnTo>
                    <a:lnTo>
                      <a:pt x="385" y="737"/>
                    </a:lnTo>
                    <a:lnTo>
                      <a:pt x="385" y="355"/>
                    </a:lnTo>
                    <a:lnTo>
                      <a:pt x="1075" y="355"/>
                    </a:lnTo>
                    <a:lnTo>
                      <a:pt x="1075" y="0"/>
                    </a:lnTo>
                    <a:lnTo>
                      <a:pt x="0" y="0"/>
                    </a:lnTo>
                    <a:lnTo>
                      <a:pt x="0" y="18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38" name="Freeform 10"/>
              <p:cNvSpPr>
                <a:spLocks/>
              </p:cNvSpPr>
              <p:nvPr/>
            </p:nvSpPr>
            <p:spPr bwMode="auto">
              <a:xfrm>
                <a:off x="1373515" y="260485"/>
                <a:ext cx="121265" cy="190560"/>
              </a:xfrm>
              <a:custGeom>
                <a:avLst/>
                <a:gdLst>
                  <a:gd name="T0" fmla="*/ 0 w 1174"/>
                  <a:gd name="T1" fmla="*/ 350 h 1845"/>
                  <a:gd name="T2" fmla="*/ 396 w 1174"/>
                  <a:gd name="T3" fmla="*/ 350 h 1845"/>
                  <a:gd name="T4" fmla="*/ 396 w 1174"/>
                  <a:gd name="T5" fmla="*/ 1845 h 1845"/>
                  <a:gd name="T6" fmla="*/ 779 w 1174"/>
                  <a:gd name="T7" fmla="*/ 1845 h 1845"/>
                  <a:gd name="T8" fmla="*/ 779 w 1174"/>
                  <a:gd name="T9" fmla="*/ 350 h 1845"/>
                  <a:gd name="T10" fmla="*/ 1174 w 1174"/>
                  <a:gd name="T11" fmla="*/ 350 h 1845"/>
                  <a:gd name="T12" fmla="*/ 1174 w 1174"/>
                  <a:gd name="T13" fmla="*/ 0 h 1845"/>
                  <a:gd name="T14" fmla="*/ 0 w 1174"/>
                  <a:gd name="T15" fmla="*/ 0 h 1845"/>
                  <a:gd name="T16" fmla="*/ 0 w 1174"/>
                  <a:gd name="T17" fmla="*/ 350 h 1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74" h="1845">
                    <a:moveTo>
                      <a:pt x="0" y="350"/>
                    </a:moveTo>
                    <a:lnTo>
                      <a:pt x="396" y="350"/>
                    </a:lnTo>
                    <a:lnTo>
                      <a:pt x="396" y="1845"/>
                    </a:lnTo>
                    <a:lnTo>
                      <a:pt x="779" y="1845"/>
                    </a:lnTo>
                    <a:lnTo>
                      <a:pt x="779" y="350"/>
                    </a:lnTo>
                    <a:lnTo>
                      <a:pt x="1174" y="350"/>
                    </a:lnTo>
                    <a:lnTo>
                      <a:pt x="1174" y="0"/>
                    </a:lnTo>
                    <a:lnTo>
                      <a:pt x="0" y="0"/>
                    </a:lnTo>
                    <a:lnTo>
                      <a:pt x="0" y="3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39" name="Freeform 11"/>
              <p:cNvSpPr>
                <a:spLocks/>
              </p:cNvSpPr>
              <p:nvPr/>
            </p:nvSpPr>
            <p:spPr bwMode="auto">
              <a:xfrm>
                <a:off x="1526952" y="260485"/>
                <a:ext cx="129927" cy="190560"/>
              </a:xfrm>
              <a:custGeom>
                <a:avLst/>
                <a:gdLst>
                  <a:gd name="T0" fmla="*/ 917 w 1264"/>
                  <a:gd name="T1" fmla="*/ 0 h 1845"/>
                  <a:gd name="T2" fmla="*/ 388 w 1264"/>
                  <a:gd name="T3" fmla="*/ 1072 h 1845"/>
                  <a:gd name="T4" fmla="*/ 382 w 1264"/>
                  <a:gd name="T5" fmla="*/ 1072 h 1845"/>
                  <a:gd name="T6" fmla="*/ 382 w 1264"/>
                  <a:gd name="T7" fmla="*/ 0 h 1845"/>
                  <a:gd name="T8" fmla="*/ 0 w 1264"/>
                  <a:gd name="T9" fmla="*/ 0 h 1845"/>
                  <a:gd name="T10" fmla="*/ 0 w 1264"/>
                  <a:gd name="T11" fmla="*/ 1845 h 1845"/>
                  <a:gd name="T12" fmla="*/ 361 w 1264"/>
                  <a:gd name="T13" fmla="*/ 1845 h 1845"/>
                  <a:gd name="T14" fmla="*/ 876 w 1264"/>
                  <a:gd name="T15" fmla="*/ 841 h 1845"/>
                  <a:gd name="T16" fmla="*/ 878 w 1264"/>
                  <a:gd name="T17" fmla="*/ 841 h 1845"/>
                  <a:gd name="T18" fmla="*/ 878 w 1264"/>
                  <a:gd name="T19" fmla="*/ 1845 h 1845"/>
                  <a:gd name="T20" fmla="*/ 1264 w 1264"/>
                  <a:gd name="T21" fmla="*/ 1845 h 1845"/>
                  <a:gd name="T22" fmla="*/ 1264 w 1264"/>
                  <a:gd name="T23" fmla="*/ 0 h 1845"/>
                  <a:gd name="T24" fmla="*/ 917 w 1264"/>
                  <a:gd name="T25" fmla="*/ 0 h 1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64" h="1845">
                    <a:moveTo>
                      <a:pt x="917" y="0"/>
                    </a:moveTo>
                    <a:lnTo>
                      <a:pt x="388" y="1072"/>
                    </a:lnTo>
                    <a:lnTo>
                      <a:pt x="382" y="1072"/>
                    </a:lnTo>
                    <a:lnTo>
                      <a:pt x="382" y="0"/>
                    </a:lnTo>
                    <a:lnTo>
                      <a:pt x="0" y="0"/>
                    </a:lnTo>
                    <a:lnTo>
                      <a:pt x="0" y="1845"/>
                    </a:lnTo>
                    <a:lnTo>
                      <a:pt x="361" y="1845"/>
                    </a:lnTo>
                    <a:lnTo>
                      <a:pt x="876" y="841"/>
                    </a:lnTo>
                    <a:lnTo>
                      <a:pt x="878" y="841"/>
                    </a:lnTo>
                    <a:lnTo>
                      <a:pt x="878" y="1845"/>
                    </a:lnTo>
                    <a:lnTo>
                      <a:pt x="1264" y="1845"/>
                    </a:lnTo>
                    <a:lnTo>
                      <a:pt x="1264" y="0"/>
                    </a:lnTo>
                    <a:lnTo>
                      <a:pt x="9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</p:grpSp>
        <p:grpSp>
          <p:nvGrpSpPr>
            <p:cNvPr id="25" name="Группа 24"/>
            <p:cNvGrpSpPr/>
            <p:nvPr userDrawn="1"/>
          </p:nvGrpSpPr>
          <p:grpSpPr>
            <a:xfrm>
              <a:off x="0" y="687388"/>
              <a:ext cx="407368" cy="406401"/>
              <a:chOff x="0" y="167680"/>
              <a:chExt cx="520945" cy="519708"/>
            </a:xfrm>
            <a:grpFill/>
          </p:grpSpPr>
          <p:sp>
            <p:nvSpPr>
              <p:cNvPr id="26" name="Freeform 12"/>
              <p:cNvSpPr>
                <a:spLocks/>
              </p:cNvSpPr>
              <p:nvPr/>
            </p:nvSpPr>
            <p:spPr bwMode="auto">
              <a:xfrm>
                <a:off x="160862" y="323592"/>
                <a:ext cx="196746" cy="363796"/>
              </a:xfrm>
              <a:custGeom>
                <a:avLst/>
                <a:gdLst>
                  <a:gd name="T0" fmla="*/ 1471 w 1903"/>
                  <a:gd name="T1" fmla="*/ 0 h 3523"/>
                  <a:gd name="T2" fmla="*/ 0 w 1903"/>
                  <a:gd name="T3" fmla="*/ 3334 h 3523"/>
                  <a:gd name="T4" fmla="*/ 56 w 1903"/>
                  <a:gd name="T5" fmla="*/ 3357 h 3523"/>
                  <a:gd name="T6" fmla="*/ 112 w 1903"/>
                  <a:gd name="T7" fmla="*/ 3377 h 3523"/>
                  <a:gd name="T8" fmla="*/ 169 w 1903"/>
                  <a:gd name="T9" fmla="*/ 3397 h 3523"/>
                  <a:gd name="T10" fmla="*/ 227 w 1903"/>
                  <a:gd name="T11" fmla="*/ 3415 h 3523"/>
                  <a:gd name="T12" fmla="*/ 286 w 1903"/>
                  <a:gd name="T13" fmla="*/ 3432 h 3523"/>
                  <a:gd name="T14" fmla="*/ 344 w 1903"/>
                  <a:gd name="T15" fmla="*/ 3447 h 3523"/>
                  <a:gd name="T16" fmla="*/ 403 w 1903"/>
                  <a:gd name="T17" fmla="*/ 3461 h 3523"/>
                  <a:gd name="T18" fmla="*/ 464 w 1903"/>
                  <a:gd name="T19" fmla="*/ 3474 h 3523"/>
                  <a:gd name="T20" fmla="*/ 524 w 1903"/>
                  <a:gd name="T21" fmla="*/ 3485 h 3523"/>
                  <a:gd name="T22" fmla="*/ 585 w 1903"/>
                  <a:gd name="T23" fmla="*/ 3495 h 3523"/>
                  <a:gd name="T24" fmla="*/ 646 w 1903"/>
                  <a:gd name="T25" fmla="*/ 3504 h 3523"/>
                  <a:gd name="T26" fmla="*/ 709 w 1903"/>
                  <a:gd name="T27" fmla="*/ 3511 h 3523"/>
                  <a:gd name="T28" fmla="*/ 771 w 1903"/>
                  <a:gd name="T29" fmla="*/ 3516 h 3523"/>
                  <a:gd name="T30" fmla="*/ 834 w 1903"/>
                  <a:gd name="T31" fmla="*/ 3520 h 3523"/>
                  <a:gd name="T32" fmla="*/ 897 w 1903"/>
                  <a:gd name="T33" fmla="*/ 3522 h 3523"/>
                  <a:gd name="T34" fmla="*/ 962 w 1903"/>
                  <a:gd name="T35" fmla="*/ 3523 h 3523"/>
                  <a:gd name="T36" fmla="*/ 1024 w 1903"/>
                  <a:gd name="T37" fmla="*/ 3522 h 3523"/>
                  <a:gd name="T38" fmla="*/ 1085 w 1903"/>
                  <a:gd name="T39" fmla="*/ 3520 h 3523"/>
                  <a:gd name="T40" fmla="*/ 1146 w 1903"/>
                  <a:gd name="T41" fmla="*/ 3516 h 3523"/>
                  <a:gd name="T42" fmla="*/ 1208 w 1903"/>
                  <a:gd name="T43" fmla="*/ 3511 h 3523"/>
                  <a:gd name="T44" fmla="*/ 1268 w 1903"/>
                  <a:gd name="T45" fmla="*/ 3504 h 3523"/>
                  <a:gd name="T46" fmla="*/ 1328 w 1903"/>
                  <a:gd name="T47" fmla="*/ 3496 h 3523"/>
                  <a:gd name="T48" fmla="*/ 1388 w 1903"/>
                  <a:gd name="T49" fmla="*/ 3487 h 3523"/>
                  <a:gd name="T50" fmla="*/ 1448 w 1903"/>
                  <a:gd name="T51" fmla="*/ 3476 h 3523"/>
                  <a:gd name="T52" fmla="*/ 1506 w 1903"/>
                  <a:gd name="T53" fmla="*/ 3464 h 3523"/>
                  <a:gd name="T54" fmla="*/ 1564 w 1903"/>
                  <a:gd name="T55" fmla="*/ 3450 h 3523"/>
                  <a:gd name="T56" fmla="*/ 1622 w 1903"/>
                  <a:gd name="T57" fmla="*/ 3435 h 3523"/>
                  <a:gd name="T58" fmla="*/ 1680 w 1903"/>
                  <a:gd name="T59" fmla="*/ 3419 h 3523"/>
                  <a:gd name="T60" fmla="*/ 1736 w 1903"/>
                  <a:gd name="T61" fmla="*/ 3402 h 3523"/>
                  <a:gd name="T62" fmla="*/ 1792 w 1903"/>
                  <a:gd name="T63" fmla="*/ 3383 h 3523"/>
                  <a:gd name="T64" fmla="*/ 1847 w 1903"/>
                  <a:gd name="T65" fmla="*/ 3363 h 3523"/>
                  <a:gd name="T66" fmla="*/ 1903 w 1903"/>
                  <a:gd name="T67" fmla="*/ 3340 h 3523"/>
                  <a:gd name="T68" fmla="*/ 1537 w 1903"/>
                  <a:gd name="T69" fmla="*/ 10 h 3523"/>
                  <a:gd name="T70" fmla="*/ 1520 w 1903"/>
                  <a:gd name="T71" fmla="*/ 8 h 3523"/>
                  <a:gd name="T72" fmla="*/ 1503 w 1903"/>
                  <a:gd name="T73" fmla="*/ 6 h 3523"/>
                  <a:gd name="T74" fmla="*/ 1487 w 1903"/>
                  <a:gd name="T75" fmla="*/ 4 h 3523"/>
                  <a:gd name="T76" fmla="*/ 1471 w 1903"/>
                  <a:gd name="T77" fmla="*/ 0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903" h="3523">
                    <a:moveTo>
                      <a:pt x="1471" y="0"/>
                    </a:moveTo>
                    <a:lnTo>
                      <a:pt x="0" y="3334"/>
                    </a:lnTo>
                    <a:lnTo>
                      <a:pt x="56" y="3357"/>
                    </a:lnTo>
                    <a:lnTo>
                      <a:pt x="112" y="3377"/>
                    </a:lnTo>
                    <a:lnTo>
                      <a:pt x="169" y="3397"/>
                    </a:lnTo>
                    <a:lnTo>
                      <a:pt x="227" y="3415"/>
                    </a:lnTo>
                    <a:lnTo>
                      <a:pt x="286" y="3432"/>
                    </a:lnTo>
                    <a:lnTo>
                      <a:pt x="344" y="3447"/>
                    </a:lnTo>
                    <a:lnTo>
                      <a:pt x="403" y="3461"/>
                    </a:lnTo>
                    <a:lnTo>
                      <a:pt x="464" y="3474"/>
                    </a:lnTo>
                    <a:lnTo>
                      <a:pt x="524" y="3485"/>
                    </a:lnTo>
                    <a:lnTo>
                      <a:pt x="585" y="3495"/>
                    </a:lnTo>
                    <a:lnTo>
                      <a:pt x="646" y="3504"/>
                    </a:lnTo>
                    <a:lnTo>
                      <a:pt x="709" y="3511"/>
                    </a:lnTo>
                    <a:lnTo>
                      <a:pt x="771" y="3516"/>
                    </a:lnTo>
                    <a:lnTo>
                      <a:pt x="834" y="3520"/>
                    </a:lnTo>
                    <a:lnTo>
                      <a:pt x="897" y="3522"/>
                    </a:lnTo>
                    <a:lnTo>
                      <a:pt x="962" y="3523"/>
                    </a:lnTo>
                    <a:lnTo>
                      <a:pt x="1024" y="3522"/>
                    </a:lnTo>
                    <a:lnTo>
                      <a:pt x="1085" y="3520"/>
                    </a:lnTo>
                    <a:lnTo>
                      <a:pt x="1146" y="3516"/>
                    </a:lnTo>
                    <a:lnTo>
                      <a:pt x="1208" y="3511"/>
                    </a:lnTo>
                    <a:lnTo>
                      <a:pt x="1268" y="3504"/>
                    </a:lnTo>
                    <a:lnTo>
                      <a:pt x="1328" y="3496"/>
                    </a:lnTo>
                    <a:lnTo>
                      <a:pt x="1388" y="3487"/>
                    </a:lnTo>
                    <a:lnTo>
                      <a:pt x="1448" y="3476"/>
                    </a:lnTo>
                    <a:lnTo>
                      <a:pt x="1506" y="3464"/>
                    </a:lnTo>
                    <a:lnTo>
                      <a:pt x="1564" y="3450"/>
                    </a:lnTo>
                    <a:lnTo>
                      <a:pt x="1622" y="3435"/>
                    </a:lnTo>
                    <a:lnTo>
                      <a:pt x="1680" y="3419"/>
                    </a:lnTo>
                    <a:lnTo>
                      <a:pt x="1736" y="3402"/>
                    </a:lnTo>
                    <a:lnTo>
                      <a:pt x="1792" y="3383"/>
                    </a:lnTo>
                    <a:lnTo>
                      <a:pt x="1847" y="3363"/>
                    </a:lnTo>
                    <a:lnTo>
                      <a:pt x="1903" y="3340"/>
                    </a:lnTo>
                    <a:lnTo>
                      <a:pt x="1537" y="10"/>
                    </a:lnTo>
                    <a:lnTo>
                      <a:pt x="1520" y="8"/>
                    </a:lnTo>
                    <a:lnTo>
                      <a:pt x="1503" y="6"/>
                    </a:lnTo>
                    <a:lnTo>
                      <a:pt x="1487" y="4"/>
                    </a:lnTo>
                    <a:lnTo>
                      <a:pt x="147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27" name="Freeform 13"/>
              <p:cNvSpPr>
                <a:spLocks/>
              </p:cNvSpPr>
              <p:nvPr/>
            </p:nvSpPr>
            <p:spPr bwMode="auto">
              <a:xfrm>
                <a:off x="11136" y="313693"/>
                <a:ext cx="289552" cy="341522"/>
              </a:xfrm>
              <a:custGeom>
                <a:avLst/>
                <a:gdLst>
                  <a:gd name="T0" fmla="*/ 2765 w 2816"/>
                  <a:gd name="T1" fmla="*/ 0 h 3305"/>
                  <a:gd name="T2" fmla="*/ 0 w 2816"/>
                  <a:gd name="T3" fmla="*/ 1820 h 3305"/>
                  <a:gd name="T4" fmla="*/ 19 w 2816"/>
                  <a:gd name="T5" fmla="*/ 1879 h 3305"/>
                  <a:gd name="T6" fmla="*/ 39 w 2816"/>
                  <a:gd name="T7" fmla="*/ 1938 h 3305"/>
                  <a:gd name="T8" fmla="*/ 60 w 2816"/>
                  <a:gd name="T9" fmla="*/ 1996 h 3305"/>
                  <a:gd name="T10" fmla="*/ 83 w 2816"/>
                  <a:gd name="T11" fmla="*/ 2053 h 3305"/>
                  <a:gd name="T12" fmla="*/ 107 w 2816"/>
                  <a:gd name="T13" fmla="*/ 2109 h 3305"/>
                  <a:gd name="T14" fmla="*/ 132 w 2816"/>
                  <a:gd name="T15" fmla="*/ 2166 h 3305"/>
                  <a:gd name="T16" fmla="*/ 159 w 2816"/>
                  <a:gd name="T17" fmla="*/ 2221 h 3305"/>
                  <a:gd name="T18" fmla="*/ 186 w 2816"/>
                  <a:gd name="T19" fmla="*/ 2276 h 3305"/>
                  <a:gd name="T20" fmla="*/ 215 w 2816"/>
                  <a:gd name="T21" fmla="*/ 2329 h 3305"/>
                  <a:gd name="T22" fmla="*/ 246 w 2816"/>
                  <a:gd name="T23" fmla="*/ 2382 h 3305"/>
                  <a:gd name="T24" fmla="*/ 278 w 2816"/>
                  <a:gd name="T25" fmla="*/ 2434 h 3305"/>
                  <a:gd name="T26" fmla="*/ 311 w 2816"/>
                  <a:gd name="T27" fmla="*/ 2486 h 3305"/>
                  <a:gd name="T28" fmla="*/ 345 w 2816"/>
                  <a:gd name="T29" fmla="*/ 2536 h 3305"/>
                  <a:gd name="T30" fmla="*/ 380 w 2816"/>
                  <a:gd name="T31" fmla="*/ 2586 h 3305"/>
                  <a:gd name="T32" fmla="*/ 417 w 2816"/>
                  <a:gd name="T33" fmla="*/ 2634 h 3305"/>
                  <a:gd name="T34" fmla="*/ 454 w 2816"/>
                  <a:gd name="T35" fmla="*/ 2682 h 3305"/>
                  <a:gd name="T36" fmla="*/ 494 w 2816"/>
                  <a:gd name="T37" fmla="*/ 2728 h 3305"/>
                  <a:gd name="T38" fmla="*/ 533 w 2816"/>
                  <a:gd name="T39" fmla="*/ 2774 h 3305"/>
                  <a:gd name="T40" fmla="*/ 574 w 2816"/>
                  <a:gd name="T41" fmla="*/ 2820 h 3305"/>
                  <a:gd name="T42" fmla="*/ 616 w 2816"/>
                  <a:gd name="T43" fmla="*/ 2864 h 3305"/>
                  <a:gd name="T44" fmla="*/ 658 w 2816"/>
                  <a:gd name="T45" fmla="*/ 2906 h 3305"/>
                  <a:gd name="T46" fmla="*/ 702 w 2816"/>
                  <a:gd name="T47" fmla="*/ 2948 h 3305"/>
                  <a:gd name="T48" fmla="*/ 748 w 2816"/>
                  <a:gd name="T49" fmla="*/ 2989 h 3305"/>
                  <a:gd name="T50" fmla="*/ 794 w 2816"/>
                  <a:gd name="T51" fmla="*/ 3028 h 3305"/>
                  <a:gd name="T52" fmla="*/ 840 w 2816"/>
                  <a:gd name="T53" fmla="*/ 3067 h 3305"/>
                  <a:gd name="T54" fmla="*/ 888 w 2816"/>
                  <a:gd name="T55" fmla="*/ 3104 h 3305"/>
                  <a:gd name="T56" fmla="*/ 936 w 2816"/>
                  <a:gd name="T57" fmla="*/ 3141 h 3305"/>
                  <a:gd name="T58" fmla="*/ 987 w 2816"/>
                  <a:gd name="T59" fmla="*/ 3176 h 3305"/>
                  <a:gd name="T60" fmla="*/ 1037 w 2816"/>
                  <a:gd name="T61" fmla="*/ 3210 h 3305"/>
                  <a:gd name="T62" fmla="*/ 1088 w 2816"/>
                  <a:gd name="T63" fmla="*/ 3243 h 3305"/>
                  <a:gd name="T64" fmla="*/ 1140 w 2816"/>
                  <a:gd name="T65" fmla="*/ 3274 h 3305"/>
                  <a:gd name="T66" fmla="*/ 1193 w 2816"/>
                  <a:gd name="T67" fmla="*/ 3305 h 3305"/>
                  <a:gd name="T68" fmla="*/ 2816 w 2816"/>
                  <a:gd name="T69" fmla="*/ 46 h 3305"/>
                  <a:gd name="T70" fmla="*/ 2802 w 2816"/>
                  <a:gd name="T71" fmla="*/ 35 h 3305"/>
                  <a:gd name="T72" fmla="*/ 2789 w 2816"/>
                  <a:gd name="T73" fmla="*/ 24 h 3305"/>
                  <a:gd name="T74" fmla="*/ 2777 w 2816"/>
                  <a:gd name="T75" fmla="*/ 12 h 3305"/>
                  <a:gd name="T76" fmla="*/ 2765 w 2816"/>
                  <a:gd name="T77" fmla="*/ 0 h 3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16" h="3305">
                    <a:moveTo>
                      <a:pt x="2765" y="0"/>
                    </a:moveTo>
                    <a:lnTo>
                      <a:pt x="0" y="1820"/>
                    </a:lnTo>
                    <a:lnTo>
                      <a:pt x="19" y="1879"/>
                    </a:lnTo>
                    <a:lnTo>
                      <a:pt x="39" y="1938"/>
                    </a:lnTo>
                    <a:lnTo>
                      <a:pt x="60" y="1996"/>
                    </a:lnTo>
                    <a:lnTo>
                      <a:pt x="83" y="2053"/>
                    </a:lnTo>
                    <a:lnTo>
                      <a:pt x="107" y="2109"/>
                    </a:lnTo>
                    <a:lnTo>
                      <a:pt x="132" y="2166"/>
                    </a:lnTo>
                    <a:lnTo>
                      <a:pt x="159" y="2221"/>
                    </a:lnTo>
                    <a:lnTo>
                      <a:pt x="186" y="2276"/>
                    </a:lnTo>
                    <a:lnTo>
                      <a:pt x="215" y="2329"/>
                    </a:lnTo>
                    <a:lnTo>
                      <a:pt x="246" y="2382"/>
                    </a:lnTo>
                    <a:lnTo>
                      <a:pt x="278" y="2434"/>
                    </a:lnTo>
                    <a:lnTo>
                      <a:pt x="311" y="2486"/>
                    </a:lnTo>
                    <a:lnTo>
                      <a:pt x="345" y="2536"/>
                    </a:lnTo>
                    <a:lnTo>
                      <a:pt x="380" y="2586"/>
                    </a:lnTo>
                    <a:lnTo>
                      <a:pt x="417" y="2634"/>
                    </a:lnTo>
                    <a:lnTo>
                      <a:pt x="454" y="2682"/>
                    </a:lnTo>
                    <a:lnTo>
                      <a:pt x="494" y="2728"/>
                    </a:lnTo>
                    <a:lnTo>
                      <a:pt x="533" y="2774"/>
                    </a:lnTo>
                    <a:lnTo>
                      <a:pt x="574" y="2820"/>
                    </a:lnTo>
                    <a:lnTo>
                      <a:pt x="616" y="2864"/>
                    </a:lnTo>
                    <a:lnTo>
                      <a:pt x="658" y="2906"/>
                    </a:lnTo>
                    <a:lnTo>
                      <a:pt x="702" y="2948"/>
                    </a:lnTo>
                    <a:lnTo>
                      <a:pt x="748" y="2989"/>
                    </a:lnTo>
                    <a:lnTo>
                      <a:pt x="794" y="3028"/>
                    </a:lnTo>
                    <a:lnTo>
                      <a:pt x="840" y="3067"/>
                    </a:lnTo>
                    <a:lnTo>
                      <a:pt x="888" y="3104"/>
                    </a:lnTo>
                    <a:lnTo>
                      <a:pt x="936" y="3141"/>
                    </a:lnTo>
                    <a:lnTo>
                      <a:pt x="987" y="3176"/>
                    </a:lnTo>
                    <a:lnTo>
                      <a:pt x="1037" y="3210"/>
                    </a:lnTo>
                    <a:lnTo>
                      <a:pt x="1088" y="3243"/>
                    </a:lnTo>
                    <a:lnTo>
                      <a:pt x="1140" y="3274"/>
                    </a:lnTo>
                    <a:lnTo>
                      <a:pt x="1193" y="3305"/>
                    </a:lnTo>
                    <a:lnTo>
                      <a:pt x="2816" y="46"/>
                    </a:lnTo>
                    <a:lnTo>
                      <a:pt x="2802" y="35"/>
                    </a:lnTo>
                    <a:lnTo>
                      <a:pt x="2789" y="24"/>
                    </a:lnTo>
                    <a:lnTo>
                      <a:pt x="2777" y="12"/>
                    </a:lnTo>
                    <a:lnTo>
                      <a:pt x="276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28" name="Freeform 14"/>
              <p:cNvSpPr>
                <a:spLocks/>
              </p:cNvSpPr>
              <p:nvPr/>
            </p:nvSpPr>
            <p:spPr bwMode="auto">
              <a:xfrm>
                <a:off x="332860" y="319881"/>
                <a:ext cx="176948" cy="335336"/>
              </a:xfrm>
              <a:custGeom>
                <a:avLst/>
                <a:gdLst>
                  <a:gd name="T0" fmla="*/ 0 w 1719"/>
                  <a:gd name="T1" fmla="*/ 38 h 3256"/>
                  <a:gd name="T2" fmla="*/ 517 w 1719"/>
                  <a:gd name="T3" fmla="*/ 3256 h 3256"/>
                  <a:gd name="T4" fmla="*/ 571 w 1719"/>
                  <a:gd name="T5" fmla="*/ 3226 h 3256"/>
                  <a:gd name="T6" fmla="*/ 623 w 1719"/>
                  <a:gd name="T7" fmla="*/ 3194 h 3256"/>
                  <a:gd name="T8" fmla="*/ 676 w 1719"/>
                  <a:gd name="T9" fmla="*/ 3161 h 3256"/>
                  <a:gd name="T10" fmla="*/ 726 w 1719"/>
                  <a:gd name="T11" fmla="*/ 3127 h 3256"/>
                  <a:gd name="T12" fmla="*/ 776 w 1719"/>
                  <a:gd name="T13" fmla="*/ 3092 h 3256"/>
                  <a:gd name="T14" fmla="*/ 825 w 1719"/>
                  <a:gd name="T15" fmla="*/ 3054 h 3256"/>
                  <a:gd name="T16" fmla="*/ 873 w 1719"/>
                  <a:gd name="T17" fmla="*/ 3017 h 3256"/>
                  <a:gd name="T18" fmla="*/ 921 w 1719"/>
                  <a:gd name="T19" fmla="*/ 2978 h 3256"/>
                  <a:gd name="T20" fmla="*/ 967 w 1719"/>
                  <a:gd name="T21" fmla="*/ 2938 h 3256"/>
                  <a:gd name="T22" fmla="*/ 1013 w 1719"/>
                  <a:gd name="T23" fmla="*/ 2898 h 3256"/>
                  <a:gd name="T24" fmla="*/ 1057 w 1719"/>
                  <a:gd name="T25" fmla="*/ 2856 h 3256"/>
                  <a:gd name="T26" fmla="*/ 1100 w 1719"/>
                  <a:gd name="T27" fmla="*/ 2813 h 3256"/>
                  <a:gd name="T28" fmla="*/ 1142 w 1719"/>
                  <a:gd name="T29" fmla="*/ 2769 h 3256"/>
                  <a:gd name="T30" fmla="*/ 1184 w 1719"/>
                  <a:gd name="T31" fmla="*/ 2723 h 3256"/>
                  <a:gd name="T32" fmla="*/ 1224 w 1719"/>
                  <a:gd name="T33" fmla="*/ 2676 h 3256"/>
                  <a:gd name="T34" fmla="*/ 1263 w 1719"/>
                  <a:gd name="T35" fmla="*/ 2630 h 3256"/>
                  <a:gd name="T36" fmla="*/ 1300 w 1719"/>
                  <a:gd name="T37" fmla="*/ 2582 h 3256"/>
                  <a:gd name="T38" fmla="*/ 1337 w 1719"/>
                  <a:gd name="T39" fmla="*/ 2533 h 3256"/>
                  <a:gd name="T40" fmla="*/ 1372 w 1719"/>
                  <a:gd name="T41" fmla="*/ 2483 h 3256"/>
                  <a:gd name="T42" fmla="*/ 1408 w 1719"/>
                  <a:gd name="T43" fmla="*/ 2432 h 3256"/>
                  <a:gd name="T44" fmla="*/ 1441 w 1719"/>
                  <a:gd name="T45" fmla="*/ 2380 h 3256"/>
                  <a:gd name="T46" fmla="*/ 1472 w 1719"/>
                  <a:gd name="T47" fmla="*/ 2327 h 3256"/>
                  <a:gd name="T48" fmla="*/ 1503 w 1719"/>
                  <a:gd name="T49" fmla="*/ 2274 h 3256"/>
                  <a:gd name="T50" fmla="*/ 1532 w 1719"/>
                  <a:gd name="T51" fmla="*/ 2220 h 3256"/>
                  <a:gd name="T52" fmla="*/ 1560 w 1719"/>
                  <a:gd name="T53" fmla="*/ 2165 h 3256"/>
                  <a:gd name="T54" fmla="*/ 1587 w 1719"/>
                  <a:gd name="T55" fmla="*/ 2110 h 3256"/>
                  <a:gd name="T56" fmla="*/ 1612 w 1719"/>
                  <a:gd name="T57" fmla="*/ 2052 h 3256"/>
                  <a:gd name="T58" fmla="*/ 1637 w 1719"/>
                  <a:gd name="T59" fmla="*/ 1995 h 3256"/>
                  <a:gd name="T60" fmla="*/ 1659 w 1719"/>
                  <a:gd name="T61" fmla="*/ 1938 h 3256"/>
                  <a:gd name="T62" fmla="*/ 1681 w 1719"/>
                  <a:gd name="T63" fmla="*/ 1879 h 3256"/>
                  <a:gd name="T64" fmla="*/ 1700 w 1719"/>
                  <a:gd name="T65" fmla="*/ 1820 h 3256"/>
                  <a:gd name="T66" fmla="*/ 1719 w 1719"/>
                  <a:gd name="T67" fmla="*/ 1760 h 3256"/>
                  <a:gd name="T68" fmla="*/ 81 w 1719"/>
                  <a:gd name="T69" fmla="*/ 0 h 3256"/>
                  <a:gd name="T70" fmla="*/ 62 w 1719"/>
                  <a:gd name="T71" fmla="*/ 11 h 3256"/>
                  <a:gd name="T72" fmla="*/ 42 w 1719"/>
                  <a:gd name="T73" fmla="*/ 22 h 3256"/>
                  <a:gd name="T74" fmla="*/ 21 w 1719"/>
                  <a:gd name="T75" fmla="*/ 31 h 3256"/>
                  <a:gd name="T76" fmla="*/ 0 w 1719"/>
                  <a:gd name="T77" fmla="*/ 38 h 3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719" h="3256">
                    <a:moveTo>
                      <a:pt x="0" y="38"/>
                    </a:moveTo>
                    <a:lnTo>
                      <a:pt x="517" y="3256"/>
                    </a:lnTo>
                    <a:lnTo>
                      <a:pt x="571" y="3226"/>
                    </a:lnTo>
                    <a:lnTo>
                      <a:pt x="623" y="3194"/>
                    </a:lnTo>
                    <a:lnTo>
                      <a:pt x="676" y="3161"/>
                    </a:lnTo>
                    <a:lnTo>
                      <a:pt x="726" y="3127"/>
                    </a:lnTo>
                    <a:lnTo>
                      <a:pt x="776" y="3092"/>
                    </a:lnTo>
                    <a:lnTo>
                      <a:pt x="825" y="3054"/>
                    </a:lnTo>
                    <a:lnTo>
                      <a:pt x="873" y="3017"/>
                    </a:lnTo>
                    <a:lnTo>
                      <a:pt x="921" y="2978"/>
                    </a:lnTo>
                    <a:lnTo>
                      <a:pt x="967" y="2938"/>
                    </a:lnTo>
                    <a:lnTo>
                      <a:pt x="1013" y="2898"/>
                    </a:lnTo>
                    <a:lnTo>
                      <a:pt x="1057" y="2856"/>
                    </a:lnTo>
                    <a:lnTo>
                      <a:pt x="1100" y="2813"/>
                    </a:lnTo>
                    <a:lnTo>
                      <a:pt x="1142" y="2769"/>
                    </a:lnTo>
                    <a:lnTo>
                      <a:pt x="1184" y="2723"/>
                    </a:lnTo>
                    <a:lnTo>
                      <a:pt x="1224" y="2676"/>
                    </a:lnTo>
                    <a:lnTo>
                      <a:pt x="1263" y="2630"/>
                    </a:lnTo>
                    <a:lnTo>
                      <a:pt x="1300" y="2582"/>
                    </a:lnTo>
                    <a:lnTo>
                      <a:pt x="1337" y="2533"/>
                    </a:lnTo>
                    <a:lnTo>
                      <a:pt x="1372" y="2483"/>
                    </a:lnTo>
                    <a:lnTo>
                      <a:pt x="1408" y="2432"/>
                    </a:lnTo>
                    <a:lnTo>
                      <a:pt x="1441" y="2380"/>
                    </a:lnTo>
                    <a:lnTo>
                      <a:pt x="1472" y="2327"/>
                    </a:lnTo>
                    <a:lnTo>
                      <a:pt x="1503" y="2274"/>
                    </a:lnTo>
                    <a:lnTo>
                      <a:pt x="1532" y="2220"/>
                    </a:lnTo>
                    <a:lnTo>
                      <a:pt x="1560" y="2165"/>
                    </a:lnTo>
                    <a:lnTo>
                      <a:pt x="1587" y="2110"/>
                    </a:lnTo>
                    <a:lnTo>
                      <a:pt x="1612" y="2052"/>
                    </a:lnTo>
                    <a:lnTo>
                      <a:pt x="1637" y="1995"/>
                    </a:lnTo>
                    <a:lnTo>
                      <a:pt x="1659" y="1938"/>
                    </a:lnTo>
                    <a:lnTo>
                      <a:pt x="1681" y="1879"/>
                    </a:lnTo>
                    <a:lnTo>
                      <a:pt x="1700" y="1820"/>
                    </a:lnTo>
                    <a:lnTo>
                      <a:pt x="1719" y="1760"/>
                    </a:lnTo>
                    <a:lnTo>
                      <a:pt x="81" y="0"/>
                    </a:lnTo>
                    <a:lnTo>
                      <a:pt x="62" y="11"/>
                    </a:lnTo>
                    <a:lnTo>
                      <a:pt x="42" y="22"/>
                    </a:lnTo>
                    <a:lnTo>
                      <a:pt x="21" y="31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29" name="Freeform 15"/>
              <p:cNvSpPr>
                <a:spLocks/>
              </p:cNvSpPr>
              <p:nvPr/>
            </p:nvSpPr>
            <p:spPr bwMode="auto">
              <a:xfrm>
                <a:off x="66820" y="167680"/>
                <a:ext cx="232631" cy="112604"/>
              </a:xfrm>
              <a:custGeom>
                <a:avLst/>
                <a:gdLst>
                  <a:gd name="T0" fmla="*/ 2261 w 2261"/>
                  <a:gd name="T1" fmla="*/ 923 h 1092"/>
                  <a:gd name="T2" fmla="*/ 1733 w 2261"/>
                  <a:gd name="T3" fmla="*/ 0 h 1092"/>
                  <a:gd name="T4" fmla="*/ 1669 w 2261"/>
                  <a:gd name="T5" fmla="*/ 5 h 1092"/>
                  <a:gd name="T6" fmla="*/ 1605 w 2261"/>
                  <a:gd name="T7" fmla="*/ 11 h 1092"/>
                  <a:gd name="T8" fmla="*/ 1541 w 2261"/>
                  <a:gd name="T9" fmla="*/ 18 h 1092"/>
                  <a:gd name="T10" fmla="*/ 1479 w 2261"/>
                  <a:gd name="T11" fmla="*/ 27 h 1092"/>
                  <a:gd name="T12" fmla="*/ 1417 w 2261"/>
                  <a:gd name="T13" fmla="*/ 38 h 1092"/>
                  <a:gd name="T14" fmla="*/ 1354 w 2261"/>
                  <a:gd name="T15" fmla="*/ 50 h 1092"/>
                  <a:gd name="T16" fmla="*/ 1293 w 2261"/>
                  <a:gd name="T17" fmla="*/ 64 h 1092"/>
                  <a:gd name="T18" fmla="*/ 1233 w 2261"/>
                  <a:gd name="T19" fmla="*/ 79 h 1092"/>
                  <a:gd name="T20" fmla="*/ 1173 w 2261"/>
                  <a:gd name="T21" fmla="*/ 96 h 1092"/>
                  <a:gd name="T22" fmla="*/ 1113 w 2261"/>
                  <a:gd name="T23" fmla="*/ 114 h 1092"/>
                  <a:gd name="T24" fmla="*/ 1054 w 2261"/>
                  <a:gd name="T25" fmla="*/ 133 h 1092"/>
                  <a:gd name="T26" fmla="*/ 996 w 2261"/>
                  <a:gd name="T27" fmla="*/ 154 h 1092"/>
                  <a:gd name="T28" fmla="*/ 939 w 2261"/>
                  <a:gd name="T29" fmla="*/ 177 h 1092"/>
                  <a:gd name="T30" fmla="*/ 881 w 2261"/>
                  <a:gd name="T31" fmla="*/ 201 h 1092"/>
                  <a:gd name="T32" fmla="*/ 826 w 2261"/>
                  <a:gd name="T33" fmla="*/ 226 h 1092"/>
                  <a:gd name="T34" fmla="*/ 770 w 2261"/>
                  <a:gd name="T35" fmla="*/ 252 h 1092"/>
                  <a:gd name="T36" fmla="*/ 716 w 2261"/>
                  <a:gd name="T37" fmla="*/ 280 h 1092"/>
                  <a:gd name="T38" fmla="*/ 662 w 2261"/>
                  <a:gd name="T39" fmla="*/ 308 h 1092"/>
                  <a:gd name="T40" fmla="*/ 609 w 2261"/>
                  <a:gd name="T41" fmla="*/ 338 h 1092"/>
                  <a:gd name="T42" fmla="*/ 557 w 2261"/>
                  <a:gd name="T43" fmla="*/ 370 h 1092"/>
                  <a:gd name="T44" fmla="*/ 505 w 2261"/>
                  <a:gd name="T45" fmla="*/ 402 h 1092"/>
                  <a:gd name="T46" fmla="*/ 455 w 2261"/>
                  <a:gd name="T47" fmla="*/ 436 h 1092"/>
                  <a:gd name="T48" fmla="*/ 405 w 2261"/>
                  <a:gd name="T49" fmla="*/ 471 h 1092"/>
                  <a:gd name="T50" fmla="*/ 356 w 2261"/>
                  <a:gd name="T51" fmla="*/ 507 h 1092"/>
                  <a:gd name="T52" fmla="*/ 308 w 2261"/>
                  <a:gd name="T53" fmla="*/ 545 h 1092"/>
                  <a:gd name="T54" fmla="*/ 261 w 2261"/>
                  <a:gd name="T55" fmla="*/ 583 h 1092"/>
                  <a:gd name="T56" fmla="*/ 216 w 2261"/>
                  <a:gd name="T57" fmla="*/ 622 h 1092"/>
                  <a:gd name="T58" fmla="*/ 170 w 2261"/>
                  <a:gd name="T59" fmla="*/ 663 h 1092"/>
                  <a:gd name="T60" fmla="*/ 126 w 2261"/>
                  <a:gd name="T61" fmla="*/ 704 h 1092"/>
                  <a:gd name="T62" fmla="*/ 83 w 2261"/>
                  <a:gd name="T63" fmla="*/ 746 h 1092"/>
                  <a:gd name="T64" fmla="*/ 41 w 2261"/>
                  <a:gd name="T65" fmla="*/ 790 h 1092"/>
                  <a:gd name="T66" fmla="*/ 0 w 2261"/>
                  <a:gd name="T67" fmla="*/ 834 h 1092"/>
                  <a:gd name="T68" fmla="*/ 2148 w 2261"/>
                  <a:gd name="T69" fmla="*/ 1092 h 1092"/>
                  <a:gd name="T70" fmla="*/ 2152 w 2261"/>
                  <a:gd name="T71" fmla="*/ 1079 h 1092"/>
                  <a:gd name="T72" fmla="*/ 2157 w 2261"/>
                  <a:gd name="T73" fmla="*/ 1067 h 1092"/>
                  <a:gd name="T74" fmla="*/ 2162 w 2261"/>
                  <a:gd name="T75" fmla="*/ 1055 h 1092"/>
                  <a:gd name="T76" fmla="*/ 2167 w 2261"/>
                  <a:gd name="T77" fmla="*/ 1043 h 1092"/>
                  <a:gd name="T78" fmla="*/ 2179 w 2261"/>
                  <a:gd name="T79" fmla="*/ 1020 h 1092"/>
                  <a:gd name="T80" fmla="*/ 2192 w 2261"/>
                  <a:gd name="T81" fmla="*/ 998 h 1092"/>
                  <a:gd name="T82" fmla="*/ 2207 w 2261"/>
                  <a:gd name="T83" fmla="*/ 978 h 1092"/>
                  <a:gd name="T84" fmla="*/ 2223 w 2261"/>
                  <a:gd name="T85" fmla="*/ 958 h 1092"/>
                  <a:gd name="T86" fmla="*/ 2241 w 2261"/>
                  <a:gd name="T87" fmla="*/ 940 h 1092"/>
                  <a:gd name="T88" fmla="*/ 2261 w 2261"/>
                  <a:gd name="T89" fmla="*/ 923 h 10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261" h="1092">
                    <a:moveTo>
                      <a:pt x="2261" y="923"/>
                    </a:moveTo>
                    <a:lnTo>
                      <a:pt x="1733" y="0"/>
                    </a:lnTo>
                    <a:lnTo>
                      <a:pt x="1669" y="5"/>
                    </a:lnTo>
                    <a:lnTo>
                      <a:pt x="1605" y="11"/>
                    </a:lnTo>
                    <a:lnTo>
                      <a:pt x="1541" y="18"/>
                    </a:lnTo>
                    <a:lnTo>
                      <a:pt x="1479" y="27"/>
                    </a:lnTo>
                    <a:lnTo>
                      <a:pt x="1417" y="38"/>
                    </a:lnTo>
                    <a:lnTo>
                      <a:pt x="1354" y="50"/>
                    </a:lnTo>
                    <a:lnTo>
                      <a:pt x="1293" y="64"/>
                    </a:lnTo>
                    <a:lnTo>
                      <a:pt x="1233" y="79"/>
                    </a:lnTo>
                    <a:lnTo>
                      <a:pt x="1173" y="96"/>
                    </a:lnTo>
                    <a:lnTo>
                      <a:pt x="1113" y="114"/>
                    </a:lnTo>
                    <a:lnTo>
                      <a:pt x="1054" y="133"/>
                    </a:lnTo>
                    <a:lnTo>
                      <a:pt x="996" y="154"/>
                    </a:lnTo>
                    <a:lnTo>
                      <a:pt x="939" y="177"/>
                    </a:lnTo>
                    <a:lnTo>
                      <a:pt x="881" y="201"/>
                    </a:lnTo>
                    <a:lnTo>
                      <a:pt x="826" y="226"/>
                    </a:lnTo>
                    <a:lnTo>
                      <a:pt x="770" y="252"/>
                    </a:lnTo>
                    <a:lnTo>
                      <a:pt x="716" y="280"/>
                    </a:lnTo>
                    <a:lnTo>
                      <a:pt x="662" y="308"/>
                    </a:lnTo>
                    <a:lnTo>
                      <a:pt x="609" y="338"/>
                    </a:lnTo>
                    <a:lnTo>
                      <a:pt x="557" y="370"/>
                    </a:lnTo>
                    <a:lnTo>
                      <a:pt x="505" y="402"/>
                    </a:lnTo>
                    <a:lnTo>
                      <a:pt x="455" y="436"/>
                    </a:lnTo>
                    <a:lnTo>
                      <a:pt x="405" y="471"/>
                    </a:lnTo>
                    <a:lnTo>
                      <a:pt x="356" y="507"/>
                    </a:lnTo>
                    <a:lnTo>
                      <a:pt x="308" y="545"/>
                    </a:lnTo>
                    <a:lnTo>
                      <a:pt x="261" y="583"/>
                    </a:lnTo>
                    <a:lnTo>
                      <a:pt x="216" y="622"/>
                    </a:lnTo>
                    <a:lnTo>
                      <a:pt x="170" y="663"/>
                    </a:lnTo>
                    <a:lnTo>
                      <a:pt x="126" y="704"/>
                    </a:lnTo>
                    <a:lnTo>
                      <a:pt x="83" y="746"/>
                    </a:lnTo>
                    <a:lnTo>
                      <a:pt x="41" y="790"/>
                    </a:lnTo>
                    <a:lnTo>
                      <a:pt x="0" y="834"/>
                    </a:lnTo>
                    <a:lnTo>
                      <a:pt x="2148" y="1092"/>
                    </a:lnTo>
                    <a:lnTo>
                      <a:pt x="2152" y="1079"/>
                    </a:lnTo>
                    <a:lnTo>
                      <a:pt x="2157" y="1067"/>
                    </a:lnTo>
                    <a:lnTo>
                      <a:pt x="2162" y="1055"/>
                    </a:lnTo>
                    <a:lnTo>
                      <a:pt x="2167" y="1043"/>
                    </a:lnTo>
                    <a:lnTo>
                      <a:pt x="2179" y="1020"/>
                    </a:lnTo>
                    <a:lnTo>
                      <a:pt x="2192" y="998"/>
                    </a:lnTo>
                    <a:lnTo>
                      <a:pt x="2207" y="978"/>
                    </a:lnTo>
                    <a:lnTo>
                      <a:pt x="2223" y="958"/>
                    </a:lnTo>
                    <a:lnTo>
                      <a:pt x="2241" y="940"/>
                    </a:lnTo>
                    <a:lnTo>
                      <a:pt x="2261" y="9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30" name="Freeform 16"/>
              <p:cNvSpPr>
                <a:spLocks/>
              </p:cNvSpPr>
              <p:nvPr/>
            </p:nvSpPr>
            <p:spPr bwMode="auto">
              <a:xfrm>
                <a:off x="351422" y="277809"/>
                <a:ext cx="169523" cy="189323"/>
              </a:xfrm>
              <a:custGeom>
                <a:avLst/>
                <a:gdLst>
                  <a:gd name="T0" fmla="*/ 58 w 1648"/>
                  <a:gd name="T1" fmla="*/ 136 h 1845"/>
                  <a:gd name="T2" fmla="*/ 56 w 1648"/>
                  <a:gd name="T3" fmla="*/ 160 h 1845"/>
                  <a:gd name="T4" fmla="*/ 53 w 1648"/>
                  <a:gd name="T5" fmla="*/ 184 h 1845"/>
                  <a:gd name="T6" fmla="*/ 48 w 1648"/>
                  <a:gd name="T7" fmla="*/ 207 h 1845"/>
                  <a:gd name="T8" fmla="*/ 41 w 1648"/>
                  <a:gd name="T9" fmla="*/ 230 h 1845"/>
                  <a:gd name="T10" fmla="*/ 33 w 1648"/>
                  <a:gd name="T11" fmla="*/ 252 h 1845"/>
                  <a:gd name="T12" fmla="*/ 23 w 1648"/>
                  <a:gd name="T13" fmla="*/ 273 h 1845"/>
                  <a:gd name="T14" fmla="*/ 12 w 1648"/>
                  <a:gd name="T15" fmla="*/ 293 h 1845"/>
                  <a:gd name="T16" fmla="*/ 0 w 1648"/>
                  <a:gd name="T17" fmla="*/ 313 h 1845"/>
                  <a:gd name="T18" fmla="*/ 1617 w 1648"/>
                  <a:gd name="T19" fmla="*/ 1845 h 1845"/>
                  <a:gd name="T20" fmla="*/ 1624 w 1648"/>
                  <a:gd name="T21" fmla="*/ 1797 h 1845"/>
                  <a:gd name="T22" fmla="*/ 1630 w 1648"/>
                  <a:gd name="T23" fmla="*/ 1748 h 1845"/>
                  <a:gd name="T24" fmla="*/ 1635 w 1648"/>
                  <a:gd name="T25" fmla="*/ 1700 h 1845"/>
                  <a:gd name="T26" fmla="*/ 1640 w 1648"/>
                  <a:gd name="T27" fmla="*/ 1651 h 1845"/>
                  <a:gd name="T28" fmla="*/ 1643 w 1648"/>
                  <a:gd name="T29" fmla="*/ 1602 h 1845"/>
                  <a:gd name="T30" fmla="*/ 1646 w 1648"/>
                  <a:gd name="T31" fmla="*/ 1552 h 1845"/>
                  <a:gd name="T32" fmla="*/ 1647 w 1648"/>
                  <a:gd name="T33" fmla="*/ 1503 h 1845"/>
                  <a:gd name="T34" fmla="*/ 1648 w 1648"/>
                  <a:gd name="T35" fmla="*/ 1452 h 1845"/>
                  <a:gd name="T36" fmla="*/ 1647 w 1648"/>
                  <a:gd name="T37" fmla="*/ 1401 h 1845"/>
                  <a:gd name="T38" fmla="*/ 1646 w 1648"/>
                  <a:gd name="T39" fmla="*/ 1351 h 1845"/>
                  <a:gd name="T40" fmla="*/ 1643 w 1648"/>
                  <a:gd name="T41" fmla="*/ 1301 h 1845"/>
                  <a:gd name="T42" fmla="*/ 1640 w 1648"/>
                  <a:gd name="T43" fmla="*/ 1251 h 1845"/>
                  <a:gd name="T44" fmla="*/ 1635 w 1648"/>
                  <a:gd name="T45" fmla="*/ 1202 h 1845"/>
                  <a:gd name="T46" fmla="*/ 1630 w 1648"/>
                  <a:gd name="T47" fmla="*/ 1153 h 1845"/>
                  <a:gd name="T48" fmla="*/ 1624 w 1648"/>
                  <a:gd name="T49" fmla="*/ 1103 h 1845"/>
                  <a:gd name="T50" fmla="*/ 1616 w 1648"/>
                  <a:gd name="T51" fmla="*/ 1054 h 1845"/>
                  <a:gd name="T52" fmla="*/ 1608 w 1648"/>
                  <a:gd name="T53" fmla="*/ 1006 h 1845"/>
                  <a:gd name="T54" fmla="*/ 1599 w 1648"/>
                  <a:gd name="T55" fmla="*/ 958 h 1845"/>
                  <a:gd name="T56" fmla="*/ 1589 w 1648"/>
                  <a:gd name="T57" fmla="*/ 911 h 1845"/>
                  <a:gd name="T58" fmla="*/ 1578 w 1648"/>
                  <a:gd name="T59" fmla="*/ 863 h 1845"/>
                  <a:gd name="T60" fmla="*/ 1567 w 1648"/>
                  <a:gd name="T61" fmla="*/ 816 h 1845"/>
                  <a:gd name="T62" fmla="*/ 1554 w 1648"/>
                  <a:gd name="T63" fmla="*/ 769 h 1845"/>
                  <a:gd name="T64" fmla="*/ 1540 w 1648"/>
                  <a:gd name="T65" fmla="*/ 723 h 1845"/>
                  <a:gd name="T66" fmla="*/ 1526 w 1648"/>
                  <a:gd name="T67" fmla="*/ 677 h 1845"/>
                  <a:gd name="T68" fmla="*/ 1511 w 1648"/>
                  <a:gd name="T69" fmla="*/ 631 h 1845"/>
                  <a:gd name="T70" fmla="*/ 1495 w 1648"/>
                  <a:gd name="T71" fmla="*/ 586 h 1845"/>
                  <a:gd name="T72" fmla="*/ 1478 w 1648"/>
                  <a:gd name="T73" fmla="*/ 542 h 1845"/>
                  <a:gd name="T74" fmla="*/ 1460 w 1648"/>
                  <a:gd name="T75" fmla="*/ 497 h 1845"/>
                  <a:gd name="T76" fmla="*/ 1441 w 1648"/>
                  <a:gd name="T77" fmla="*/ 453 h 1845"/>
                  <a:gd name="T78" fmla="*/ 1421 w 1648"/>
                  <a:gd name="T79" fmla="*/ 409 h 1845"/>
                  <a:gd name="T80" fmla="*/ 1401 w 1648"/>
                  <a:gd name="T81" fmla="*/ 366 h 1845"/>
                  <a:gd name="T82" fmla="*/ 1381 w 1648"/>
                  <a:gd name="T83" fmla="*/ 324 h 1845"/>
                  <a:gd name="T84" fmla="*/ 1359 w 1648"/>
                  <a:gd name="T85" fmla="*/ 281 h 1845"/>
                  <a:gd name="T86" fmla="*/ 1337 w 1648"/>
                  <a:gd name="T87" fmla="*/ 240 h 1845"/>
                  <a:gd name="T88" fmla="*/ 1313 w 1648"/>
                  <a:gd name="T89" fmla="*/ 199 h 1845"/>
                  <a:gd name="T90" fmla="*/ 1289 w 1648"/>
                  <a:gd name="T91" fmla="*/ 158 h 1845"/>
                  <a:gd name="T92" fmla="*/ 1265 w 1648"/>
                  <a:gd name="T93" fmla="*/ 118 h 1845"/>
                  <a:gd name="T94" fmla="*/ 1240 w 1648"/>
                  <a:gd name="T95" fmla="*/ 77 h 1845"/>
                  <a:gd name="T96" fmla="*/ 1214 w 1648"/>
                  <a:gd name="T97" fmla="*/ 38 h 1845"/>
                  <a:gd name="T98" fmla="*/ 1186 w 1648"/>
                  <a:gd name="T99" fmla="*/ 0 h 1845"/>
                  <a:gd name="T100" fmla="*/ 58 w 1648"/>
                  <a:gd name="T101" fmla="*/ 136 h 1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48" h="1845">
                    <a:moveTo>
                      <a:pt x="58" y="136"/>
                    </a:moveTo>
                    <a:lnTo>
                      <a:pt x="56" y="160"/>
                    </a:lnTo>
                    <a:lnTo>
                      <a:pt x="53" y="184"/>
                    </a:lnTo>
                    <a:lnTo>
                      <a:pt x="48" y="207"/>
                    </a:lnTo>
                    <a:lnTo>
                      <a:pt x="41" y="230"/>
                    </a:lnTo>
                    <a:lnTo>
                      <a:pt x="33" y="252"/>
                    </a:lnTo>
                    <a:lnTo>
                      <a:pt x="23" y="273"/>
                    </a:lnTo>
                    <a:lnTo>
                      <a:pt x="12" y="293"/>
                    </a:lnTo>
                    <a:lnTo>
                      <a:pt x="0" y="313"/>
                    </a:lnTo>
                    <a:lnTo>
                      <a:pt x="1617" y="1845"/>
                    </a:lnTo>
                    <a:lnTo>
                      <a:pt x="1624" y="1797"/>
                    </a:lnTo>
                    <a:lnTo>
                      <a:pt x="1630" y="1748"/>
                    </a:lnTo>
                    <a:lnTo>
                      <a:pt x="1635" y="1700"/>
                    </a:lnTo>
                    <a:lnTo>
                      <a:pt x="1640" y="1651"/>
                    </a:lnTo>
                    <a:lnTo>
                      <a:pt x="1643" y="1602"/>
                    </a:lnTo>
                    <a:lnTo>
                      <a:pt x="1646" y="1552"/>
                    </a:lnTo>
                    <a:lnTo>
                      <a:pt x="1647" y="1503"/>
                    </a:lnTo>
                    <a:lnTo>
                      <a:pt x="1648" y="1452"/>
                    </a:lnTo>
                    <a:lnTo>
                      <a:pt x="1647" y="1401"/>
                    </a:lnTo>
                    <a:lnTo>
                      <a:pt x="1646" y="1351"/>
                    </a:lnTo>
                    <a:lnTo>
                      <a:pt x="1643" y="1301"/>
                    </a:lnTo>
                    <a:lnTo>
                      <a:pt x="1640" y="1251"/>
                    </a:lnTo>
                    <a:lnTo>
                      <a:pt x="1635" y="1202"/>
                    </a:lnTo>
                    <a:lnTo>
                      <a:pt x="1630" y="1153"/>
                    </a:lnTo>
                    <a:lnTo>
                      <a:pt x="1624" y="1103"/>
                    </a:lnTo>
                    <a:lnTo>
                      <a:pt x="1616" y="1054"/>
                    </a:lnTo>
                    <a:lnTo>
                      <a:pt x="1608" y="1006"/>
                    </a:lnTo>
                    <a:lnTo>
                      <a:pt x="1599" y="958"/>
                    </a:lnTo>
                    <a:lnTo>
                      <a:pt x="1589" y="911"/>
                    </a:lnTo>
                    <a:lnTo>
                      <a:pt x="1578" y="863"/>
                    </a:lnTo>
                    <a:lnTo>
                      <a:pt x="1567" y="816"/>
                    </a:lnTo>
                    <a:lnTo>
                      <a:pt x="1554" y="769"/>
                    </a:lnTo>
                    <a:lnTo>
                      <a:pt x="1540" y="723"/>
                    </a:lnTo>
                    <a:lnTo>
                      <a:pt x="1526" y="677"/>
                    </a:lnTo>
                    <a:lnTo>
                      <a:pt x="1511" y="631"/>
                    </a:lnTo>
                    <a:lnTo>
                      <a:pt x="1495" y="586"/>
                    </a:lnTo>
                    <a:lnTo>
                      <a:pt x="1478" y="542"/>
                    </a:lnTo>
                    <a:lnTo>
                      <a:pt x="1460" y="497"/>
                    </a:lnTo>
                    <a:lnTo>
                      <a:pt x="1441" y="453"/>
                    </a:lnTo>
                    <a:lnTo>
                      <a:pt x="1421" y="409"/>
                    </a:lnTo>
                    <a:lnTo>
                      <a:pt x="1401" y="366"/>
                    </a:lnTo>
                    <a:lnTo>
                      <a:pt x="1381" y="324"/>
                    </a:lnTo>
                    <a:lnTo>
                      <a:pt x="1359" y="281"/>
                    </a:lnTo>
                    <a:lnTo>
                      <a:pt x="1337" y="240"/>
                    </a:lnTo>
                    <a:lnTo>
                      <a:pt x="1313" y="199"/>
                    </a:lnTo>
                    <a:lnTo>
                      <a:pt x="1289" y="158"/>
                    </a:lnTo>
                    <a:lnTo>
                      <a:pt x="1265" y="118"/>
                    </a:lnTo>
                    <a:lnTo>
                      <a:pt x="1240" y="77"/>
                    </a:lnTo>
                    <a:lnTo>
                      <a:pt x="1214" y="38"/>
                    </a:lnTo>
                    <a:lnTo>
                      <a:pt x="1186" y="0"/>
                    </a:lnTo>
                    <a:lnTo>
                      <a:pt x="58" y="1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31" name="Freeform 17"/>
              <p:cNvSpPr>
                <a:spLocks/>
              </p:cNvSpPr>
              <p:nvPr/>
            </p:nvSpPr>
            <p:spPr bwMode="auto">
              <a:xfrm>
                <a:off x="0" y="281521"/>
                <a:ext cx="288314" cy="188085"/>
              </a:xfrm>
              <a:custGeom>
                <a:avLst/>
                <a:gdLst>
                  <a:gd name="T0" fmla="*/ 2782 w 2801"/>
                  <a:gd name="T1" fmla="*/ 123 h 1832"/>
                  <a:gd name="T2" fmla="*/ 436 w 2801"/>
                  <a:gd name="T3" fmla="*/ 0 h 1832"/>
                  <a:gd name="T4" fmla="*/ 410 w 2801"/>
                  <a:gd name="T5" fmla="*/ 38 h 1832"/>
                  <a:gd name="T6" fmla="*/ 386 w 2801"/>
                  <a:gd name="T7" fmla="*/ 77 h 1832"/>
                  <a:gd name="T8" fmla="*/ 362 w 2801"/>
                  <a:gd name="T9" fmla="*/ 116 h 1832"/>
                  <a:gd name="T10" fmla="*/ 337 w 2801"/>
                  <a:gd name="T11" fmla="*/ 155 h 1832"/>
                  <a:gd name="T12" fmla="*/ 315 w 2801"/>
                  <a:gd name="T13" fmla="*/ 195 h 1832"/>
                  <a:gd name="T14" fmla="*/ 293 w 2801"/>
                  <a:gd name="T15" fmla="*/ 236 h 1832"/>
                  <a:gd name="T16" fmla="*/ 272 w 2801"/>
                  <a:gd name="T17" fmla="*/ 276 h 1832"/>
                  <a:gd name="T18" fmla="*/ 251 w 2801"/>
                  <a:gd name="T19" fmla="*/ 317 h 1832"/>
                  <a:gd name="T20" fmla="*/ 232 w 2801"/>
                  <a:gd name="T21" fmla="*/ 359 h 1832"/>
                  <a:gd name="T22" fmla="*/ 213 w 2801"/>
                  <a:gd name="T23" fmla="*/ 401 h 1832"/>
                  <a:gd name="T24" fmla="*/ 195 w 2801"/>
                  <a:gd name="T25" fmla="*/ 444 h 1832"/>
                  <a:gd name="T26" fmla="*/ 177 w 2801"/>
                  <a:gd name="T27" fmla="*/ 487 h 1832"/>
                  <a:gd name="T28" fmla="*/ 160 w 2801"/>
                  <a:gd name="T29" fmla="*/ 530 h 1832"/>
                  <a:gd name="T30" fmla="*/ 145 w 2801"/>
                  <a:gd name="T31" fmla="*/ 574 h 1832"/>
                  <a:gd name="T32" fmla="*/ 129 w 2801"/>
                  <a:gd name="T33" fmla="*/ 618 h 1832"/>
                  <a:gd name="T34" fmla="*/ 114 w 2801"/>
                  <a:gd name="T35" fmla="*/ 662 h 1832"/>
                  <a:gd name="T36" fmla="*/ 101 w 2801"/>
                  <a:gd name="T37" fmla="*/ 707 h 1832"/>
                  <a:gd name="T38" fmla="*/ 88 w 2801"/>
                  <a:gd name="T39" fmla="*/ 753 h 1832"/>
                  <a:gd name="T40" fmla="*/ 76 w 2801"/>
                  <a:gd name="T41" fmla="*/ 798 h 1832"/>
                  <a:gd name="T42" fmla="*/ 65 w 2801"/>
                  <a:gd name="T43" fmla="*/ 844 h 1832"/>
                  <a:gd name="T44" fmla="*/ 55 w 2801"/>
                  <a:gd name="T45" fmla="*/ 890 h 1832"/>
                  <a:gd name="T46" fmla="*/ 45 w 2801"/>
                  <a:gd name="T47" fmla="*/ 936 h 1832"/>
                  <a:gd name="T48" fmla="*/ 37 w 2801"/>
                  <a:gd name="T49" fmla="*/ 983 h 1832"/>
                  <a:gd name="T50" fmla="*/ 29 w 2801"/>
                  <a:gd name="T51" fmla="*/ 1030 h 1832"/>
                  <a:gd name="T52" fmla="*/ 22 w 2801"/>
                  <a:gd name="T53" fmla="*/ 1077 h 1832"/>
                  <a:gd name="T54" fmla="*/ 17 w 2801"/>
                  <a:gd name="T55" fmla="*/ 1126 h 1832"/>
                  <a:gd name="T56" fmla="*/ 12 w 2801"/>
                  <a:gd name="T57" fmla="*/ 1173 h 1832"/>
                  <a:gd name="T58" fmla="*/ 7 w 2801"/>
                  <a:gd name="T59" fmla="*/ 1221 h 1832"/>
                  <a:gd name="T60" fmla="*/ 4 w 2801"/>
                  <a:gd name="T61" fmla="*/ 1270 h 1832"/>
                  <a:gd name="T62" fmla="*/ 2 w 2801"/>
                  <a:gd name="T63" fmla="*/ 1318 h 1832"/>
                  <a:gd name="T64" fmla="*/ 0 w 2801"/>
                  <a:gd name="T65" fmla="*/ 1367 h 1832"/>
                  <a:gd name="T66" fmla="*/ 0 w 2801"/>
                  <a:gd name="T67" fmla="*/ 1416 h 1832"/>
                  <a:gd name="T68" fmla="*/ 1 w 2801"/>
                  <a:gd name="T69" fmla="*/ 1470 h 1832"/>
                  <a:gd name="T70" fmla="*/ 2 w 2801"/>
                  <a:gd name="T71" fmla="*/ 1522 h 1832"/>
                  <a:gd name="T72" fmla="*/ 5 w 2801"/>
                  <a:gd name="T73" fmla="*/ 1575 h 1832"/>
                  <a:gd name="T74" fmla="*/ 9 w 2801"/>
                  <a:gd name="T75" fmla="*/ 1627 h 1832"/>
                  <a:gd name="T76" fmla="*/ 14 w 2801"/>
                  <a:gd name="T77" fmla="*/ 1678 h 1832"/>
                  <a:gd name="T78" fmla="*/ 20 w 2801"/>
                  <a:gd name="T79" fmla="*/ 1730 h 1832"/>
                  <a:gd name="T80" fmla="*/ 27 w 2801"/>
                  <a:gd name="T81" fmla="*/ 1782 h 1832"/>
                  <a:gd name="T82" fmla="*/ 35 w 2801"/>
                  <a:gd name="T83" fmla="*/ 1832 h 1832"/>
                  <a:gd name="T84" fmla="*/ 2801 w 2801"/>
                  <a:gd name="T85" fmla="*/ 208 h 1832"/>
                  <a:gd name="T86" fmla="*/ 2794 w 2801"/>
                  <a:gd name="T87" fmla="*/ 188 h 1832"/>
                  <a:gd name="T88" fmla="*/ 2789 w 2801"/>
                  <a:gd name="T89" fmla="*/ 167 h 1832"/>
                  <a:gd name="T90" fmla="*/ 2785 w 2801"/>
                  <a:gd name="T91" fmla="*/ 145 h 1832"/>
                  <a:gd name="T92" fmla="*/ 2782 w 2801"/>
                  <a:gd name="T93" fmla="*/ 123 h 1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801" h="1832">
                    <a:moveTo>
                      <a:pt x="2782" y="123"/>
                    </a:moveTo>
                    <a:lnTo>
                      <a:pt x="436" y="0"/>
                    </a:lnTo>
                    <a:lnTo>
                      <a:pt x="410" y="38"/>
                    </a:lnTo>
                    <a:lnTo>
                      <a:pt x="386" y="77"/>
                    </a:lnTo>
                    <a:lnTo>
                      <a:pt x="362" y="116"/>
                    </a:lnTo>
                    <a:lnTo>
                      <a:pt x="337" y="155"/>
                    </a:lnTo>
                    <a:lnTo>
                      <a:pt x="315" y="195"/>
                    </a:lnTo>
                    <a:lnTo>
                      <a:pt x="293" y="236"/>
                    </a:lnTo>
                    <a:lnTo>
                      <a:pt x="272" y="276"/>
                    </a:lnTo>
                    <a:lnTo>
                      <a:pt x="251" y="317"/>
                    </a:lnTo>
                    <a:lnTo>
                      <a:pt x="232" y="359"/>
                    </a:lnTo>
                    <a:lnTo>
                      <a:pt x="213" y="401"/>
                    </a:lnTo>
                    <a:lnTo>
                      <a:pt x="195" y="444"/>
                    </a:lnTo>
                    <a:lnTo>
                      <a:pt x="177" y="487"/>
                    </a:lnTo>
                    <a:lnTo>
                      <a:pt x="160" y="530"/>
                    </a:lnTo>
                    <a:lnTo>
                      <a:pt x="145" y="574"/>
                    </a:lnTo>
                    <a:lnTo>
                      <a:pt x="129" y="618"/>
                    </a:lnTo>
                    <a:lnTo>
                      <a:pt x="114" y="662"/>
                    </a:lnTo>
                    <a:lnTo>
                      <a:pt x="101" y="707"/>
                    </a:lnTo>
                    <a:lnTo>
                      <a:pt x="88" y="753"/>
                    </a:lnTo>
                    <a:lnTo>
                      <a:pt x="76" y="798"/>
                    </a:lnTo>
                    <a:lnTo>
                      <a:pt x="65" y="844"/>
                    </a:lnTo>
                    <a:lnTo>
                      <a:pt x="55" y="890"/>
                    </a:lnTo>
                    <a:lnTo>
                      <a:pt x="45" y="936"/>
                    </a:lnTo>
                    <a:lnTo>
                      <a:pt x="37" y="983"/>
                    </a:lnTo>
                    <a:lnTo>
                      <a:pt x="29" y="1030"/>
                    </a:lnTo>
                    <a:lnTo>
                      <a:pt x="22" y="1077"/>
                    </a:lnTo>
                    <a:lnTo>
                      <a:pt x="17" y="1126"/>
                    </a:lnTo>
                    <a:lnTo>
                      <a:pt x="12" y="1173"/>
                    </a:lnTo>
                    <a:lnTo>
                      <a:pt x="7" y="1221"/>
                    </a:lnTo>
                    <a:lnTo>
                      <a:pt x="4" y="1270"/>
                    </a:lnTo>
                    <a:lnTo>
                      <a:pt x="2" y="1318"/>
                    </a:lnTo>
                    <a:lnTo>
                      <a:pt x="0" y="1367"/>
                    </a:lnTo>
                    <a:lnTo>
                      <a:pt x="0" y="1416"/>
                    </a:lnTo>
                    <a:lnTo>
                      <a:pt x="1" y="1470"/>
                    </a:lnTo>
                    <a:lnTo>
                      <a:pt x="2" y="1522"/>
                    </a:lnTo>
                    <a:lnTo>
                      <a:pt x="5" y="1575"/>
                    </a:lnTo>
                    <a:lnTo>
                      <a:pt x="9" y="1627"/>
                    </a:lnTo>
                    <a:lnTo>
                      <a:pt x="14" y="1678"/>
                    </a:lnTo>
                    <a:lnTo>
                      <a:pt x="20" y="1730"/>
                    </a:lnTo>
                    <a:lnTo>
                      <a:pt x="27" y="1782"/>
                    </a:lnTo>
                    <a:lnTo>
                      <a:pt x="35" y="1832"/>
                    </a:lnTo>
                    <a:lnTo>
                      <a:pt x="2801" y="208"/>
                    </a:lnTo>
                    <a:lnTo>
                      <a:pt x="2794" y="188"/>
                    </a:lnTo>
                    <a:lnTo>
                      <a:pt x="2789" y="167"/>
                    </a:lnTo>
                    <a:lnTo>
                      <a:pt x="2785" y="145"/>
                    </a:lnTo>
                    <a:lnTo>
                      <a:pt x="2782" y="1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32" name="Freeform 18"/>
              <p:cNvSpPr>
                <a:spLocks/>
              </p:cNvSpPr>
              <p:nvPr/>
            </p:nvSpPr>
            <p:spPr bwMode="auto">
              <a:xfrm>
                <a:off x="277178" y="167680"/>
                <a:ext cx="176948" cy="108891"/>
              </a:xfrm>
              <a:custGeom>
                <a:avLst/>
                <a:gdLst>
                  <a:gd name="T0" fmla="*/ 442 w 1714"/>
                  <a:gd name="T1" fmla="*/ 845 h 1055"/>
                  <a:gd name="T2" fmla="*/ 467 w 1714"/>
                  <a:gd name="T3" fmla="*/ 846 h 1055"/>
                  <a:gd name="T4" fmla="*/ 493 w 1714"/>
                  <a:gd name="T5" fmla="*/ 850 h 1055"/>
                  <a:gd name="T6" fmla="*/ 518 w 1714"/>
                  <a:gd name="T7" fmla="*/ 855 h 1055"/>
                  <a:gd name="T8" fmla="*/ 542 w 1714"/>
                  <a:gd name="T9" fmla="*/ 862 h 1055"/>
                  <a:gd name="T10" fmla="*/ 565 w 1714"/>
                  <a:gd name="T11" fmla="*/ 871 h 1055"/>
                  <a:gd name="T12" fmla="*/ 587 w 1714"/>
                  <a:gd name="T13" fmla="*/ 881 h 1055"/>
                  <a:gd name="T14" fmla="*/ 608 w 1714"/>
                  <a:gd name="T15" fmla="*/ 893 h 1055"/>
                  <a:gd name="T16" fmla="*/ 629 w 1714"/>
                  <a:gd name="T17" fmla="*/ 906 h 1055"/>
                  <a:gd name="T18" fmla="*/ 648 w 1714"/>
                  <a:gd name="T19" fmla="*/ 920 h 1055"/>
                  <a:gd name="T20" fmla="*/ 666 w 1714"/>
                  <a:gd name="T21" fmla="*/ 936 h 1055"/>
                  <a:gd name="T22" fmla="*/ 684 w 1714"/>
                  <a:gd name="T23" fmla="*/ 953 h 1055"/>
                  <a:gd name="T24" fmla="*/ 699 w 1714"/>
                  <a:gd name="T25" fmla="*/ 971 h 1055"/>
                  <a:gd name="T26" fmla="*/ 714 w 1714"/>
                  <a:gd name="T27" fmla="*/ 991 h 1055"/>
                  <a:gd name="T28" fmla="*/ 727 w 1714"/>
                  <a:gd name="T29" fmla="*/ 1011 h 1055"/>
                  <a:gd name="T30" fmla="*/ 739 w 1714"/>
                  <a:gd name="T31" fmla="*/ 1032 h 1055"/>
                  <a:gd name="T32" fmla="*/ 750 w 1714"/>
                  <a:gd name="T33" fmla="*/ 1055 h 1055"/>
                  <a:gd name="T34" fmla="*/ 1714 w 1714"/>
                  <a:gd name="T35" fmla="*/ 825 h 1055"/>
                  <a:gd name="T36" fmla="*/ 1672 w 1714"/>
                  <a:gd name="T37" fmla="*/ 781 h 1055"/>
                  <a:gd name="T38" fmla="*/ 1631 w 1714"/>
                  <a:gd name="T39" fmla="*/ 739 h 1055"/>
                  <a:gd name="T40" fmla="*/ 1588 w 1714"/>
                  <a:gd name="T41" fmla="*/ 697 h 1055"/>
                  <a:gd name="T42" fmla="*/ 1545 w 1714"/>
                  <a:gd name="T43" fmla="*/ 656 h 1055"/>
                  <a:gd name="T44" fmla="*/ 1500 w 1714"/>
                  <a:gd name="T45" fmla="*/ 616 h 1055"/>
                  <a:gd name="T46" fmla="*/ 1455 w 1714"/>
                  <a:gd name="T47" fmla="*/ 577 h 1055"/>
                  <a:gd name="T48" fmla="*/ 1408 w 1714"/>
                  <a:gd name="T49" fmla="*/ 540 h 1055"/>
                  <a:gd name="T50" fmla="*/ 1360 w 1714"/>
                  <a:gd name="T51" fmla="*/ 502 h 1055"/>
                  <a:gd name="T52" fmla="*/ 1312 w 1714"/>
                  <a:gd name="T53" fmla="*/ 467 h 1055"/>
                  <a:gd name="T54" fmla="*/ 1263 w 1714"/>
                  <a:gd name="T55" fmla="*/ 432 h 1055"/>
                  <a:gd name="T56" fmla="*/ 1213 w 1714"/>
                  <a:gd name="T57" fmla="*/ 399 h 1055"/>
                  <a:gd name="T58" fmla="*/ 1162 w 1714"/>
                  <a:gd name="T59" fmla="*/ 367 h 1055"/>
                  <a:gd name="T60" fmla="*/ 1110 w 1714"/>
                  <a:gd name="T61" fmla="*/ 336 h 1055"/>
                  <a:gd name="T62" fmla="*/ 1058 w 1714"/>
                  <a:gd name="T63" fmla="*/ 307 h 1055"/>
                  <a:gd name="T64" fmla="*/ 1005 w 1714"/>
                  <a:gd name="T65" fmla="*/ 278 h 1055"/>
                  <a:gd name="T66" fmla="*/ 950 w 1714"/>
                  <a:gd name="T67" fmla="*/ 251 h 1055"/>
                  <a:gd name="T68" fmla="*/ 896 w 1714"/>
                  <a:gd name="T69" fmla="*/ 225 h 1055"/>
                  <a:gd name="T70" fmla="*/ 841 w 1714"/>
                  <a:gd name="T71" fmla="*/ 201 h 1055"/>
                  <a:gd name="T72" fmla="*/ 785 w 1714"/>
                  <a:gd name="T73" fmla="*/ 177 h 1055"/>
                  <a:gd name="T74" fmla="*/ 727 w 1714"/>
                  <a:gd name="T75" fmla="*/ 154 h 1055"/>
                  <a:gd name="T76" fmla="*/ 670 w 1714"/>
                  <a:gd name="T77" fmla="*/ 134 h 1055"/>
                  <a:gd name="T78" fmla="*/ 612 w 1714"/>
                  <a:gd name="T79" fmla="*/ 114 h 1055"/>
                  <a:gd name="T80" fmla="*/ 554 w 1714"/>
                  <a:gd name="T81" fmla="*/ 96 h 1055"/>
                  <a:gd name="T82" fmla="*/ 494 w 1714"/>
                  <a:gd name="T83" fmla="*/ 80 h 1055"/>
                  <a:gd name="T84" fmla="*/ 434 w 1714"/>
                  <a:gd name="T85" fmla="*/ 65 h 1055"/>
                  <a:gd name="T86" fmla="*/ 374 w 1714"/>
                  <a:gd name="T87" fmla="*/ 51 h 1055"/>
                  <a:gd name="T88" fmla="*/ 313 w 1714"/>
                  <a:gd name="T89" fmla="*/ 39 h 1055"/>
                  <a:gd name="T90" fmla="*/ 251 w 1714"/>
                  <a:gd name="T91" fmla="*/ 28 h 1055"/>
                  <a:gd name="T92" fmla="*/ 189 w 1714"/>
                  <a:gd name="T93" fmla="*/ 19 h 1055"/>
                  <a:gd name="T94" fmla="*/ 127 w 1714"/>
                  <a:gd name="T95" fmla="*/ 11 h 1055"/>
                  <a:gd name="T96" fmla="*/ 64 w 1714"/>
                  <a:gd name="T97" fmla="*/ 4 h 1055"/>
                  <a:gd name="T98" fmla="*/ 0 w 1714"/>
                  <a:gd name="T99" fmla="*/ 0 h 1055"/>
                  <a:gd name="T100" fmla="*/ 357 w 1714"/>
                  <a:gd name="T101" fmla="*/ 855 h 1055"/>
                  <a:gd name="T102" fmla="*/ 377 w 1714"/>
                  <a:gd name="T103" fmla="*/ 851 h 1055"/>
                  <a:gd name="T104" fmla="*/ 398 w 1714"/>
                  <a:gd name="T105" fmla="*/ 848 h 1055"/>
                  <a:gd name="T106" fmla="*/ 420 w 1714"/>
                  <a:gd name="T107" fmla="*/ 845 h 1055"/>
                  <a:gd name="T108" fmla="*/ 442 w 1714"/>
                  <a:gd name="T109" fmla="*/ 845 h 10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14" h="1055">
                    <a:moveTo>
                      <a:pt x="442" y="845"/>
                    </a:moveTo>
                    <a:lnTo>
                      <a:pt x="467" y="846"/>
                    </a:lnTo>
                    <a:lnTo>
                      <a:pt x="493" y="850"/>
                    </a:lnTo>
                    <a:lnTo>
                      <a:pt x="518" y="855"/>
                    </a:lnTo>
                    <a:lnTo>
                      <a:pt x="542" y="862"/>
                    </a:lnTo>
                    <a:lnTo>
                      <a:pt x="565" y="871"/>
                    </a:lnTo>
                    <a:lnTo>
                      <a:pt x="587" y="881"/>
                    </a:lnTo>
                    <a:lnTo>
                      <a:pt x="608" y="893"/>
                    </a:lnTo>
                    <a:lnTo>
                      <a:pt x="629" y="906"/>
                    </a:lnTo>
                    <a:lnTo>
                      <a:pt x="648" y="920"/>
                    </a:lnTo>
                    <a:lnTo>
                      <a:pt x="666" y="936"/>
                    </a:lnTo>
                    <a:lnTo>
                      <a:pt x="684" y="953"/>
                    </a:lnTo>
                    <a:lnTo>
                      <a:pt x="699" y="971"/>
                    </a:lnTo>
                    <a:lnTo>
                      <a:pt x="714" y="991"/>
                    </a:lnTo>
                    <a:lnTo>
                      <a:pt x="727" y="1011"/>
                    </a:lnTo>
                    <a:lnTo>
                      <a:pt x="739" y="1032"/>
                    </a:lnTo>
                    <a:lnTo>
                      <a:pt x="750" y="1055"/>
                    </a:lnTo>
                    <a:lnTo>
                      <a:pt x="1714" y="825"/>
                    </a:lnTo>
                    <a:lnTo>
                      <a:pt x="1672" y="781"/>
                    </a:lnTo>
                    <a:lnTo>
                      <a:pt x="1631" y="739"/>
                    </a:lnTo>
                    <a:lnTo>
                      <a:pt x="1588" y="697"/>
                    </a:lnTo>
                    <a:lnTo>
                      <a:pt x="1545" y="656"/>
                    </a:lnTo>
                    <a:lnTo>
                      <a:pt x="1500" y="616"/>
                    </a:lnTo>
                    <a:lnTo>
                      <a:pt x="1455" y="577"/>
                    </a:lnTo>
                    <a:lnTo>
                      <a:pt x="1408" y="540"/>
                    </a:lnTo>
                    <a:lnTo>
                      <a:pt x="1360" y="502"/>
                    </a:lnTo>
                    <a:lnTo>
                      <a:pt x="1312" y="467"/>
                    </a:lnTo>
                    <a:lnTo>
                      <a:pt x="1263" y="432"/>
                    </a:lnTo>
                    <a:lnTo>
                      <a:pt x="1213" y="399"/>
                    </a:lnTo>
                    <a:lnTo>
                      <a:pt x="1162" y="367"/>
                    </a:lnTo>
                    <a:lnTo>
                      <a:pt x="1110" y="336"/>
                    </a:lnTo>
                    <a:lnTo>
                      <a:pt x="1058" y="307"/>
                    </a:lnTo>
                    <a:lnTo>
                      <a:pt x="1005" y="278"/>
                    </a:lnTo>
                    <a:lnTo>
                      <a:pt x="950" y="251"/>
                    </a:lnTo>
                    <a:lnTo>
                      <a:pt x="896" y="225"/>
                    </a:lnTo>
                    <a:lnTo>
                      <a:pt x="841" y="201"/>
                    </a:lnTo>
                    <a:lnTo>
                      <a:pt x="785" y="177"/>
                    </a:lnTo>
                    <a:lnTo>
                      <a:pt x="727" y="154"/>
                    </a:lnTo>
                    <a:lnTo>
                      <a:pt x="670" y="134"/>
                    </a:lnTo>
                    <a:lnTo>
                      <a:pt x="612" y="114"/>
                    </a:lnTo>
                    <a:lnTo>
                      <a:pt x="554" y="96"/>
                    </a:lnTo>
                    <a:lnTo>
                      <a:pt x="494" y="80"/>
                    </a:lnTo>
                    <a:lnTo>
                      <a:pt x="434" y="65"/>
                    </a:lnTo>
                    <a:lnTo>
                      <a:pt x="374" y="51"/>
                    </a:lnTo>
                    <a:lnTo>
                      <a:pt x="313" y="39"/>
                    </a:lnTo>
                    <a:lnTo>
                      <a:pt x="251" y="28"/>
                    </a:lnTo>
                    <a:lnTo>
                      <a:pt x="189" y="19"/>
                    </a:lnTo>
                    <a:lnTo>
                      <a:pt x="127" y="11"/>
                    </a:lnTo>
                    <a:lnTo>
                      <a:pt x="64" y="4"/>
                    </a:lnTo>
                    <a:lnTo>
                      <a:pt x="0" y="0"/>
                    </a:lnTo>
                    <a:lnTo>
                      <a:pt x="357" y="855"/>
                    </a:lnTo>
                    <a:lnTo>
                      <a:pt x="377" y="851"/>
                    </a:lnTo>
                    <a:lnTo>
                      <a:pt x="398" y="848"/>
                    </a:lnTo>
                    <a:lnTo>
                      <a:pt x="420" y="845"/>
                    </a:lnTo>
                    <a:lnTo>
                      <a:pt x="442" y="8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296771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равнение" type="twoTxTwoObj">
  <p:cSld name="TWO_OBJECTS_WITH_TEXT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6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6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9" name="Google Shape;39;p6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1" name="Google Shape;41;p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ри вертикальных объекта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6" name="Объект 3"/>
          <p:cNvSpPr>
            <a:spLocks noGrp="1"/>
          </p:cNvSpPr>
          <p:nvPr>
            <p:ph sz="quarter" idx="32"/>
          </p:nvPr>
        </p:nvSpPr>
        <p:spPr>
          <a:xfrm>
            <a:off x="613232" y="976313"/>
            <a:ext cx="3283200" cy="5407025"/>
          </a:xfrm>
          <a:prstGeom prst="rect">
            <a:avLst/>
          </a:prstGeom>
        </p:spPr>
        <p:txBody>
          <a:bodyPr lIns="0" r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7" name="Объект 3"/>
          <p:cNvSpPr>
            <a:spLocks noGrp="1"/>
          </p:cNvSpPr>
          <p:nvPr>
            <p:ph sz="quarter" idx="33"/>
          </p:nvPr>
        </p:nvSpPr>
        <p:spPr>
          <a:xfrm>
            <a:off x="4453666" y="976313"/>
            <a:ext cx="3289246" cy="5407025"/>
          </a:xfrm>
          <a:prstGeom prst="rect">
            <a:avLst/>
          </a:prstGeom>
        </p:spPr>
        <p:txBody>
          <a:bodyPr lIns="0" r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8" name="Объект 3"/>
          <p:cNvSpPr>
            <a:spLocks noGrp="1"/>
          </p:cNvSpPr>
          <p:nvPr>
            <p:ph sz="quarter" idx="34"/>
          </p:nvPr>
        </p:nvSpPr>
        <p:spPr>
          <a:xfrm>
            <a:off x="8315888" y="976313"/>
            <a:ext cx="3287150" cy="5407025"/>
          </a:xfrm>
          <a:prstGeom prst="rect">
            <a:avLst/>
          </a:prstGeom>
        </p:spPr>
        <p:txBody>
          <a:bodyPr lIns="0" rIns="0"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200">
                <a:solidFill>
                  <a:schemeClr val="bg1"/>
                </a:solidFill>
              </a:defRPr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grpSp>
        <p:nvGrpSpPr>
          <p:cNvPr id="30" name="Группа 29"/>
          <p:cNvGrpSpPr/>
          <p:nvPr userDrawn="1"/>
        </p:nvGrpSpPr>
        <p:grpSpPr>
          <a:xfrm>
            <a:off x="613117" y="323850"/>
            <a:ext cx="1138551" cy="321285"/>
            <a:chOff x="0" y="687388"/>
            <a:chExt cx="1440180" cy="406401"/>
          </a:xfrm>
          <a:solidFill>
            <a:schemeClr val="bg1"/>
          </a:solidFill>
        </p:grpSpPr>
        <p:grpSp>
          <p:nvGrpSpPr>
            <p:cNvPr id="31" name="Группа 30"/>
            <p:cNvGrpSpPr/>
            <p:nvPr userDrawn="1"/>
          </p:nvGrpSpPr>
          <p:grpSpPr>
            <a:xfrm>
              <a:off x="493068" y="808707"/>
              <a:ext cx="947112" cy="176599"/>
              <a:chOff x="614988" y="259248"/>
              <a:chExt cx="1041891" cy="194272"/>
            </a:xfrm>
            <a:grpFill/>
          </p:grpSpPr>
          <p:sp>
            <p:nvSpPr>
              <p:cNvPr id="40" name="Freeform 5"/>
              <p:cNvSpPr>
                <a:spLocks noEditPoints="1"/>
              </p:cNvSpPr>
              <p:nvPr/>
            </p:nvSpPr>
            <p:spPr bwMode="auto">
              <a:xfrm>
                <a:off x="614988" y="260485"/>
                <a:ext cx="122502" cy="190560"/>
              </a:xfrm>
              <a:custGeom>
                <a:avLst/>
                <a:gdLst>
                  <a:gd name="T0" fmla="*/ 723 w 1181"/>
                  <a:gd name="T1" fmla="*/ 773 h 1846"/>
                  <a:gd name="T2" fmla="*/ 688 w 1181"/>
                  <a:gd name="T3" fmla="*/ 793 h 1846"/>
                  <a:gd name="T4" fmla="*/ 650 w 1181"/>
                  <a:gd name="T5" fmla="*/ 806 h 1846"/>
                  <a:gd name="T6" fmla="*/ 611 w 1181"/>
                  <a:gd name="T7" fmla="*/ 813 h 1846"/>
                  <a:gd name="T8" fmla="*/ 385 w 1181"/>
                  <a:gd name="T9" fmla="*/ 813 h 1846"/>
                  <a:gd name="T10" fmla="*/ 587 w 1181"/>
                  <a:gd name="T11" fmla="*/ 355 h 1846"/>
                  <a:gd name="T12" fmla="*/ 635 w 1181"/>
                  <a:gd name="T13" fmla="*/ 358 h 1846"/>
                  <a:gd name="T14" fmla="*/ 677 w 1181"/>
                  <a:gd name="T15" fmla="*/ 368 h 1846"/>
                  <a:gd name="T16" fmla="*/ 696 w 1181"/>
                  <a:gd name="T17" fmla="*/ 375 h 1846"/>
                  <a:gd name="T18" fmla="*/ 714 w 1181"/>
                  <a:gd name="T19" fmla="*/ 384 h 1846"/>
                  <a:gd name="T20" fmla="*/ 731 w 1181"/>
                  <a:gd name="T21" fmla="*/ 395 h 1846"/>
                  <a:gd name="T22" fmla="*/ 746 w 1181"/>
                  <a:gd name="T23" fmla="*/ 407 h 1846"/>
                  <a:gd name="T24" fmla="*/ 759 w 1181"/>
                  <a:gd name="T25" fmla="*/ 421 h 1846"/>
                  <a:gd name="T26" fmla="*/ 772 w 1181"/>
                  <a:gd name="T27" fmla="*/ 437 h 1846"/>
                  <a:gd name="T28" fmla="*/ 782 w 1181"/>
                  <a:gd name="T29" fmla="*/ 455 h 1846"/>
                  <a:gd name="T30" fmla="*/ 790 w 1181"/>
                  <a:gd name="T31" fmla="*/ 476 h 1846"/>
                  <a:gd name="T32" fmla="*/ 797 w 1181"/>
                  <a:gd name="T33" fmla="*/ 498 h 1846"/>
                  <a:gd name="T34" fmla="*/ 801 w 1181"/>
                  <a:gd name="T35" fmla="*/ 522 h 1846"/>
                  <a:gd name="T36" fmla="*/ 805 w 1181"/>
                  <a:gd name="T37" fmla="*/ 578 h 1846"/>
                  <a:gd name="T38" fmla="*/ 804 w 1181"/>
                  <a:gd name="T39" fmla="*/ 610 h 1846"/>
                  <a:gd name="T40" fmla="*/ 801 w 1181"/>
                  <a:gd name="T41" fmla="*/ 639 h 1846"/>
                  <a:gd name="T42" fmla="*/ 796 w 1181"/>
                  <a:gd name="T43" fmla="*/ 665 h 1846"/>
                  <a:gd name="T44" fmla="*/ 789 w 1181"/>
                  <a:gd name="T45" fmla="*/ 689 h 1846"/>
                  <a:gd name="T46" fmla="*/ 780 w 1181"/>
                  <a:gd name="T47" fmla="*/ 710 h 1846"/>
                  <a:gd name="T48" fmla="*/ 769 w 1181"/>
                  <a:gd name="T49" fmla="*/ 730 h 1846"/>
                  <a:gd name="T50" fmla="*/ 754 w 1181"/>
                  <a:gd name="T51" fmla="*/ 746 h 1846"/>
                  <a:gd name="T52" fmla="*/ 739 w 1181"/>
                  <a:gd name="T53" fmla="*/ 761 h 1846"/>
                  <a:gd name="T54" fmla="*/ 1151 w 1181"/>
                  <a:gd name="T55" fmla="*/ 797 h 1846"/>
                  <a:gd name="T56" fmla="*/ 1166 w 1181"/>
                  <a:gd name="T57" fmla="*/ 740 h 1846"/>
                  <a:gd name="T58" fmla="*/ 1176 w 1181"/>
                  <a:gd name="T59" fmla="*/ 680 h 1846"/>
                  <a:gd name="T60" fmla="*/ 1181 w 1181"/>
                  <a:gd name="T61" fmla="*/ 617 h 1846"/>
                  <a:gd name="T62" fmla="*/ 1181 w 1181"/>
                  <a:gd name="T63" fmla="*/ 546 h 1846"/>
                  <a:gd name="T64" fmla="*/ 1175 w 1181"/>
                  <a:gd name="T65" fmla="*/ 476 h 1846"/>
                  <a:gd name="T66" fmla="*/ 1164 w 1181"/>
                  <a:gd name="T67" fmla="*/ 411 h 1846"/>
                  <a:gd name="T68" fmla="*/ 1148 w 1181"/>
                  <a:gd name="T69" fmla="*/ 350 h 1846"/>
                  <a:gd name="T70" fmla="*/ 1127 w 1181"/>
                  <a:gd name="T71" fmla="*/ 295 h 1846"/>
                  <a:gd name="T72" fmla="*/ 1100 w 1181"/>
                  <a:gd name="T73" fmla="*/ 244 h 1846"/>
                  <a:gd name="T74" fmla="*/ 1070 w 1181"/>
                  <a:gd name="T75" fmla="*/ 199 h 1846"/>
                  <a:gd name="T76" fmla="*/ 1035 w 1181"/>
                  <a:gd name="T77" fmla="*/ 159 h 1846"/>
                  <a:gd name="T78" fmla="*/ 995 w 1181"/>
                  <a:gd name="T79" fmla="*/ 123 h 1846"/>
                  <a:gd name="T80" fmla="*/ 952 w 1181"/>
                  <a:gd name="T81" fmla="*/ 92 h 1846"/>
                  <a:gd name="T82" fmla="*/ 905 w 1181"/>
                  <a:gd name="T83" fmla="*/ 65 h 1846"/>
                  <a:gd name="T84" fmla="*/ 854 w 1181"/>
                  <a:gd name="T85" fmla="*/ 44 h 1846"/>
                  <a:gd name="T86" fmla="*/ 799 w 1181"/>
                  <a:gd name="T87" fmla="*/ 26 h 1846"/>
                  <a:gd name="T88" fmla="*/ 741 w 1181"/>
                  <a:gd name="T89" fmla="*/ 13 h 1846"/>
                  <a:gd name="T90" fmla="*/ 681 w 1181"/>
                  <a:gd name="T91" fmla="*/ 5 h 1846"/>
                  <a:gd name="T92" fmla="*/ 619 w 1181"/>
                  <a:gd name="T93" fmla="*/ 1 h 1846"/>
                  <a:gd name="T94" fmla="*/ 0 w 1181"/>
                  <a:gd name="T95" fmla="*/ 0 h 1846"/>
                  <a:gd name="T96" fmla="*/ 385 w 1181"/>
                  <a:gd name="T97" fmla="*/ 1846 h 1846"/>
                  <a:gd name="T98" fmla="*/ 608 w 1181"/>
                  <a:gd name="T99" fmla="*/ 1172 h 1846"/>
                  <a:gd name="T100" fmla="*/ 673 w 1181"/>
                  <a:gd name="T101" fmla="*/ 1169 h 1846"/>
                  <a:gd name="T102" fmla="*/ 734 w 1181"/>
                  <a:gd name="T103" fmla="*/ 1161 h 1846"/>
                  <a:gd name="T104" fmla="*/ 793 w 1181"/>
                  <a:gd name="T105" fmla="*/ 1148 h 1846"/>
                  <a:gd name="T106" fmla="*/ 847 w 1181"/>
                  <a:gd name="T107" fmla="*/ 1129 h 1846"/>
                  <a:gd name="T108" fmla="*/ 898 w 1181"/>
                  <a:gd name="T109" fmla="*/ 1106 h 1846"/>
                  <a:gd name="T110" fmla="*/ 945 w 1181"/>
                  <a:gd name="T111" fmla="*/ 1079 h 1846"/>
                  <a:gd name="T112" fmla="*/ 988 w 1181"/>
                  <a:gd name="T113" fmla="*/ 1047 h 1846"/>
                  <a:gd name="T114" fmla="*/ 1029 w 1181"/>
                  <a:gd name="T115" fmla="*/ 1011 h 1846"/>
                  <a:gd name="T116" fmla="*/ 1063 w 1181"/>
                  <a:gd name="T117" fmla="*/ 971 h 1846"/>
                  <a:gd name="T118" fmla="*/ 1093 w 1181"/>
                  <a:gd name="T119" fmla="*/ 925 h 1846"/>
                  <a:gd name="T120" fmla="*/ 1120 w 1181"/>
                  <a:gd name="T121" fmla="*/ 876 h 1846"/>
                  <a:gd name="T122" fmla="*/ 1142 w 1181"/>
                  <a:gd name="T123" fmla="*/ 824 h 18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81" h="1846">
                    <a:moveTo>
                      <a:pt x="739" y="761"/>
                    </a:moveTo>
                    <a:lnTo>
                      <a:pt x="723" y="773"/>
                    </a:lnTo>
                    <a:lnTo>
                      <a:pt x="706" y="784"/>
                    </a:lnTo>
                    <a:lnTo>
                      <a:pt x="688" y="793"/>
                    </a:lnTo>
                    <a:lnTo>
                      <a:pt x="669" y="801"/>
                    </a:lnTo>
                    <a:lnTo>
                      <a:pt x="650" y="806"/>
                    </a:lnTo>
                    <a:lnTo>
                      <a:pt x="631" y="810"/>
                    </a:lnTo>
                    <a:lnTo>
                      <a:pt x="611" y="813"/>
                    </a:lnTo>
                    <a:lnTo>
                      <a:pt x="590" y="813"/>
                    </a:lnTo>
                    <a:lnTo>
                      <a:pt x="385" y="813"/>
                    </a:lnTo>
                    <a:lnTo>
                      <a:pt x="385" y="355"/>
                    </a:lnTo>
                    <a:lnTo>
                      <a:pt x="587" y="355"/>
                    </a:lnTo>
                    <a:lnTo>
                      <a:pt x="611" y="356"/>
                    </a:lnTo>
                    <a:lnTo>
                      <a:pt x="635" y="358"/>
                    </a:lnTo>
                    <a:lnTo>
                      <a:pt x="657" y="362"/>
                    </a:lnTo>
                    <a:lnTo>
                      <a:pt x="677" y="368"/>
                    </a:lnTo>
                    <a:lnTo>
                      <a:pt x="687" y="372"/>
                    </a:lnTo>
                    <a:lnTo>
                      <a:pt x="696" y="375"/>
                    </a:lnTo>
                    <a:lnTo>
                      <a:pt x="705" y="380"/>
                    </a:lnTo>
                    <a:lnTo>
                      <a:pt x="714" y="384"/>
                    </a:lnTo>
                    <a:lnTo>
                      <a:pt x="723" y="389"/>
                    </a:lnTo>
                    <a:lnTo>
                      <a:pt x="731" y="395"/>
                    </a:lnTo>
                    <a:lnTo>
                      <a:pt x="738" y="401"/>
                    </a:lnTo>
                    <a:lnTo>
                      <a:pt x="746" y="407"/>
                    </a:lnTo>
                    <a:lnTo>
                      <a:pt x="753" y="414"/>
                    </a:lnTo>
                    <a:lnTo>
                      <a:pt x="759" y="421"/>
                    </a:lnTo>
                    <a:lnTo>
                      <a:pt x="767" y="429"/>
                    </a:lnTo>
                    <a:lnTo>
                      <a:pt x="772" y="437"/>
                    </a:lnTo>
                    <a:lnTo>
                      <a:pt x="777" y="446"/>
                    </a:lnTo>
                    <a:lnTo>
                      <a:pt x="782" y="455"/>
                    </a:lnTo>
                    <a:lnTo>
                      <a:pt x="786" y="465"/>
                    </a:lnTo>
                    <a:lnTo>
                      <a:pt x="790" y="476"/>
                    </a:lnTo>
                    <a:lnTo>
                      <a:pt x="794" y="486"/>
                    </a:lnTo>
                    <a:lnTo>
                      <a:pt x="797" y="498"/>
                    </a:lnTo>
                    <a:lnTo>
                      <a:pt x="799" y="510"/>
                    </a:lnTo>
                    <a:lnTo>
                      <a:pt x="801" y="522"/>
                    </a:lnTo>
                    <a:lnTo>
                      <a:pt x="804" y="549"/>
                    </a:lnTo>
                    <a:lnTo>
                      <a:pt x="805" y="578"/>
                    </a:lnTo>
                    <a:lnTo>
                      <a:pt x="805" y="594"/>
                    </a:lnTo>
                    <a:lnTo>
                      <a:pt x="804" y="610"/>
                    </a:lnTo>
                    <a:lnTo>
                      <a:pt x="803" y="625"/>
                    </a:lnTo>
                    <a:lnTo>
                      <a:pt x="801" y="639"/>
                    </a:lnTo>
                    <a:lnTo>
                      <a:pt x="799" y="652"/>
                    </a:lnTo>
                    <a:lnTo>
                      <a:pt x="796" y="665"/>
                    </a:lnTo>
                    <a:lnTo>
                      <a:pt x="793" y="677"/>
                    </a:lnTo>
                    <a:lnTo>
                      <a:pt x="789" y="689"/>
                    </a:lnTo>
                    <a:lnTo>
                      <a:pt x="785" y="700"/>
                    </a:lnTo>
                    <a:lnTo>
                      <a:pt x="780" y="710"/>
                    </a:lnTo>
                    <a:lnTo>
                      <a:pt x="774" y="720"/>
                    </a:lnTo>
                    <a:lnTo>
                      <a:pt x="769" y="730"/>
                    </a:lnTo>
                    <a:lnTo>
                      <a:pt x="761" y="738"/>
                    </a:lnTo>
                    <a:lnTo>
                      <a:pt x="754" y="746"/>
                    </a:lnTo>
                    <a:lnTo>
                      <a:pt x="747" y="754"/>
                    </a:lnTo>
                    <a:lnTo>
                      <a:pt x="739" y="761"/>
                    </a:lnTo>
                    <a:close/>
                    <a:moveTo>
                      <a:pt x="1142" y="824"/>
                    </a:moveTo>
                    <a:lnTo>
                      <a:pt x="1151" y="797"/>
                    </a:lnTo>
                    <a:lnTo>
                      <a:pt x="1159" y="768"/>
                    </a:lnTo>
                    <a:lnTo>
                      <a:pt x="1166" y="740"/>
                    </a:lnTo>
                    <a:lnTo>
                      <a:pt x="1171" y="710"/>
                    </a:lnTo>
                    <a:lnTo>
                      <a:pt x="1176" y="680"/>
                    </a:lnTo>
                    <a:lnTo>
                      <a:pt x="1179" y="649"/>
                    </a:lnTo>
                    <a:lnTo>
                      <a:pt x="1181" y="617"/>
                    </a:lnTo>
                    <a:lnTo>
                      <a:pt x="1181" y="583"/>
                    </a:lnTo>
                    <a:lnTo>
                      <a:pt x="1181" y="546"/>
                    </a:lnTo>
                    <a:lnTo>
                      <a:pt x="1179" y="510"/>
                    </a:lnTo>
                    <a:lnTo>
                      <a:pt x="1175" y="476"/>
                    </a:lnTo>
                    <a:lnTo>
                      <a:pt x="1170" y="442"/>
                    </a:lnTo>
                    <a:lnTo>
                      <a:pt x="1164" y="411"/>
                    </a:lnTo>
                    <a:lnTo>
                      <a:pt x="1157" y="380"/>
                    </a:lnTo>
                    <a:lnTo>
                      <a:pt x="1148" y="350"/>
                    </a:lnTo>
                    <a:lnTo>
                      <a:pt x="1138" y="322"/>
                    </a:lnTo>
                    <a:lnTo>
                      <a:pt x="1127" y="295"/>
                    </a:lnTo>
                    <a:lnTo>
                      <a:pt x="1114" y="269"/>
                    </a:lnTo>
                    <a:lnTo>
                      <a:pt x="1100" y="244"/>
                    </a:lnTo>
                    <a:lnTo>
                      <a:pt x="1086" y="221"/>
                    </a:lnTo>
                    <a:lnTo>
                      <a:pt x="1070" y="199"/>
                    </a:lnTo>
                    <a:lnTo>
                      <a:pt x="1053" y="178"/>
                    </a:lnTo>
                    <a:lnTo>
                      <a:pt x="1035" y="159"/>
                    </a:lnTo>
                    <a:lnTo>
                      <a:pt x="1016" y="140"/>
                    </a:lnTo>
                    <a:lnTo>
                      <a:pt x="995" y="123"/>
                    </a:lnTo>
                    <a:lnTo>
                      <a:pt x="974" y="107"/>
                    </a:lnTo>
                    <a:lnTo>
                      <a:pt x="952" y="92"/>
                    </a:lnTo>
                    <a:lnTo>
                      <a:pt x="929" y="78"/>
                    </a:lnTo>
                    <a:lnTo>
                      <a:pt x="905" y="65"/>
                    </a:lnTo>
                    <a:lnTo>
                      <a:pt x="880" y="54"/>
                    </a:lnTo>
                    <a:lnTo>
                      <a:pt x="854" y="44"/>
                    </a:lnTo>
                    <a:lnTo>
                      <a:pt x="827" y="34"/>
                    </a:lnTo>
                    <a:lnTo>
                      <a:pt x="799" y="26"/>
                    </a:lnTo>
                    <a:lnTo>
                      <a:pt x="771" y="19"/>
                    </a:lnTo>
                    <a:lnTo>
                      <a:pt x="741" y="13"/>
                    </a:lnTo>
                    <a:lnTo>
                      <a:pt x="711" y="8"/>
                    </a:lnTo>
                    <a:lnTo>
                      <a:pt x="681" y="5"/>
                    </a:lnTo>
                    <a:lnTo>
                      <a:pt x="650" y="2"/>
                    </a:lnTo>
                    <a:lnTo>
                      <a:pt x="619" y="1"/>
                    </a:lnTo>
                    <a:lnTo>
                      <a:pt x="587" y="0"/>
                    </a:lnTo>
                    <a:lnTo>
                      <a:pt x="0" y="0"/>
                    </a:lnTo>
                    <a:lnTo>
                      <a:pt x="0" y="1846"/>
                    </a:lnTo>
                    <a:lnTo>
                      <a:pt x="385" y="1846"/>
                    </a:lnTo>
                    <a:lnTo>
                      <a:pt x="385" y="1172"/>
                    </a:lnTo>
                    <a:lnTo>
                      <a:pt x="608" y="1172"/>
                    </a:lnTo>
                    <a:lnTo>
                      <a:pt x="641" y="1171"/>
                    </a:lnTo>
                    <a:lnTo>
                      <a:pt x="673" y="1169"/>
                    </a:lnTo>
                    <a:lnTo>
                      <a:pt x="704" y="1166"/>
                    </a:lnTo>
                    <a:lnTo>
                      <a:pt x="734" y="1161"/>
                    </a:lnTo>
                    <a:lnTo>
                      <a:pt x="763" y="1155"/>
                    </a:lnTo>
                    <a:lnTo>
                      <a:pt x="793" y="1148"/>
                    </a:lnTo>
                    <a:lnTo>
                      <a:pt x="820" y="1139"/>
                    </a:lnTo>
                    <a:lnTo>
                      <a:pt x="847" y="1129"/>
                    </a:lnTo>
                    <a:lnTo>
                      <a:pt x="873" y="1118"/>
                    </a:lnTo>
                    <a:lnTo>
                      <a:pt x="898" y="1106"/>
                    </a:lnTo>
                    <a:lnTo>
                      <a:pt x="922" y="1093"/>
                    </a:lnTo>
                    <a:lnTo>
                      <a:pt x="945" y="1079"/>
                    </a:lnTo>
                    <a:lnTo>
                      <a:pt x="967" y="1063"/>
                    </a:lnTo>
                    <a:lnTo>
                      <a:pt x="988" y="1047"/>
                    </a:lnTo>
                    <a:lnTo>
                      <a:pt x="1009" y="1030"/>
                    </a:lnTo>
                    <a:lnTo>
                      <a:pt x="1029" y="1011"/>
                    </a:lnTo>
                    <a:lnTo>
                      <a:pt x="1046" y="991"/>
                    </a:lnTo>
                    <a:lnTo>
                      <a:pt x="1063" y="971"/>
                    </a:lnTo>
                    <a:lnTo>
                      <a:pt x="1079" y="949"/>
                    </a:lnTo>
                    <a:lnTo>
                      <a:pt x="1093" y="925"/>
                    </a:lnTo>
                    <a:lnTo>
                      <a:pt x="1107" y="901"/>
                    </a:lnTo>
                    <a:lnTo>
                      <a:pt x="1120" y="876"/>
                    </a:lnTo>
                    <a:lnTo>
                      <a:pt x="1131" y="851"/>
                    </a:lnTo>
                    <a:lnTo>
                      <a:pt x="1142" y="8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41" name="Freeform 6"/>
              <p:cNvSpPr>
                <a:spLocks noEditPoints="1"/>
              </p:cNvSpPr>
              <p:nvPr/>
            </p:nvSpPr>
            <p:spPr bwMode="auto">
              <a:xfrm>
                <a:off x="765951" y="259248"/>
                <a:ext cx="122502" cy="194272"/>
              </a:xfrm>
              <a:custGeom>
                <a:avLst/>
                <a:gdLst>
                  <a:gd name="T0" fmla="*/ 386 w 1185"/>
                  <a:gd name="T1" fmla="*/ 542 h 1875"/>
                  <a:gd name="T2" fmla="*/ 410 w 1185"/>
                  <a:gd name="T3" fmla="*/ 473 h 1875"/>
                  <a:gd name="T4" fmla="*/ 446 w 1185"/>
                  <a:gd name="T5" fmla="*/ 427 h 1875"/>
                  <a:gd name="T6" fmla="*/ 478 w 1185"/>
                  <a:gd name="T7" fmla="*/ 402 h 1875"/>
                  <a:gd name="T8" fmla="*/ 519 w 1185"/>
                  <a:gd name="T9" fmla="*/ 382 h 1875"/>
                  <a:gd name="T10" fmla="*/ 568 w 1185"/>
                  <a:gd name="T11" fmla="*/ 372 h 1875"/>
                  <a:gd name="T12" fmla="*/ 624 w 1185"/>
                  <a:gd name="T13" fmla="*/ 372 h 1875"/>
                  <a:gd name="T14" fmla="*/ 672 w 1185"/>
                  <a:gd name="T15" fmla="*/ 384 h 1875"/>
                  <a:gd name="T16" fmla="*/ 728 w 1185"/>
                  <a:gd name="T17" fmla="*/ 418 h 1875"/>
                  <a:gd name="T18" fmla="*/ 756 w 1185"/>
                  <a:gd name="T19" fmla="*/ 447 h 1875"/>
                  <a:gd name="T20" fmla="*/ 789 w 1185"/>
                  <a:gd name="T21" fmla="*/ 514 h 1875"/>
                  <a:gd name="T22" fmla="*/ 797 w 1185"/>
                  <a:gd name="T23" fmla="*/ 575 h 1875"/>
                  <a:gd name="T24" fmla="*/ 792 w 1185"/>
                  <a:gd name="T25" fmla="*/ 1359 h 1875"/>
                  <a:gd name="T26" fmla="*/ 779 w 1185"/>
                  <a:gd name="T27" fmla="*/ 1396 h 1875"/>
                  <a:gd name="T28" fmla="*/ 759 w 1185"/>
                  <a:gd name="T29" fmla="*/ 1429 h 1875"/>
                  <a:gd name="T30" fmla="*/ 723 w 1185"/>
                  <a:gd name="T31" fmla="*/ 1463 h 1875"/>
                  <a:gd name="T32" fmla="*/ 654 w 1185"/>
                  <a:gd name="T33" fmla="*/ 1496 h 1875"/>
                  <a:gd name="T34" fmla="*/ 582 w 1185"/>
                  <a:gd name="T35" fmla="*/ 1503 h 1875"/>
                  <a:gd name="T36" fmla="*/ 531 w 1185"/>
                  <a:gd name="T37" fmla="*/ 1497 h 1875"/>
                  <a:gd name="T38" fmla="*/ 489 w 1185"/>
                  <a:gd name="T39" fmla="*/ 1482 h 1875"/>
                  <a:gd name="T40" fmla="*/ 453 w 1185"/>
                  <a:gd name="T41" fmla="*/ 1458 h 1875"/>
                  <a:gd name="T42" fmla="*/ 421 w 1185"/>
                  <a:gd name="T43" fmla="*/ 1417 h 1875"/>
                  <a:gd name="T44" fmla="*/ 390 w 1185"/>
                  <a:gd name="T45" fmla="*/ 1334 h 1875"/>
                  <a:gd name="T46" fmla="*/ 834 w 1185"/>
                  <a:gd name="T47" fmla="*/ 1834 h 1875"/>
                  <a:gd name="T48" fmla="*/ 934 w 1185"/>
                  <a:gd name="T49" fmla="*/ 1784 h 1875"/>
                  <a:gd name="T50" fmla="*/ 1019 w 1185"/>
                  <a:gd name="T51" fmla="*/ 1715 h 1875"/>
                  <a:gd name="T52" fmla="*/ 1089 w 1185"/>
                  <a:gd name="T53" fmla="*/ 1629 h 1875"/>
                  <a:gd name="T54" fmla="*/ 1141 w 1185"/>
                  <a:gd name="T55" fmla="*/ 1525 h 1875"/>
                  <a:gd name="T56" fmla="*/ 1174 w 1185"/>
                  <a:gd name="T57" fmla="*/ 1409 h 1875"/>
                  <a:gd name="T58" fmla="*/ 1185 w 1185"/>
                  <a:gd name="T59" fmla="*/ 1278 h 1875"/>
                  <a:gd name="T60" fmla="*/ 1180 w 1185"/>
                  <a:gd name="T61" fmla="*/ 510 h 1875"/>
                  <a:gd name="T62" fmla="*/ 1158 w 1185"/>
                  <a:gd name="T63" fmla="*/ 403 h 1875"/>
                  <a:gd name="T64" fmla="*/ 1118 w 1185"/>
                  <a:gd name="T65" fmla="*/ 300 h 1875"/>
                  <a:gd name="T66" fmla="*/ 1060 w 1185"/>
                  <a:gd name="T67" fmla="*/ 207 h 1875"/>
                  <a:gd name="T68" fmla="*/ 983 w 1185"/>
                  <a:gd name="T69" fmla="*/ 128 h 1875"/>
                  <a:gd name="T70" fmla="*/ 886 w 1185"/>
                  <a:gd name="T71" fmla="*/ 65 h 1875"/>
                  <a:gd name="T72" fmla="*/ 770 w 1185"/>
                  <a:gd name="T73" fmla="*/ 20 h 1875"/>
                  <a:gd name="T74" fmla="*/ 633 w 1185"/>
                  <a:gd name="T75" fmla="*/ 1 h 1875"/>
                  <a:gd name="T76" fmla="*/ 481 w 1185"/>
                  <a:gd name="T77" fmla="*/ 7 h 1875"/>
                  <a:gd name="T78" fmla="*/ 396 w 1185"/>
                  <a:gd name="T79" fmla="*/ 25 h 1875"/>
                  <a:gd name="T80" fmla="*/ 335 w 1185"/>
                  <a:gd name="T81" fmla="*/ 47 h 1875"/>
                  <a:gd name="T82" fmla="*/ 242 w 1185"/>
                  <a:gd name="T83" fmla="*/ 99 h 1875"/>
                  <a:gd name="T84" fmla="*/ 155 w 1185"/>
                  <a:gd name="T85" fmla="*/ 172 h 1875"/>
                  <a:gd name="T86" fmla="*/ 88 w 1185"/>
                  <a:gd name="T87" fmla="*/ 259 h 1875"/>
                  <a:gd name="T88" fmla="*/ 41 w 1185"/>
                  <a:gd name="T89" fmla="*/ 357 h 1875"/>
                  <a:gd name="T90" fmla="*/ 14 w 1185"/>
                  <a:gd name="T91" fmla="*/ 461 h 1875"/>
                  <a:gd name="T92" fmla="*/ 0 w 1185"/>
                  <a:gd name="T93" fmla="*/ 565 h 1875"/>
                  <a:gd name="T94" fmla="*/ 2 w 1185"/>
                  <a:gd name="T95" fmla="*/ 1311 h 1875"/>
                  <a:gd name="T96" fmla="*/ 20 w 1185"/>
                  <a:gd name="T97" fmla="*/ 1430 h 1875"/>
                  <a:gd name="T98" fmla="*/ 54 w 1185"/>
                  <a:gd name="T99" fmla="*/ 1543 h 1875"/>
                  <a:gd name="T100" fmla="*/ 106 w 1185"/>
                  <a:gd name="T101" fmla="*/ 1643 h 1875"/>
                  <a:gd name="T102" fmla="*/ 177 w 1185"/>
                  <a:gd name="T103" fmla="*/ 1729 h 1875"/>
                  <a:gd name="T104" fmla="*/ 270 w 1185"/>
                  <a:gd name="T105" fmla="*/ 1797 h 1875"/>
                  <a:gd name="T106" fmla="*/ 353 w 1185"/>
                  <a:gd name="T107" fmla="*/ 1836 h 1875"/>
                  <a:gd name="T108" fmla="*/ 448 w 1185"/>
                  <a:gd name="T109" fmla="*/ 1862 h 1875"/>
                  <a:gd name="T110" fmla="*/ 596 w 1185"/>
                  <a:gd name="T111" fmla="*/ 1875 h 1875"/>
                  <a:gd name="T112" fmla="*/ 721 w 1185"/>
                  <a:gd name="T113" fmla="*/ 1864 h 1875"/>
                  <a:gd name="T114" fmla="*/ 834 w 1185"/>
                  <a:gd name="T115" fmla="*/ 1834 h 1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85" h="1875">
                    <a:moveTo>
                      <a:pt x="383" y="1259"/>
                    </a:moveTo>
                    <a:lnTo>
                      <a:pt x="383" y="575"/>
                    </a:lnTo>
                    <a:lnTo>
                      <a:pt x="384" y="559"/>
                    </a:lnTo>
                    <a:lnTo>
                      <a:pt x="386" y="542"/>
                    </a:lnTo>
                    <a:lnTo>
                      <a:pt x="390" y="525"/>
                    </a:lnTo>
                    <a:lnTo>
                      <a:pt x="395" y="507"/>
                    </a:lnTo>
                    <a:lnTo>
                      <a:pt x="402" y="490"/>
                    </a:lnTo>
                    <a:lnTo>
                      <a:pt x="410" y="473"/>
                    </a:lnTo>
                    <a:lnTo>
                      <a:pt x="420" y="456"/>
                    </a:lnTo>
                    <a:lnTo>
                      <a:pt x="432" y="441"/>
                    </a:lnTo>
                    <a:lnTo>
                      <a:pt x="439" y="434"/>
                    </a:lnTo>
                    <a:lnTo>
                      <a:pt x="446" y="427"/>
                    </a:lnTo>
                    <a:lnTo>
                      <a:pt x="453" y="420"/>
                    </a:lnTo>
                    <a:lnTo>
                      <a:pt x="461" y="414"/>
                    </a:lnTo>
                    <a:lnTo>
                      <a:pt x="469" y="407"/>
                    </a:lnTo>
                    <a:lnTo>
                      <a:pt x="478" y="402"/>
                    </a:lnTo>
                    <a:lnTo>
                      <a:pt x="488" y="396"/>
                    </a:lnTo>
                    <a:lnTo>
                      <a:pt x="498" y="391"/>
                    </a:lnTo>
                    <a:lnTo>
                      <a:pt x="508" y="386"/>
                    </a:lnTo>
                    <a:lnTo>
                      <a:pt x="519" y="382"/>
                    </a:lnTo>
                    <a:lnTo>
                      <a:pt x="531" y="379"/>
                    </a:lnTo>
                    <a:lnTo>
                      <a:pt x="543" y="376"/>
                    </a:lnTo>
                    <a:lnTo>
                      <a:pt x="555" y="374"/>
                    </a:lnTo>
                    <a:lnTo>
                      <a:pt x="568" y="372"/>
                    </a:lnTo>
                    <a:lnTo>
                      <a:pt x="582" y="371"/>
                    </a:lnTo>
                    <a:lnTo>
                      <a:pt x="596" y="371"/>
                    </a:lnTo>
                    <a:lnTo>
                      <a:pt x="610" y="371"/>
                    </a:lnTo>
                    <a:lnTo>
                      <a:pt x="624" y="372"/>
                    </a:lnTo>
                    <a:lnTo>
                      <a:pt x="637" y="374"/>
                    </a:lnTo>
                    <a:lnTo>
                      <a:pt x="649" y="377"/>
                    </a:lnTo>
                    <a:lnTo>
                      <a:pt x="661" y="380"/>
                    </a:lnTo>
                    <a:lnTo>
                      <a:pt x="672" y="384"/>
                    </a:lnTo>
                    <a:lnTo>
                      <a:pt x="682" y="388"/>
                    </a:lnTo>
                    <a:lnTo>
                      <a:pt x="692" y="393"/>
                    </a:lnTo>
                    <a:lnTo>
                      <a:pt x="711" y="405"/>
                    </a:lnTo>
                    <a:lnTo>
                      <a:pt x="728" y="418"/>
                    </a:lnTo>
                    <a:lnTo>
                      <a:pt x="736" y="425"/>
                    </a:lnTo>
                    <a:lnTo>
                      <a:pt x="743" y="432"/>
                    </a:lnTo>
                    <a:lnTo>
                      <a:pt x="750" y="440"/>
                    </a:lnTo>
                    <a:lnTo>
                      <a:pt x="756" y="447"/>
                    </a:lnTo>
                    <a:lnTo>
                      <a:pt x="766" y="464"/>
                    </a:lnTo>
                    <a:lnTo>
                      <a:pt x="776" y="480"/>
                    </a:lnTo>
                    <a:lnTo>
                      <a:pt x="783" y="497"/>
                    </a:lnTo>
                    <a:lnTo>
                      <a:pt x="789" y="514"/>
                    </a:lnTo>
                    <a:lnTo>
                      <a:pt x="793" y="531"/>
                    </a:lnTo>
                    <a:lnTo>
                      <a:pt x="795" y="546"/>
                    </a:lnTo>
                    <a:lnTo>
                      <a:pt x="797" y="561"/>
                    </a:lnTo>
                    <a:lnTo>
                      <a:pt x="797" y="575"/>
                    </a:lnTo>
                    <a:lnTo>
                      <a:pt x="797" y="1305"/>
                    </a:lnTo>
                    <a:lnTo>
                      <a:pt x="797" y="1327"/>
                    </a:lnTo>
                    <a:lnTo>
                      <a:pt x="794" y="1349"/>
                    </a:lnTo>
                    <a:lnTo>
                      <a:pt x="792" y="1359"/>
                    </a:lnTo>
                    <a:lnTo>
                      <a:pt x="789" y="1369"/>
                    </a:lnTo>
                    <a:lnTo>
                      <a:pt x="786" y="1378"/>
                    </a:lnTo>
                    <a:lnTo>
                      <a:pt x="783" y="1388"/>
                    </a:lnTo>
                    <a:lnTo>
                      <a:pt x="779" y="1396"/>
                    </a:lnTo>
                    <a:lnTo>
                      <a:pt x="775" y="1405"/>
                    </a:lnTo>
                    <a:lnTo>
                      <a:pt x="770" y="1413"/>
                    </a:lnTo>
                    <a:lnTo>
                      <a:pt x="764" y="1421"/>
                    </a:lnTo>
                    <a:lnTo>
                      <a:pt x="759" y="1429"/>
                    </a:lnTo>
                    <a:lnTo>
                      <a:pt x="752" y="1436"/>
                    </a:lnTo>
                    <a:lnTo>
                      <a:pt x="745" y="1443"/>
                    </a:lnTo>
                    <a:lnTo>
                      <a:pt x="738" y="1450"/>
                    </a:lnTo>
                    <a:lnTo>
                      <a:pt x="723" y="1463"/>
                    </a:lnTo>
                    <a:lnTo>
                      <a:pt x="706" y="1473"/>
                    </a:lnTo>
                    <a:lnTo>
                      <a:pt x="689" y="1483"/>
                    </a:lnTo>
                    <a:lnTo>
                      <a:pt x="672" y="1490"/>
                    </a:lnTo>
                    <a:lnTo>
                      <a:pt x="654" y="1496"/>
                    </a:lnTo>
                    <a:lnTo>
                      <a:pt x="635" y="1500"/>
                    </a:lnTo>
                    <a:lnTo>
                      <a:pt x="616" y="1502"/>
                    </a:lnTo>
                    <a:lnTo>
                      <a:pt x="596" y="1503"/>
                    </a:lnTo>
                    <a:lnTo>
                      <a:pt x="582" y="1503"/>
                    </a:lnTo>
                    <a:lnTo>
                      <a:pt x="569" y="1502"/>
                    </a:lnTo>
                    <a:lnTo>
                      <a:pt x="556" y="1501"/>
                    </a:lnTo>
                    <a:lnTo>
                      <a:pt x="543" y="1499"/>
                    </a:lnTo>
                    <a:lnTo>
                      <a:pt x="531" y="1497"/>
                    </a:lnTo>
                    <a:lnTo>
                      <a:pt x="520" y="1494"/>
                    </a:lnTo>
                    <a:lnTo>
                      <a:pt x="509" y="1490"/>
                    </a:lnTo>
                    <a:lnTo>
                      <a:pt x="498" y="1486"/>
                    </a:lnTo>
                    <a:lnTo>
                      <a:pt x="489" y="1482"/>
                    </a:lnTo>
                    <a:lnTo>
                      <a:pt x="478" y="1477"/>
                    </a:lnTo>
                    <a:lnTo>
                      <a:pt x="469" y="1471"/>
                    </a:lnTo>
                    <a:lnTo>
                      <a:pt x="461" y="1465"/>
                    </a:lnTo>
                    <a:lnTo>
                      <a:pt x="453" y="1458"/>
                    </a:lnTo>
                    <a:lnTo>
                      <a:pt x="446" y="1451"/>
                    </a:lnTo>
                    <a:lnTo>
                      <a:pt x="439" y="1443"/>
                    </a:lnTo>
                    <a:lnTo>
                      <a:pt x="432" y="1435"/>
                    </a:lnTo>
                    <a:lnTo>
                      <a:pt x="421" y="1417"/>
                    </a:lnTo>
                    <a:lnTo>
                      <a:pt x="411" y="1398"/>
                    </a:lnTo>
                    <a:lnTo>
                      <a:pt x="402" y="1378"/>
                    </a:lnTo>
                    <a:lnTo>
                      <a:pt x="395" y="1357"/>
                    </a:lnTo>
                    <a:lnTo>
                      <a:pt x="390" y="1334"/>
                    </a:lnTo>
                    <a:lnTo>
                      <a:pt x="386" y="1311"/>
                    </a:lnTo>
                    <a:lnTo>
                      <a:pt x="384" y="1285"/>
                    </a:lnTo>
                    <a:lnTo>
                      <a:pt x="383" y="1259"/>
                    </a:lnTo>
                    <a:close/>
                    <a:moveTo>
                      <a:pt x="834" y="1834"/>
                    </a:moveTo>
                    <a:lnTo>
                      <a:pt x="860" y="1823"/>
                    </a:lnTo>
                    <a:lnTo>
                      <a:pt x="886" y="1811"/>
                    </a:lnTo>
                    <a:lnTo>
                      <a:pt x="910" y="1798"/>
                    </a:lnTo>
                    <a:lnTo>
                      <a:pt x="934" y="1784"/>
                    </a:lnTo>
                    <a:lnTo>
                      <a:pt x="957" y="1768"/>
                    </a:lnTo>
                    <a:lnTo>
                      <a:pt x="979" y="1752"/>
                    </a:lnTo>
                    <a:lnTo>
                      <a:pt x="1000" y="1734"/>
                    </a:lnTo>
                    <a:lnTo>
                      <a:pt x="1019" y="1715"/>
                    </a:lnTo>
                    <a:lnTo>
                      <a:pt x="1039" y="1695"/>
                    </a:lnTo>
                    <a:lnTo>
                      <a:pt x="1057" y="1674"/>
                    </a:lnTo>
                    <a:lnTo>
                      <a:pt x="1073" y="1652"/>
                    </a:lnTo>
                    <a:lnTo>
                      <a:pt x="1089" y="1629"/>
                    </a:lnTo>
                    <a:lnTo>
                      <a:pt x="1104" y="1604"/>
                    </a:lnTo>
                    <a:lnTo>
                      <a:pt x="1117" y="1579"/>
                    </a:lnTo>
                    <a:lnTo>
                      <a:pt x="1130" y="1553"/>
                    </a:lnTo>
                    <a:lnTo>
                      <a:pt x="1141" y="1525"/>
                    </a:lnTo>
                    <a:lnTo>
                      <a:pt x="1151" y="1498"/>
                    </a:lnTo>
                    <a:lnTo>
                      <a:pt x="1160" y="1469"/>
                    </a:lnTo>
                    <a:lnTo>
                      <a:pt x="1168" y="1439"/>
                    </a:lnTo>
                    <a:lnTo>
                      <a:pt x="1174" y="1409"/>
                    </a:lnTo>
                    <a:lnTo>
                      <a:pt x="1179" y="1378"/>
                    </a:lnTo>
                    <a:lnTo>
                      <a:pt x="1182" y="1346"/>
                    </a:lnTo>
                    <a:lnTo>
                      <a:pt x="1184" y="1313"/>
                    </a:lnTo>
                    <a:lnTo>
                      <a:pt x="1185" y="1278"/>
                    </a:lnTo>
                    <a:lnTo>
                      <a:pt x="1185" y="591"/>
                    </a:lnTo>
                    <a:lnTo>
                      <a:pt x="1185" y="564"/>
                    </a:lnTo>
                    <a:lnTo>
                      <a:pt x="1183" y="536"/>
                    </a:lnTo>
                    <a:lnTo>
                      <a:pt x="1180" y="510"/>
                    </a:lnTo>
                    <a:lnTo>
                      <a:pt x="1176" y="483"/>
                    </a:lnTo>
                    <a:lnTo>
                      <a:pt x="1171" y="456"/>
                    </a:lnTo>
                    <a:lnTo>
                      <a:pt x="1165" y="429"/>
                    </a:lnTo>
                    <a:lnTo>
                      <a:pt x="1158" y="403"/>
                    </a:lnTo>
                    <a:lnTo>
                      <a:pt x="1149" y="376"/>
                    </a:lnTo>
                    <a:lnTo>
                      <a:pt x="1140" y="350"/>
                    </a:lnTo>
                    <a:lnTo>
                      <a:pt x="1129" y="325"/>
                    </a:lnTo>
                    <a:lnTo>
                      <a:pt x="1118" y="300"/>
                    </a:lnTo>
                    <a:lnTo>
                      <a:pt x="1105" y="275"/>
                    </a:lnTo>
                    <a:lnTo>
                      <a:pt x="1091" y="252"/>
                    </a:lnTo>
                    <a:lnTo>
                      <a:pt x="1076" y="229"/>
                    </a:lnTo>
                    <a:lnTo>
                      <a:pt x="1060" y="207"/>
                    </a:lnTo>
                    <a:lnTo>
                      <a:pt x="1042" y="186"/>
                    </a:lnTo>
                    <a:lnTo>
                      <a:pt x="1024" y="166"/>
                    </a:lnTo>
                    <a:lnTo>
                      <a:pt x="1004" y="147"/>
                    </a:lnTo>
                    <a:lnTo>
                      <a:pt x="983" y="128"/>
                    </a:lnTo>
                    <a:lnTo>
                      <a:pt x="961" y="111"/>
                    </a:lnTo>
                    <a:lnTo>
                      <a:pt x="937" y="95"/>
                    </a:lnTo>
                    <a:lnTo>
                      <a:pt x="912" y="79"/>
                    </a:lnTo>
                    <a:lnTo>
                      <a:pt x="886" y="65"/>
                    </a:lnTo>
                    <a:lnTo>
                      <a:pt x="859" y="52"/>
                    </a:lnTo>
                    <a:lnTo>
                      <a:pt x="830" y="39"/>
                    </a:lnTo>
                    <a:lnTo>
                      <a:pt x="801" y="29"/>
                    </a:lnTo>
                    <a:lnTo>
                      <a:pt x="770" y="20"/>
                    </a:lnTo>
                    <a:lnTo>
                      <a:pt x="738" y="13"/>
                    </a:lnTo>
                    <a:lnTo>
                      <a:pt x="703" y="7"/>
                    </a:lnTo>
                    <a:lnTo>
                      <a:pt x="669" y="3"/>
                    </a:lnTo>
                    <a:lnTo>
                      <a:pt x="633" y="1"/>
                    </a:lnTo>
                    <a:lnTo>
                      <a:pt x="596" y="0"/>
                    </a:lnTo>
                    <a:lnTo>
                      <a:pt x="556" y="1"/>
                    </a:lnTo>
                    <a:lnTo>
                      <a:pt x="518" y="3"/>
                    </a:lnTo>
                    <a:lnTo>
                      <a:pt x="481" y="7"/>
                    </a:lnTo>
                    <a:lnTo>
                      <a:pt x="446" y="13"/>
                    </a:lnTo>
                    <a:lnTo>
                      <a:pt x="429" y="17"/>
                    </a:lnTo>
                    <a:lnTo>
                      <a:pt x="412" y="21"/>
                    </a:lnTo>
                    <a:lnTo>
                      <a:pt x="396" y="25"/>
                    </a:lnTo>
                    <a:lnTo>
                      <a:pt x="380" y="30"/>
                    </a:lnTo>
                    <a:lnTo>
                      <a:pt x="365" y="35"/>
                    </a:lnTo>
                    <a:lnTo>
                      <a:pt x="350" y="41"/>
                    </a:lnTo>
                    <a:lnTo>
                      <a:pt x="335" y="47"/>
                    </a:lnTo>
                    <a:lnTo>
                      <a:pt x="321" y="54"/>
                    </a:lnTo>
                    <a:lnTo>
                      <a:pt x="294" y="68"/>
                    </a:lnTo>
                    <a:lnTo>
                      <a:pt x="268" y="83"/>
                    </a:lnTo>
                    <a:lnTo>
                      <a:pt x="242" y="99"/>
                    </a:lnTo>
                    <a:lnTo>
                      <a:pt x="218" y="116"/>
                    </a:lnTo>
                    <a:lnTo>
                      <a:pt x="196" y="134"/>
                    </a:lnTo>
                    <a:lnTo>
                      <a:pt x="175" y="152"/>
                    </a:lnTo>
                    <a:lnTo>
                      <a:pt x="155" y="172"/>
                    </a:lnTo>
                    <a:lnTo>
                      <a:pt x="137" y="193"/>
                    </a:lnTo>
                    <a:lnTo>
                      <a:pt x="120" y="214"/>
                    </a:lnTo>
                    <a:lnTo>
                      <a:pt x="103" y="236"/>
                    </a:lnTo>
                    <a:lnTo>
                      <a:pt x="88" y="259"/>
                    </a:lnTo>
                    <a:lnTo>
                      <a:pt x="75" y="282"/>
                    </a:lnTo>
                    <a:lnTo>
                      <a:pt x="62" y="307"/>
                    </a:lnTo>
                    <a:lnTo>
                      <a:pt x="51" y="332"/>
                    </a:lnTo>
                    <a:lnTo>
                      <a:pt x="41" y="357"/>
                    </a:lnTo>
                    <a:lnTo>
                      <a:pt x="33" y="383"/>
                    </a:lnTo>
                    <a:lnTo>
                      <a:pt x="26" y="409"/>
                    </a:lnTo>
                    <a:lnTo>
                      <a:pt x="19" y="435"/>
                    </a:lnTo>
                    <a:lnTo>
                      <a:pt x="14" y="461"/>
                    </a:lnTo>
                    <a:lnTo>
                      <a:pt x="8" y="487"/>
                    </a:lnTo>
                    <a:lnTo>
                      <a:pt x="4" y="513"/>
                    </a:lnTo>
                    <a:lnTo>
                      <a:pt x="2" y="539"/>
                    </a:lnTo>
                    <a:lnTo>
                      <a:pt x="0" y="565"/>
                    </a:lnTo>
                    <a:lnTo>
                      <a:pt x="0" y="591"/>
                    </a:lnTo>
                    <a:lnTo>
                      <a:pt x="0" y="1248"/>
                    </a:lnTo>
                    <a:lnTo>
                      <a:pt x="0" y="1279"/>
                    </a:lnTo>
                    <a:lnTo>
                      <a:pt x="2" y="1311"/>
                    </a:lnTo>
                    <a:lnTo>
                      <a:pt x="4" y="1341"/>
                    </a:lnTo>
                    <a:lnTo>
                      <a:pt x="8" y="1371"/>
                    </a:lnTo>
                    <a:lnTo>
                      <a:pt x="14" y="1401"/>
                    </a:lnTo>
                    <a:lnTo>
                      <a:pt x="20" y="1430"/>
                    </a:lnTo>
                    <a:lnTo>
                      <a:pt x="27" y="1459"/>
                    </a:lnTo>
                    <a:lnTo>
                      <a:pt x="34" y="1487"/>
                    </a:lnTo>
                    <a:lnTo>
                      <a:pt x="43" y="1515"/>
                    </a:lnTo>
                    <a:lnTo>
                      <a:pt x="54" y="1543"/>
                    </a:lnTo>
                    <a:lnTo>
                      <a:pt x="65" y="1569"/>
                    </a:lnTo>
                    <a:lnTo>
                      <a:pt x="77" y="1594"/>
                    </a:lnTo>
                    <a:lnTo>
                      <a:pt x="91" y="1619"/>
                    </a:lnTo>
                    <a:lnTo>
                      <a:pt x="106" y="1643"/>
                    </a:lnTo>
                    <a:lnTo>
                      <a:pt x="122" y="1666"/>
                    </a:lnTo>
                    <a:lnTo>
                      <a:pt x="139" y="1688"/>
                    </a:lnTo>
                    <a:lnTo>
                      <a:pt x="157" y="1709"/>
                    </a:lnTo>
                    <a:lnTo>
                      <a:pt x="177" y="1729"/>
                    </a:lnTo>
                    <a:lnTo>
                      <a:pt x="198" y="1747"/>
                    </a:lnTo>
                    <a:lnTo>
                      <a:pt x="221" y="1765"/>
                    </a:lnTo>
                    <a:lnTo>
                      <a:pt x="244" y="1782"/>
                    </a:lnTo>
                    <a:lnTo>
                      <a:pt x="270" y="1797"/>
                    </a:lnTo>
                    <a:lnTo>
                      <a:pt x="296" y="1811"/>
                    </a:lnTo>
                    <a:lnTo>
                      <a:pt x="324" y="1824"/>
                    </a:lnTo>
                    <a:lnTo>
                      <a:pt x="338" y="1830"/>
                    </a:lnTo>
                    <a:lnTo>
                      <a:pt x="353" y="1836"/>
                    </a:lnTo>
                    <a:lnTo>
                      <a:pt x="368" y="1841"/>
                    </a:lnTo>
                    <a:lnTo>
                      <a:pt x="383" y="1846"/>
                    </a:lnTo>
                    <a:lnTo>
                      <a:pt x="415" y="1855"/>
                    </a:lnTo>
                    <a:lnTo>
                      <a:pt x="448" y="1862"/>
                    </a:lnTo>
                    <a:lnTo>
                      <a:pt x="484" y="1868"/>
                    </a:lnTo>
                    <a:lnTo>
                      <a:pt x="520" y="1871"/>
                    </a:lnTo>
                    <a:lnTo>
                      <a:pt x="557" y="1874"/>
                    </a:lnTo>
                    <a:lnTo>
                      <a:pt x="596" y="1875"/>
                    </a:lnTo>
                    <a:lnTo>
                      <a:pt x="628" y="1874"/>
                    </a:lnTo>
                    <a:lnTo>
                      <a:pt x="659" y="1872"/>
                    </a:lnTo>
                    <a:lnTo>
                      <a:pt x="690" y="1869"/>
                    </a:lnTo>
                    <a:lnTo>
                      <a:pt x="721" y="1864"/>
                    </a:lnTo>
                    <a:lnTo>
                      <a:pt x="750" y="1859"/>
                    </a:lnTo>
                    <a:lnTo>
                      <a:pt x="779" y="1852"/>
                    </a:lnTo>
                    <a:lnTo>
                      <a:pt x="806" y="1843"/>
                    </a:lnTo>
                    <a:lnTo>
                      <a:pt x="834" y="18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42" name="Freeform 7"/>
              <p:cNvSpPr>
                <a:spLocks/>
              </p:cNvSpPr>
              <p:nvPr/>
            </p:nvSpPr>
            <p:spPr bwMode="auto">
              <a:xfrm>
                <a:off x="926813" y="259248"/>
                <a:ext cx="121265" cy="194272"/>
              </a:xfrm>
              <a:custGeom>
                <a:avLst/>
                <a:gdLst>
                  <a:gd name="T0" fmla="*/ 197 w 1175"/>
                  <a:gd name="T1" fmla="*/ 1747 h 1875"/>
                  <a:gd name="T2" fmla="*/ 294 w 1175"/>
                  <a:gd name="T3" fmla="*/ 1811 h 1875"/>
                  <a:gd name="T4" fmla="*/ 366 w 1175"/>
                  <a:gd name="T5" fmla="*/ 1841 h 1875"/>
                  <a:gd name="T6" fmla="*/ 481 w 1175"/>
                  <a:gd name="T7" fmla="*/ 1868 h 1875"/>
                  <a:gd name="T8" fmla="*/ 622 w 1175"/>
                  <a:gd name="T9" fmla="*/ 1874 h 1875"/>
                  <a:gd name="T10" fmla="*/ 728 w 1175"/>
                  <a:gd name="T11" fmla="*/ 1863 h 1875"/>
                  <a:gd name="T12" fmla="*/ 826 w 1175"/>
                  <a:gd name="T13" fmla="*/ 1836 h 1875"/>
                  <a:gd name="T14" fmla="*/ 915 w 1175"/>
                  <a:gd name="T15" fmla="*/ 1794 h 1875"/>
                  <a:gd name="T16" fmla="*/ 995 w 1175"/>
                  <a:gd name="T17" fmla="*/ 1737 h 1875"/>
                  <a:gd name="T18" fmla="*/ 1063 w 1175"/>
                  <a:gd name="T19" fmla="*/ 1668 h 1875"/>
                  <a:gd name="T20" fmla="*/ 1116 w 1175"/>
                  <a:gd name="T21" fmla="*/ 1586 h 1875"/>
                  <a:gd name="T22" fmla="*/ 1154 w 1175"/>
                  <a:gd name="T23" fmla="*/ 1493 h 1875"/>
                  <a:gd name="T24" fmla="*/ 806 w 1175"/>
                  <a:gd name="T25" fmla="*/ 1310 h 1875"/>
                  <a:gd name="T26" fmla="*/ 782 w 1175"/>
                  <a:gd name="T27" fmla="*/ 1391 h 1875"/>
                  <a:gd name="T28" fmla="*/ 734 w 1175"/>
                  <a:gd name="T29" fmla="*/ 1452 h 1875"/>
                  <a:gd name="T30" fmla="*/ 669 w 1175"/>
                  <a:gd name="T31" fmla="*/ 1490 h 1875"/>
                  <a:gd name="T32" fmla="*/ 595 w 1175"/>
                  <a:gd name="T33" fmla="*/ 1503 h 1875"/>
                  <a:gd name="T34" fmla="*/ 540 w 1175"/>
                  <a:gd name="T35" fmla="*/ 1499 h 1875"/>
                  <a:gd name="T36" fmla="*/ 496 w 1175"/>
                  <a:gd name="T37" fmla="*/ 1486 h 1875"/>
                  <a:gd name="T38" fmla="*/ 460 w 1175"/>
                  <a:gd name="T39" fmla="*/ 1465 h 1875"/>
                  <a:gd name="T40" fmla="*/ 433 w 1175"/>
                  <a:gd name="T41" fmla="*/ 1435 h 1875"/>
                  <a:gd name="T42" fmla="*/ 398 w 1175"/>
                  <a:gd name="T43" fmla="*/ 1357 h 1875"/>
                  <a:gd name="T44" fmla="*/ 387 w 1175"/>
                  <a:gd name="T45" fmla="*/ 1259 h 1875"/>
                  <a:gd name="T46" fmla="*/ 393 w 1175"/>
                  <a:gd name="T47" fmla="*/ 525 h 1875"/>
                  <a:gd name="T48" fmla="*/ 421 w 1175"/>
                  <a:gd name="T49" fmla="*/ 457 h 1875"/>
                  <a:gd name="T50" fmla="*/ 452 w 1175"/>
                  <a:gd name="T51" fmla="*/ 420 h 1875"/>
                  <a:gd name="T52" fmla="*/ 485 w 1175"/>
                  <a:gd name="T53" fmla="*/ 396 h 1875"/>
                  <a:gd name="T54" fmla="*/ 527 w 1175"/>
                  <a:gd name="T55" fmla="*/ 379 h 1875"/>
                  <a:gd name="T56" fmla="*/ 579 w 1175"/>
                  <a:gd name="T57" fmla="*/ 371 h 1875"/>
                  <a:gd name="T58" fmla="*/ 634 w 1175"/>
                  <a:gd name="T59" fmla="*/ 374 h 1875"/>
                  <a:gd name="T60" fmla="*/ 679 w 1175"/>
                  <a:gd name="T61" fmla="*/ 387 h 1875"/>
                  <a:gd name="T62" fmla="*/ 741 w 1175"/>
                  <a:gd name="T63" fmla="*/ 428 h 1875"/>
                  <a:gd name="T64" fmla="*/ 787 w 1175"/>
                  <a:gd name="T65" fmla="*/ 490 h 1875"/>
                  <a:gd name="T66" fmla="*/ 808 w 1175"/>
                  <a:gd name="T67" fmla="*/ 556 h 1875"/>
                  <a:gd name="T68" fmla="*/ 1165 w 1175"/>
                  <a:gd name="T69" fmla="*/ 417 h 1875"/>
                  <a:gd name="T70" fmla="*/ 1133 w 1175"/>
                  <a:gd name="T71" fmla="*/ 330 h 1875"/>
                  <a:gd name="T72" fmla="*/ 1087 w 1175"/>
                  <a:gd name="T73" fmla="*/ 246 h 1875"/>
                  <a:gd name="T74" fmla="*/ 1028 w 1175"/>
                  <a:gd name="T75" fmla="*/ 173 h 1875"/>
                  <a:gd name="T76" fmla="*/ 957 w 1175"/>
                  <a:gd name="T77" fmla="*/ 110 h 1875"/>
                  <a:gd name="T78" fmla="*/ 871 w 1175"/>
                  <a:gd name="T79" fmla="*/ 59 h 1875"/>
                  <a:gd name="T80" fmla="*/ 770 w 1175"/>
                  <a:gd name="T81" fmla="*/ 21 h 1875"/>
                  <a:gd name="T82" fmla="*/ 656 w 1175"/>
                  <a:gd name="T83" fmla="*/ 2 h 1875"/>
                  <a:gd name="T84" fmla="*/ 516 w 1175"/>
                  <a:gd name="T85" fmla="*/ 3 h 1875"/>
                  <a:gd name="T86" fmla="*/ 410 w 1175"/>
                  <a:gd name="T87" fmla="*/ 21 h 1875"/>
                  <a:gd name="T88" fmla="*/ 348 w 1175"/>
                  <a:gd name="T89" fmla="*/ 41 h 1875"/>
                  <a:gd name="T90" fmla="*/ 265 w 1175"/>
                  <a:gd name="T91" fmla="*/ 83 h 1875"/>
                  <a:gd name="T92" fmla="*/ 174 w 1175"/>
                  <a:gd name="T93" fmla="*/ 152 h 1875"/>
                  <a:gd name="T94" fmla="*/ 102 w 1175"/>
                  <a:gd name="T95" fmla="*/ 236 h 1875"/>
                  <a:gd name="T96" fmla="*/ 51 w 1175"/>
                  <a:gd name="T97" fmla="*/ 332 h 1875"/>
                  <a:gd name="T98" fmla="*/ 19 w 1175"/>
                  <a:gd name="T99" fmla="*/ 435 h 1875"/>
                  <a:gd name="T100" fmla="*/ 2 w 1175"/>
                  <a:gd name="T101" fmla="*/ 539 h 1875"/>
                  <a:gd name="T102" fmla="*/ 1 w 1175"/>
                  <a:gd name="T103" fmla="*/ 1279 h 1875"/>
                  <a:gd name="T104" fmla="*/ 14 w 1175"/>
                  <a:gd name="T105" fmla="*/ 1401 h 1875"/>
                  <a:gd name="T106" fmla="*/ 43 w 1175"/>
                  <a:gd name="T107" fmla="*/ 1515 h 1875"/>
                  <a:gd name="T108" fmla="*/ 90 w 1175"/>
                  <a:gd name="T109" fmla="*/ 1619 h 1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75" h="1875">
                    <a:moveTo>
                      <a:pt x="138" y="1688"/>
                    </a:moveTo>
                    <a:lnTo>
                      <a:pt x="157" y="1709"/>
                    </a:lnTo>
                    <a:lnTo>
                      <a:pt x="176" y="1729"/>
                    </a:lnTo>
                    <a:lnTo>
                      <a:pt x="197" y="1747"/>
                    </a:lnTo>
                    <a:lnTo>
                      <a:pt x="219" y="1765"/>
                    </a:lnTo>
                    <a:lnTo>
                      <a:pt x="243" y="1781"/>
                    </a:lnTo>
                    <a:lnTo>
                      <a:pt x="268" y="1797"/>
                    </a:lnTo>
                    <a:lnTo>
                      <a:pt x="294" y="1811"/>
                    </a:lnTo>
                    <a:lnTo>
                      <a:pt x="321" y="1824"/>
                    </a:lnTo>
                    <a:lnTo>
                      <a:pt x="335" y="1830"/>
                    </a:lnTo>
                    <a:lnTo>
                      <a:pt x="351" y="1836"/>
                    </a:lnTo>
                    <a:lnTo>
                      <a:pt x="366" y="1841"/>
                    </a:lnTo>
                    <a:lnTo>
                      <a:pt x="381" y="1846"/>
                    </a:lnTo>
                    <a:lnTo>
                      <a:pt x="413" y="1855"/>
                    </a:lnTo>
                    <a:lnTo>
                      <a:pt x="446" y="1862"/>
                    </a:lnTo>
                    <a:lnTo>
                      <a:pt x="481" y="1868"/>
                    </a:lnTo>
                    <a:lnTo>
                      <a:pt x="517" y="1872"/>
                    </a:lnTo>
                    <a:lnTo>
                      <a:pt x="555" y="1874"/>
                    </a:lnTo>
                    <a:lnTo>
                      <a:pt x="595" y="1875"/>
                    </a:lnTo>
                    <a:lnTo>
                      <a:pt x="622" y="1874"/>
                    </a:lnTo>
                    <a:lnTo>
                      <a:pt x="650" y="1873"/>
                    </a:lnTo>
                    <a:lnTo>
                      <a:pt x="676" y="1871"/>
                    </a:lnTo>
                    <a:lnTo>
                      <a:pt x="702" y="1867"/>
                    </a:lnTo>
                    <a:lnTo>
                      <a:pt x="728" y="1863"/>
                    </a:lnTo>
                    <a:lnTo>
                      <a:pt x="753" y="1858"/>
                    </a:lnTo>
                    <a:lnTo>
                      <a:pt x="778" y="1851"/>
                    </a:lnTo>
                    <a:lnTo>
                      <a:pt x="802" y="1844"/>
                    </a:lnTo>
                    <a:lnTo>
                      <a:pt x="826" y="1836"/>
                    </a:lnTo>
                    <a:lnTo>
                      <a:pt x="849" y="1827"/>
                    </a:lnTo>
                    <a:lnTo>
                      <a:pt x="872" y="1817"/>
                    </a:lnTo>
                    <a:lnTo>
                      <a:pt x="894" y="1806"/>
                    </a:lnTo>
                    <a:lnTo>
                      <a:pt x="915" y="1794"/>
                    </a:lnTo>
                    <a:lnTo>
                      <a:pt x="936" y="1782"/>
                    </a:lnTo>
                    <a:lnTo>
                      <a:pt x="956" y="1768"/>
                    </a:lnTo>
                    <a:lnTo>
                      <a:pt x="976" y="1753"/>
                    </a:lnTo>
                    <a:lnTo>
                      <a:pt x="995" y="1737"/>
                    </a:lnTo>
                    <a:lnTo>
                      <a:pt x="1013" y="1721"/>
                    </a:lnTo>
                    <a:lnTo>
                      <a:pt x="1030" y="1704"/>
                    </a:lnTo>
                    <a:lnTo>
                      <a:pt x="1046" y="1686"/>
                    </a:lnTo>
                    <a:lnTo>
                      <a:pt x="1063" y="1668"/>
                    </a:lnTo>
                    <a:lnTo>
                      <a:pt x="1077" y="1649"/>
                    </a:lnTo>
                    <a:lnTo>
                      <a:pt x="1091" y="1629"/>
                    </a:lnTo>
                    <a:lnTo>
                      <a:pt x="1104" y="1607"/>
                    </a:lnTo>
                    <a:lnTo>
                      <a:pt x="1116" y="1586"/>
                    </a:lnTo>
                    <a:lnTo>
                      <a:pt x="1127" y="1564"/>
                    </a:lnTo>
                    <a:lnTo>
                      <a:pt x="1137" y="1541"/>
                    </a:lnTo>
                    <a:lnTo>
                      <a:pt x="1146" y="1517"/>
                    </a:lnTo>
                    <a:lnTo>
                      <a:pt x="1154" y="1493"/>
                    </a:lnTo>
                    <a:lnTo>
                      <a:pt x="1161" y="1468"/>
                    </a:lnTo>
                    <a:lnTo>
                      <a:pt x="1167" y="1442"/>
                    </a:lnTo>
                    <a:lnTo>
                      <a:pt x="1173" y="1416"/>
                    </a:lnTo>
                    <a:lnTo>
                      <a:pt x="806" y="1310"/>
                    </a:lnTo>
                    <a:lnTo>
                      <a:pt x="802" y="1332"/>
                    </a:lnTo>
                    <a:lnTo>
                      <a:pt x="797" y="1353"/>
                    </a:lnTo>
                    <a:lnTo>
                      <a:pt x="791" y="1372"/>
                    </a:lnTo>
                    <a:lnTo>
                      <a:pt x="782" y="1391"/>
                    </a:lnTo>
                    <a:lnTo>
                      <a:pt x="773" y="1408"/>
                    </a:lnTo>
                    <a:lnTo>
                      <a:pt x="761" y="1423"/>
                    </a:lnTo>
                    <a:lnTo>
                      <a:pt x="749" y="1438"/>
                    </a:lnTo>
                    <a:lnTo>
                      <a:pt x="734" y="1452"/>
                    </a:lnTo>
                    <a:lnTo>
                      <a:pt x="719" y="1464"/>
                    </a:lnTo>
                    <a:lnTo>
                      <a:pt x="703" y="1474"/>
                    </a:lnTo>
                    <a:lnTo>
                      <a:pt x="686" y="1483"/>
                    </a:lnTo>
                    <a:lnTo>
                      <a:pt x="669" y="1490"/>
                    </a:lnTo>
                    <a:lnTo>
                      <a:pt x="651" y="1496"/>
                    </a:lnTo>
                    <a:lnTo>
                      <a:pt x="633" y="1500"/>
                    </a:lnTo>
                    <a:lnTo>
                      <a:pt x="614" y="1502"/>
                    </a:lnTo>
                    <a:lnTo>
                      <a:pt x="595" y="1503"/>
                    </a:lnTo>
                    <a:lnTo>
                      <a:pt x="580" y="1503"/>
                    </a:lnTo>
                    <a:lnTo>
                      <a:pt x="566" y="1502"/>
                    </a:lnTo>
                    <a:lnTo>
                      <a:pt x="553" y="1501"/>
                    </a:lnTo>
                    <a:lnTo>
                      <a:pt x="540" y="1499"/>
                    </a:lnTo>
                    <a:lnTo>
                      <a:pt x="529" y="1497"/>
                    </a:lnTo>
                    <a:lnTo>
                      <a:pt x="517" y="1494"/>
                    </a:lnTo>
                    <a:lnTo>
                      <a:pt x="506" y="1490"/>
                    </a:lnTo>
                    <a:lnTo>
                      <a:pt x="496" y="1486"/>
                    </a:lnTo>
                    <a:lnTo>
                      <a:pt x="486" y="1482"/>
                    </a:lnTo>
                    <a:lnTo>
                      <a:pt x="477" y="1477"/>
                    </a:lnTo>
                    <a:lnTo>
                      <a:pt x="468" y="1471"/>
                    </a:lnTo>
                    <a:lnTo>
                      <a:pt x="460" y="1465"/>
                    </a:lnTo>
                    <a:lnTo>
                      <a:pt x="453" y="1458"/>
                    </a:lnTo>
                    <a:lnTo>
                      <a:pt x="446" y="1451"/>
                    </a:lnTo>
                    <a:lnTo>
                      <a:pt x="439" y="1443"/>
                    </a:lnTo>
                    <a:lnTo>
                      <a:pt x="433" y="1435"/>
                    </a:lnTo>
                    <a:lnTo>
                      <a:pt x="422" y="1417"/>
                    </a:lnTo>
                    <a:lnTo>
                      <a:pt x="413" y="1398"/>
                    </a:lnTo>
                    <a:lnTo>
                      <a:pt x="405" y="1378"/>
                    </a:lnTo>
                    <a:lnTo>
                      <a:pt x="398" y="1357"/>
                    </a:lnTo>
                    <a:lnTo>
                      <a:pt x="393" y="1334"/>
                    </a:lnTo>
                    <a:lnTo>
                      <a:pt x="390" y="1311"/>
                    </a:lnTo>
                    <a:lnTo>
                      <a:pt x="387" y="1285"/>
                    </a:lnTo>
                    <a:lnTo>
                      <a:pt x="387" y="1259"/>
                    </a:lnTo>
                    <a:lnTo>
                      <a:pt x="387" y="575"/>
                    </a:lnTo>
                    <a:lnTo>
                      <a:pt x="387" y="558"/>
                    </a:lnTo>
                    <a:lnTo>
                      <a:pt x="389" y="542"/>
                    </a:lnTo>
                    <a:lnTo>
                      <a:pt x="393" y="525"/>
                    </a:lnTo>
                    <a:lnTo>
                      <a:pt x="398" y="507"/>
                    </a:lnTo>
                    <a:lnTo>
                      <a:pt x="404" y="490"/>
                    </a:lnTo>
                    <a:lnTo>
                      <a:pt x="411" y="473"/>
                    </a:lnTo>
                    <a:lnTo>
                      <a:pt x="421" y="457"/>
                    </a:lnTo>
                    <a:lnTo>
                      <a:pt x="432" y="441"/>
                    </a:lnTo>
                    <a:lnTo>
                      <a:pt x="438" y="434"/>
                    </a:lnTo>
                    <a:lnTo>
                      <a:pt x="445" y="427"/>
                    </a:lnTo>
                    <a:lnTo>
                      <a:pt x="452" y="420"/>
                    </a:lnTo>
                    <a:lnTo>
                      <a:pt x="460" y="413"/>
                    </a:lnTo>
                    <a:lnTo>
                      <a:pt x="468" y="407"/>
                    </a:lnTo>
                    <a:lnTo>
                      <a:pt x="476" y="401"/>
                    </a:lnTo>
                    <a:lnTo>
                      <a:pt x="485" y="396"/>
                    </a:lnTo>
                    <a:lnTo>
                      <a:pt x="495" y="391"/>
                    </a:lnTo>
                    <a:lnTo>
                      <a:pt x="505" y="386"/>
                    </a:lnTo>
                    <a:lnTo>
                      <a:pt x="516" y="382"/>
                    </a:lnTo>
                    <a:lnTo>
                      <a:pt x="527" y="379"/>
                    </a:lnTo>
                    <a:lnTo>
                      <a:pt x="539" y="376"/>
                    </a:lnTo>
                    <a:lnTo>
                      <a:pt x="552" y="374"/>
                    </a:lnTo>
                    <a:lnTo>
                      <a:pt x="565" y="372"/>
                    </a:lnTo>
                    <a:lnTo>
                      <a:pt x="579" y="371"/>
                    </a:lnTo>
                    <a:lnTo>
                      <a:pt x="595" y="371"/>
                    </a:lnTo>
                    <a:lnTo>
                      <a:pt x="608" y="371"/>
                    </a:lnTo>
                    <a:lnTo>
                      <a:pt x="621" y="372"/>
                    </a:lnTo>
                    <a:lnTo>
                      <a:pt x="634" y="374"/>
                    </a:lnTo>
                    <a:lnTo>
                      <a:pt x="646" y="376"/>
                    </a:lnTo>
                    <a:lnTo>
                      <a:pt x="657" y="379"/>
                    </a:lnTo>
                    <a:lnTo>
                      <a:pt x="668" y="383"/>
                    </a:lnTo>
                    <a:lnTo>
                      <a:pt x="679" y="387"/>
                    </a:lnTo>
                    <a:lnTo>
                      <a:pt x="689" y="392"/>
                    </a:lnTo>
                    <a:lnTo>
                      <a:pt x="708" y="403"/>
                    </a:lnTo>
                    <a:lnTo>
                      <a:pt x="725" y="415"/>
                    </a:lnTo>
                    <a:lnTo>
                      <a:pt x="741" y="428"/>
                    </a:lnTo>
                    <a:lnTo>
                      <a:pt x="755" y="442"/>
                    </a:lnTo>
                    <a:lnTo>
                      <a:pt x="767" y="457"/>
                    </a:lnTo>
                    <a:lnTo>
                      <a:pt x="778" y="473"/>
                    </a:lnTo>
                    <a:lnTo>
                      <a:pt x="787" y="490"/>
                    </a:lnTo>
                    <a:lnTo>
                      <a:pt x="794" y="507"/>
                    </a:lnTo>
                    <a:lnTo>
                      <a:pt x="799" y="524"/>
                    </a:lnTo>
                    <a:lnTo>
                      <a:pt x="804" y="541"/>
                    </a:lnTo>
                    <a:lnTo>
                      <a:pt x="808" y="556"/>
                    </a:lnTo>
                    <a:lnTo>
                      <a:pt x="811" y="569"/>
                    </a:lnTo>
                    <a:lnTo>
                      <a:pt x="1175" y="461"/>
                    </a:lnTo>
                    <a:lnTo>
                      <a:pt x="1170" y="439"/>
                    </a:lnTo>
                    <a:lnTo>
                      <a:pt x="1165" y="417"/>
                    </a:lnTo>
                    <a:lnTo>
                      <a:pt x="1158" y="395"/>
                    </a:lnTo>
                    <a:lnTo>
                      <a:pt x="1150" y="373"/>
                    </a:lnTo>
                    <a:lnTo>
                      <a:pt x="1142" y="351"/>
                    </a:lnTo>
                    <a:lnTo>
                      <a:pt x="1133" y="330"/>
                    </a:lnTo>
                    <a:lnTo>
                      <a:pt x="1123" y="309"/>
                    </a:lnTo>
                    <a:lnTo>
                      <a:pt x="1112" y="288"/>
                    </a:lnTo>
                    <a:lnTo>
                      <a:pt x="1100" y="266"/>
                    </a:lnTo>
                    <a:lnTo>
                      <a:pt x="1087" y="246"/>
                    </a:lnTo>
                    <a:lnTo>
                      <a:pt x="1074" y="227"/>
                    </a:lnTo>
                    <a:lnTo>
                      <a:pt x="1060" y="208"/>
                    </a:lnTo>
                    <a:lnTo>
                      <a:pt x="1044" y="190"/>
                    </a:lnTo>
                    <a:lnTo>
                      <a:pt x="1028" y="173"/>
                    </a:lnTo>
                    <a:lnTo>
                      <a:pt x="1011" y="156"/>
                    </a:lnTo>
                    <a:lnTo>
                      <a:pt x="994" y="140"/>
                    </a:lnTo>
                    <a:lnTo>
                      <a:pt x="976" y="125"/>
                    </a:lnTo>
                    <a:lnTo>
                      <a:pt x="957" y="110"/>
                    </a:lnTo>
                    <a:lnTo>
                      <a:pt x="937" y="96"/>
                    </a:lnTo>
                    <a:lnTo>
                      <a:pt x="916" y="82"/>
                    </a:lnTo>
                    <a:lnTo>
                      <a:pt x="894" y="70"/>
                    </a:lnTo>
                    <a:lnTo>
                      <a:pt x="871" y="59"/>
                    </a:lnTo>
                    <a:lnTo>
                      <a:pt x="847" y="48"/>
                    </a:lnTo>
                    <a:lnTo>
                      <a:pt x="822" y="38"/>
                    </a:lnTo>
                    <a:lnTo>
                      <a:pt x="796" y="29"/>
                    </a:lnTo>
                    <a:lnTo>
                      <a:pt x="770" y="21"/>
                    </a:lnTo>
                    <a:lnTo>
                      <a:pt x="742" y="15"/>
                    </a:lnTo>
                    <a:lnTo>
                      <a:pt x="714" y="9"/>
                    </a:lnTo>
                    <a:lnTo>
                      <a:pt x="686" y="5"/>
                    </a:lnTo>
                    <a:lnTo>
                      <a:pt x="656" y="2"/>
                    </a:lnTo>
                    <a:lnTo>
                      <a:pt x="626" y="1"/>
                    </a:lnTo>
                    <a:lnTo>
                      <a:pt x="595" y="0"/>
                    </a:lnTo>
                    <a:lnTo>
                      <a:pt x="554" y="1"/>
                    </a:lnTo>
                    <a:lnTo>
                      <a:pt x="516" y="3"/>
                    </a:lnTo>
                    <a:lnTo>
                      <a:pt x="479" y="7"/>
                    </a:lnTo>
                    <a:lnTo>
                      <a:pt x="444" y="13"/>
                    </a:lnTo>
                    <a:lnTo>
                      <a:pt x="427" y="17"/>
                    </a:lnTo>
                    <a:lnTo>
                      <a:pt x="410" y="21"/>
                    </a:lnTo>
                    <a:lnTo>
                      <a:pt x="394" y="25"/>
                    </a:lnTo>
                    <a:lnTo>
                      <a:pt x="378" y="30"/>
                    </a:lnTo>
                    <a:lnTo>
                      <a:pt x="363" y="35"/>
                    </a:lnTo>
                    <a:lnTo>
                      <a:pt x="348" y="41"/>
                    </a:lnTo>
                    <a:lnTo>
                      <a:pt x="332" y="47"/>
                    </a:lnTo>
                    <a:lnTo>
                      <a:pt x="318" y="54"/>
                    </a:lnTo>
                    <a:lnTo>
                      <a:pt x="291" y="68"/>
                    </a:lnTo>
                    <a:lnTo>
                      <a:pt x="265" y="83"/>
                    </a:lnTo>
                    <a:lnTo>
                      <a:pt x="240" y="99"/>
                    </a:lnTo>
                    <a:lnTo>
                      <a:pt x="217" y="116"/>
                    </a:lnTo>
                    <a:lnTo>
                      <a:pt x="194" y="134"/>
                    </a:lnTo>
                    <a:lnTo>
                      <a:pt x="174" y="152"/>
                    </a:lnTo>
                    <a:lnTo>
                      <a:pt x="154" y="172"/>
                    </a:lnTo>
                    <a:lnTo>
                      <a:pt x="136" y="193"/>
                    </a:lnTo>
                    <a:lnTo>
                      <a:pt x="119" y="214"/>
                    </a:lnTo>
                    <a:lnTo>
                      <a:pt x="102" y="236"/>
                    </a:lnTo>
                    <a:lnTo>
                      <a:pt x="88" y="259"/>
                    </a:lnTo>
                    <a:lnTo>
                      <a:pt x="74" y="282"/>
                    </a:lnTo>
                    <a:lnTo>
                      <a:pt x="62" y="307"/>
                    </a:lnTo>
                    <a:lnTo>
                      <a:pt x="51" y="332"/>
                    </a:lnTo>
                    <a:lnTo>
                      <a:pt x="41" y="357"/>
                    </a:lnTo>
                    <a:lnTo>
                      <a:pt x="33" y="383"/>
                    </a:lnTo>
                    <a:lnTo>
                      <a:pt x="25" y="409"/>
                    </a:lnTo>
                    <a:lnTo>
                      <a:pt x="19" y="435"/>
                    </a:lnTo>
                    <a:lnTo>
                      <a:pt x="13" y="461"/>
                    </a:lnTo>
                    <a:lnTo>
                      <a:pt x="9" y="487"/>
                    </a:lnTo>
                    <a:lnTo>
                      <a:pt x="5" y="513"/>
                    </a:lnTo>
                    <a:lnTo>
                      <a:pt x="2" y="539"/>
                    </a:lnTo>
                    <a:lnTo>
                      <a:pt x="1" y="565"/>
                    </a:lnTo>
                    <a:lnTo>
                      <a:pt x="0" y="591"/>
                    </a:lnTo>
                    <a:lnTo>
                      <a:pt x="0" y="1248"/>
                    </a:lnTo>
                    <a:lnTo>
                      <a:pt x="1" y="1279"/>
                    </a:lnTo>
                    <a:lnTo>
                      <a:pt x="3" y="1311"/>
                    </a:lnTo>
                    <a:lnTo>
                      <a:pt x="5" y="1341"/>
                    </a:lnTo>
                    <a:lnTo>
                      <a:pt x="9" y="1371"/>
                    </a:lnTo>
                    <a:lnTo>
                      <a:pt x="14" y="1401"/>
                    </a:lnTo>
                    <a:lnTo>
                      <a:pt x="20" y="1430"/>
                    </a:lnTo>
                    <a:lnTo>
                      <a:pt x="27" y="1459"/>
                    </a:lnTo>
                    <a:lnTo>
                      <a:pt x="34" y="1487"/>
                    </a:lnTo>
                    <a:lnTo>
                      <a:pt x="43" y="1515"/>
                    </a:lnTo>
                    <a:lnTo>
                      <a:pt x="53" y="1543"/>
                    </a:lnTo>
                    <a:lnTo>
                      <a:pt x="64" y="1569"/>
                    </a:lnTo>
                    <a:lnTo>
                      <a:pt x="77" y="1594"/>
                    </a:lnTo>
                    <a:lnTo>
                      <a:pt x="90" y="1619"/>
                    </a:lnTo>
                    <a:lnTo>
                      <a:pt x="105" y="1643"/>
                    </a:lnTo>
                    <a:lnTo>
                      <a:pt x="121" y="1666"/>
                    </a:lnTo>
                    <a:lnTo>
                      <a:pt x="138" y="16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43" name="Freeform 8"/>
              <p:cNvSpPr>
                <a:spLocks/>
              </p:cNvSpPr>
              <p:nvPr/>
            </p:nvSpPr>
            <p:spPr bwMode="auto">
              <a:xfrm>
                <a:off x="1081488" y="259248"/>
                <a:ext cx="121265" cy="194272"/>
              </a:xfrm>
              <a:custGeom>
                <a:avLst/>
                <a:gdLst>
                  <a:gd name="T0" fmla="*/ 419 w 1174"/>
                  <a:gd name="T1" fmla="*/ 457 h 1875"/>
                  <a:gd name="T2" fmla="*/ 450 w 1174"/>
                  <a:gd name="T3" fmla="*/ 420 h 1875"/>
                  <a:gd name="T4" fmla="*/ 484 w 1174"/>
                  <a:gd name="T5" fmla="*/ 396 h 1875"/>
                  <a:gd name="T6" fmla="*/ 527 w 1174"/>
                  <a:gd name="T7" fmla="*/ 379 h 1875"/>
                  <a:gd name="T8" fmla="*/ 579 w 1174"/>
                  <a:gd name="T9" fmla="*/ 371 h 1875"/>
                  <a:gd name="T10" fmla="*/ 632 w 1174"/>
                  <a:gd name="T11" fmla="*/ 374 h 1875"/>
                  <a:gd name="T12" fmla="*/ 677 w 1174"/>
                  <a:gd name="T13" fmla="*/ 387 h 1875"/>
                  <a:gd name="T14" fmla="*/ 741 w 1174"/>
                  <a:gd name="T15" fmla="*/ 428 h 1875"/>
                  <a:gd name="T16" fmla="*/ 782 w 1174"/>
                  <a:gd name="T17" fmla="*/ 481 h 1875"/>
                  <a:gd name="T18" fmla="*/ 798 w 1174"/>
                  <a:gd name="T19" fmla="*/ 524 h 1875"/>
                  <a:gd name="T20" fmla="*/ 1174 w 1174"/>
                  <a:gd name="T21" fmla="*/ 461 h 1875"/>
                  <a:gd name="T22" fmla="*/ 1149 w 1174"/>
                  <a:gd name="T23" fmla="*/ 373 h 1875"/>
                  <a:gd name="T24" fmla="*/ 1110 w 1174"/>
                  <a:gd name="T25" fmla="*/ 288 h 1875"/>
                  <a:gd name="T26" fmla="*/ 1059 w 1174"/>
                  <a:gd name="T27" fmla="*/ 208 h 1875"/>
                  <a:gd name="T28" fmla="*/ 994 w 1174"/>
                  <a:gd name="T29" fmla="*/ 140 h 1875"/>
                  <a:gd name="T30" fmla="*/ 914 w 1174"/>
                  <a:gd name="T31" fmla="*/ 83 h 1875"/>
                  <a:gd name="T32" fmla="*/ 821 w 1174"/>
                  <a:gd name="T33" fmla="*/ 38 h 1875"/>
                  <a:gd name="T34" fmla="*/ 713 w 1174"/>
                  <a:gd name="T35" fmla="*/ 9 h 1875"/>
                  <a:gd name="T36" fmla="*/ 593 w 1174"/>
                  <a:gd name="T37" fmla="*/ 0 h 1875"/>
                  <a:gd name="T38" fmla="*/ 443 w 1174"/>
                  <a:gd name="T39" fmla="*/ 13 h 1875"/>
                  <a:gd name="T40" fmla="*/ 377 w 1174"/>
                  <a:gd name="T41" fmla="*/ 30 h 1875"/>
                  <a:gd name="T42" fmla="*/ 318 w 1174"/>
                  <a:gd name="T43" fmla="*/ 54 h 1875"/>
                  <a:gd name="T44" fmla="*/ 215 w 1174"/>
                  <a:gd name="T45" fmla="*/ 116 h 1875"/>
                  <a:gd name="T46" fmla="*/ 134 w 1174"/>
                  <a:gd name="T47" fmla="*/ 193 h 1875"/>
                  <a:gd name="T48" fmla="*/ 74 w 1174"/>
                  <a:gd name="T49" fmla="*/ 282 h 1875"/>
                  <a:gd name="T50" fmla="*/ 33 w 1174"/>
                  <a:gd name="T51" fmla="*/ 383 h 1875"/>
                  <a:gd name="T52" fmla="*/ 8 w 1174"/>
                  <a:gd name="T53" fmla="*/ 487 h 1875"/>
                  <a:gd name="T54" fmla="*/ 0 w 1174"/>
                  <a:gd name="T55" fmla="*/ 591 h 1875"/>
                  <a:gd name="T56" fmla="*/ 5 w 1174"/>
                  <a:gd name="T57" fmla="*/ 1341 h 1875"/>
                  <a:gd name="T58" fmla="*/ 25 w 1174"/>
                  <a:gd name="T59" fmla="*/ 1459 h 1875"/>
                  <a:gd name="T60" fmla="*/ 64 w 1174"/>
                  <a:gd name="T61" fmla="*/ 1569 h 1875"/>
                  <a:gd name="T62" fmla="*/ 120 w 1174"/>
                  <a:gd name="T63" fmla="*/ 1666 h 1875"/>
                  <a:gd name="T64" fmla="*/ 196 w 1174"/>
                  <a:gd name="T65" fmla="*/ 1747 h 1875"/>
                  <a:gd name="T66" fmla="*/ 293 w 1174"/>
                  <a:gd name="T67" fmla="*/ 1811 h 1875"/>
                  <a:gd name="T68" fmla="*/ 364 w 1174"/>
                  <a:gd name="T69" fmla="*/ 1841 h 1875"/>
                  <a:gd name="T70" fmla="*/ 479 w 1174"/>
                  <a:gd name="T71" fmla="*/ 1868 h 1875"/>
                  <a:gd name="T72" fmla="*/ 621 w 1174"/>
                  <a:gd name="T73" fmla="*/ 1874 h 1875"/>
                  <a:gd name="T74" fmla="*/ 726 w 1174"/>
                  <a:gd name="T75" fmla="*/ 1863 h 1875"/>
                  <a:gd name="T76" fmla="*/ 825 w 1174"/>
                  <a:gd name="T77" fmla="*/ 1836 h 1875"/>
                  <a:gd name="T78" fmla="*/ 913 w 1174"/>
                  <a:gd name="T79" fmla="*/ 1794 h 1875"/>
                  <a:gd name="T80" fmla="*/ 994 w 1174"/>
                  <a:gd name="T81" fmla="*/ 1737 h 1875"/>
                  <a:gd name="T82" fmla="*/ 1061 w 1174"/>
                  <a:gd name="T83" fmla="*/ 1668 h 1875"/>
                  <a:gd name="T84" fmla="*/ 1114 w 1174"/>
                  <a:gd name="T85" fmla="*/ 1586 h 1875"/>
                  <a:gd name="T86" fmla="*/ 1152 w 1174"/>
                  <a:gd name="T87" fmla="*/ 1493 h 1875"/>
                  <a:gd name="T88" fmla="*/ 806 w 1174"/>
                  <a:gd name="T89" fmla="*/ 1310 h 1875"/>
                  <a:gd name="T90" fmla="*/ 782 w 1174"/>
                  <a:gd name="T91" fmla="*/ 1390 h 1875"/>
                  <a:gd name="T92" fmla="*/ 733 w 1174"/>
                  <a:gd name="T93" fmla="*/ 1452 h 1875"/>
                  <a:gd name="T94" fmla="*/ 667 w 1174"/>
                  <a:gd name="T95" fmla="*/ 1490 h 1875"/>
                  <a:gd name="T96" fmla="*/ 593 w 1174"/>
                  <a:gd name="T97" fmla="*/ 1503 h 1875"/>
                  <a:gd name="T98" fmla="*/ 540 w 1174"/>
                  <a:gd name="T99" fmla="*/ 1499 h 1875"/>
                  <a:gd name="T100" fmla="*/ 495 w 1174"/>
                  <a:gd name="T101" fmla="*/ 1486 h 1875"/>
                  <a:gd name="T102" fmla="*/ 459 w 1174"/>
                  <a:gd name="T103" fmla="*/ 1465 h 1875"/>
                  <a:gd name="T104" fmla="*/ 432 w 1174"/>
                  <a:gd name="T105" fmla="*/ 1435 h 1875"/>
                  <a:gd name="T106" fmla="*/ 397 w 1174"/>
                  <a:gd name="T107" fmla="*/ 1357 h 1875"/>
                  <a:gd name="T108" fmla="*/ 385 w 1174"/>
                  <a:gd name="T109" fmla="*/ 1259 h 1875"/>
                  <a:gd name="T110" fmla="*/ 391 w 1174"/>
                  <a:gd name="T111" fmla="*/ 525 h 1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74" h="1875">
                    <a:moveTo>
                      <a:pt x="396" y="507"/>
                    </a:moveTo>
                    <a:lnTo>
                      <a:pt x="402" y="490"/>
                    </a:lnTo>
                    <a:lnTo>
                      <a:pt x="410" y="473"/>
                    </a:lnTo>
                    <a:lnTo>
                      <a:pt x="419" y="457"/>
                    </a:lnTo>
                    <a:lnTo>
                      <a:pt x="430" y="441"/>
                    </a:lnTo>
                    <a:lnTo>
                      <a:pt x="436" y="434"/>
                    </a:lnTo>
                    <a:lnTo>
                      <a:pt x="443" y="427"/>
                    </a:lnTo>
                    <a:lnTo>
                      <a:pt x="450" y="420"/>
                    </a:lnTo>
                    <a:lnTo>
                      <a:pt x="458" y="413"/>
                    </a:lnTo>
                    <a:lnTo>
                      <a:pt x="466" y="407"/>
                    </a:lnTo>
                    <a:lnTo>
                      <a:pt x="475" y="401"/>
                    </a:lnTo>
                    <a:lnTo>
                      <a:pt x="484" y="396"/>
                    </a:lnTo>
                    <a:lnTo>
                      <a:pt x="494" y="391"/>
                    </a:lnTo>
                    <a:lnTo>
                      <a:pt x="505" y="386"/>
                    </a:lnTo>
                    <a:lnTo>
                      <a:pt x="516" y="382"/>
                    </a:lnTo>
                    <a:lnTo>
                      <a:pt x="527" y="379"/>
                    </a:lnTo>
                    <a:lnTo>
                      <a:pt x="539" y="376"/>
                    </a:lnTo>
                    <a:lnTo>
                      <a:pt x="552" y="374"/>
                    </a:lnTo>
                    <a:lnTo>
                      <a:pt x="565" y="372"/>
                    </a:lnTo>
                    <a:lnTo>
                      <a:pt x="579" y="371"/>
                    </a:lnTo>
                    <a:lnTo>
                      <a:pt x="593" y="371"/>
                    </a:lnTo>
                    <a:lnTo>
                      <a:pt x="606" y="371"/>
                    </a:lnTo>
                    <a:lnTo>
                      <a:pt x="619" y="372"/>
                    </a:lnTo>
                    <a:lnTo>
                      <a:pt x="632" y="374"/>
                    </a:lnTo>
                    <a:lnTo>
                      <a:pt x="644" y="376"/>
                    </a:lnTo>
                    <a:lnTo>
                      <a:pt x="656" y="379"/>
                    </a:lnTo>
                    <a:lnTo>
                      <a:pt x="667" y="383"/>
                    </a:lnTo>
                    <a:lnTo>
                      <a:pt x="677" y="387"/>
                    </a:lnTo>
                    <a:lnTo>
                      <a:pt x="688" y="392"/>
                    </a:lnTo>
                    <a:lnTo>
                      <a:pt x="707" y="403"/>
                    </a:lnTo>
                    <a:lnTo>
                      <a:pt x="724" y="415"/>
                    </a:lnTo>
                    <a:lnTo>
                      <a:pt x="741" y="428"/>
                    </a:lnTo>
                    <a:lnTo>
                      <a:pt x="755" y="442"/>
                    </a:lnTo>
                    <a:lnTo>
                      <a:pt x="767" y="457"/>
                    </a:lnTo>
                    <a:lnTo>
                      <a:pt x="778" y="473"/>
                    </a:lnTo>
                    <a:lnTo>
                      <a:pt x="782" y="481"/>
                    </a:lnTo>
                    <a:lnTo>
                      <a:pt x="786" y="490"/>
                    </a:lnTo>
                    <a:lnTo>
                      <a:pt x="790" y="498"/>
                    </a:lnTo>
                    <a:lnTo>
                      <a:pt x="793" y="507"/>
                    </a:lnTo>
                    <a:lnTo>
                      <a:pt x="798" y="524"/>
                    </a:lnTo>
                    <a:lnTo>
                      <a:pt x="803" y="541"/>
                    </a:lnTo>
                    <a:lnTo>
                      <a:pt x="807" y="556"/>
                    </a:lnTo>
                    <a:lnTo>
                      <a:pt x="810" y="569"/>
                    </a:lnTo>
                    <a:lnTo>
                      <a:pt x="1174" y="461"/>
                    </a:lnTo>
                    <a:lnTo>
                      <a:pt x="1169" y="439"/>
                    </a:lnTo>
                    <a:lnTo>
                      <a:pt x="1163" y="416"/>
                    </a:lnTo>
                    <a:lnTo>
                      <a:pt x="1156" y="395"/>
                    </a:lnTo>
                    <a:lnTo>
                      <a:pt x="1149" y="373"/>
                    </a:lnTo>
                    <a:lnTo>
                      <a:pt x="1140" y="351"/>
                    </a:lnTo>
                    <a:lnTo>
                      <a:pt x="1131" y="330"/>
                    </a:lnTo>
                    <a:lnTo>
                      <a:pt x="1121" y="309"/>
                    </a:lnTo>
                    <a:lnTo>
                      <a:pt x="1110" y="288"/>
                    </a:lnTo>
                    <a:lnTo>
                      <a:pt x="1099" y="266"/>
                    </a:lnTo>
                    <a:lnTo>
                      <a:pt x="1086" y="246"/>
                    </a:lnTo>
                    <a:lnTo>
                      <a:pt x="1073" y="227"/>
                    </a:lnTo>
                    <a:lnTo>
                      <a:pt x="1059" y="208"/>
                    </a:lnTo>
                    <a:lnTo>
                      <a:pt x="1044" y="190"/>
                    </a:lnTo>
                    <a:lnTo>
                      <a:pt x="1028" y="173"/>
                    </a:lnTo>
                    <a:lnTo>
                      <a:pt x="1011" y="156"/>
                    </a:lnTo>
                    <a:lnTo>
                      <a:pt x="994" y="140"/>
                    </a:lnTo>
                    <a:lnTo>
                      <a:pt x="975" y="125"/>
                    </a:lnTo>
                    <a:lnTo>
                      <a:pt x="955" y="110"/>
                    </a:lnTo>
                    <a:lnTo>
                      <a:pt x="935" y="96"/>
                    </a:lnTo>
                    <a:lnTo>
                      <a:pt x="914" y="83"/>
                    </a:lnTo>
                    <a:lnTo>
                      <a:pt x="892" y="70"/>
                    </a:lnTo>
                    <a:lnTo>
                      <a:pt x="869" y="59"/>
                    </a:lnTo>
                    <a:lnTo>
                      <a:pt x="846" y="48"/>
                    </a:lnTo>
                    <a:lnTo>
                      <a:pt x="821" y="38"/>
                    </a:lnTo>
                    <a:lnTo>
                      <a:pt x="796" y="29"/>
                    </a:lnTo>
                    <a:lnTo>
                      <a:pt x="769" y="21"/>
                    </a:lnTo>
                    <a:lnTo>
                      <a:pt x="742" y="15"/>
                    </a:lnTo>
                    <a:lnTo>
                      <a:pt x="713" y="9"/>
                    </a:lnTo>
                    <a:lnTo>
                      <a:pt x="684" y="5"/>
                    </a:lnTo>
                    <a:lnTo>
                      <a:pt x="654" y="2"/>
                    </a:lnTo>
                    <a:lnTo>
                      <a:pt x="624" y="1"/>
                    </a:lnTo>
                    <a:lnTo>
                      <a:pt x="593" y="0"/>
                    </a:lnTo>
                    <a:lnTo>
                      <a:pt x="553" y="1"/>
                    </a:lnTo>
                    <a:lnTo>
                      <a:pt x="515" y="3"/>
                    </a:lnTo>
                    <a:lnTo>
                      <a:pt x="478" y="7"/>
                    </a:lnTo>
                    <a:lnTo>
                      <a:pt x="443" y="13"/>
                    </a:lnTo>
                    <a:lnTo>
                      <a:pt x="426" y="17"/>
                    </a:lnTo>
                    <a:lnTo>
                      <a:pt x="409" y="21"/>
                    </a:lnTo>
                    <a:lnTo>
                      <a:pt x="393" y="25"/>
                    </a:lnTo>
                    <a:lnTo>
                      <a:pt x="377" y="30"/>
                    </a:lnTo>
                    <a:lnTo>
                      <a:pt x="362" y="35"/>
                    </a:lnTo>
                    <a:lnTo>
                      <a:pt x="347" y="41"/>
                    </a:lnTo>
                    <a:lnTo>
                      <a:pt x="332" y="47"/>
                    </a:lnTo>
                    <a:lnTo>
                      <a:pt x="318" y="54"/>
                    </a:lnTo>
                    <a:lnTo>
                      <a:pt x="291" y="68"/>
                    </a:lnTo>
                    <a:lnTo>
                      <a:pt x="264" y="83"/>
                    </a:lnTo>
                    <a:lnTo>
                      <a:pt x="238" y="99"/>
                    </a:lnTo>
                    <a:lnTo>
                      <a:pt x="215" y="116"/>
                    </a:lnTo>
                    <a:lnTo>
                      <a:pt x="193" y="134"/>
                    </a:lnTo>
                    <a:lnTo>
                      <a:pt x="172" y="152"/>
                    </a:lnTo>
                    <a:lnTo>
                      <a:pt x="153" y="172"/>
                    </a:lnTo>
                    <a:lnTo>
                      <a:pt x="134" y="193"/>
                    </a:lnTo>
                    <a:lnTo>
                      <a:pt x="118" y="214"/>
                    </a:lnTo>
                    <a:lnTo>
                      <a:pt x="102" y="236"/>
                    </a:lnTo>
                    <a:lnTo>
                      <a:pt x="87" y="259"/>
                    </a:lnTo>
                    <a:lnTo>
                      <a:pt x="74" y="282"/>
                    </a:lnTo>
                    <a:lnTo>
                      <a:pt x="62" y="307"/>
                    </a:lnTo>
                    <a:lnTo>
                      <a:pt x="51" y="332"/>
                    </a:lnTo>
                    <a:lnTo>
                      <a:pt x="41" y="357"/>
                    </a:lnTo>
                    <a:lnTo>
                      <a:pt x="33" y="383"/>
                    </a:lnTo>
                    <a:lnTo>
                      <a:pt x="24" y="409"/>
                    </a:lnTo>
                    <a:lnTo>
                      <a:pt x="18" y="435"/>
                    </a:lnTo>
                    <a:lnTo>
                      <a:pt x="12" y="461"/>
                    </a:lnTo>
                    <a:lnTo>
                      <a:pt x="8" y="487"/>
                    </a:lnTo>
                    <a:lnTo>
                      <a:pt x="5" y="513"/>
                    </a:lnTo>
                    <a:lnTo>
                      <a:pt x="2" y="539"/>
                    </a:lnTo>
                    <a:lnTo>
                      <a:pt x="1" y="565"/>
                    </a:lnTo>
                    <a:lnTo>
                      <a:pt x="0" y="591"/>
                    </a:lnTo>
                    <a:lnTo>
                      <a:pt x="0" y="1248"/>
                    </a:lnTo>
                    <a:lnTo>
                      <a:pt x="1" y="1279"/>
                    </a:lnTo>
                    <a:lnTo>
                      <a:pt x="2" y="1311"/>
                    </a:lnTo>
                    <a:lnTo>
                      <a:pt x="5" y="1341"/>
                    </a:lnTo>
                    <a:lnTo>
                      <a:pt x="8" y="1371"/>
                    </a:lnTo>
                    <a:lnTo>
                      <a:pt x="13" y="1401"/>
                    </a:lnTo>
                    <a:lnTo>
                      <a:pt x="18" y="1430"/>
                    </a:lnTo>
                    <a:lnTo>
                      <a:pt x="25" y="1459"/>
                    </a:lnTo>
                    <a:lnTo>
                      <a:pt x="34" y="1487"/>
                    </a:lnTo>
                    <a:lnTo>
                      <a:pt x="43" y="1515"/>
                    </a:lnTo>
                    <a:lnTo>
                      <a:pt x="53" y="1543"/>
                    </a:lnTo>
                    <a:lnTo>
                      <a:pt x="64" y="1569"/>
                    </a:lnTo>
                    <a:lnTo>
                      <a:pt x="76" y="1594"/>
                    </a:lnTo>
                    <a:lnTo>
                      <a:pt x="89" y="1619"/>
                    </a:lnTo>
                    <a:lnTo>
                      <a:pt x="104" y="1643"/>
                    </a:lnTo>
                    <a:lnTo>
                      <a:pt x="120" y="1666"/>
                    </a:lnTo>
                    <a:lnTo>
                      <a:pt x="137" y="1688"/>
                    </a:lnTo>
                    <a:lnTo>
                      <a:pt x="155" y="1709"/>
                    </a:lnTo>
                    <a:lnTo>
                      <a:pt x="175" y="1729"/>
                    </a:lnTo>
                    <a:lnTo>
                      <a:pt x="196" y="1747"/>
                    </a:lnTo>
                    <a:lnTo>
                      <a:pt x="218" y="1765"/>
                    </a:lnTo>
                    <a:lnTo>
                      <a:pt x="241" y="1781"/>
                    </a:lnTo>
                    <a:lnTo>
                      <a:pt x="267" y="1797"/>
                    </a:lnTo>
                    <a:lnTo>
                      <a:pt x="293" y="1811"/>
                    </a:lnTo>
                    <a:lnTo>
                      <a:pt x="321" y="1824"/>
                    </a:lnTo>
                    <a:lnTo>
                      <a:pt x="335" y="1830"/>
                    </a:lnTo>
                    <a:lnTo>
                      <a:pt x="349" y="1836"/>
                    </a:lnTo>
                    <a:lnTo>
                      <a:pt x="364" y="1841"/>
                    </a:lnTo>
                    <a:lnTo>
                      <a:pt x="379" y="1846"/>
                    </a:lnTo>
                    <a:lnTo>
                      <a:pt x="411" y="1855"/>
                    </a:lnTo>
                    <a:lnTo>
                      <a:pt x="444" y="1862"/>
                    </a:lnTo>
                    <a:lnTo>
                      <a:pt x="479" y="1868"/>
                    </a:lnTo>
                    <a:lnTo>
                      <a:pt x="516" y="1872"/>
                    </a:lnTo>
                    <a:lnTo>
                      <a:pt x="554" y="1874"/>
                    </a:lnTo>
                    <a:lnTo>
                      <a:pt x="593" y="1875"/>
                    </a:lnTo>
                    <a:lnTo>
                      <a:pt x="621" y="1874"/>
                    </a:lnTo>
                    <a:lnTo>
                      <a:pt x="648" y="1873"/>
                    </a:lnTo>
                    <a:lnTo>
                      <a:pt x="675" y="1871"/>
                    </a:lnTo>
                    <a:lnTo>
                      <a:pt x="701" y="1867"/>
                    </a:lnTo>
                    <a:lnTo>
                      <a:pt x="726" y="1863"/>
                    </a:lnTo>
                    <a:lnTo>
                      <a:pt x="753" y="1858"/>
                    </a:lnTo>
                    <a:lnTo>
                      <a:pt x="777" y="1851"/>
                    </a:lnTo>
                    <a:lnTo>
                      <a:pt x="801" y="1844"/>
                    </a:lnTo>
                    <a:lnTo>
                      <a:pt x="825" y="1836"/>
                    </a:lnTo>
                    <a:lnTo>
                      <a:pt x="848" y="1827"/>
                    </a:lnTo>
                    <a:lnTo>
                      <a:pt x="870" y="1817"/>
                    </a:lnTo>
                    <a:lnTo>
                      <a:pt x="892" y="1806"/>
                    </a:lnTo>
                    <a:lnTo>
                      <a:pt x="913" y="1794"/>
                    </a:lnTo>
                    <a:lnTo>
                      <a:pt x="934" y="1782"/>
                    </a:lnTo>
                    <a:lnTo>
                      <a:pt x="954" y="1768"/>
                    </a:lnTo>
                    <a:lnTo>
                      <a:pt x="975" y="1753"/>
                    </a:lnTo>
                    <a:lnTo>
                      <a:pt x="994" y="1737"/>
                    </a:lnTo>
                    <a:lnTo>
                      <a:pt x="1012" y="1721"/>
                    </a:lnTo>
                    <a:lnTo>
                      <a:pt x="1030" y="1704"/>
                    </a:lnTo>
                    <a:lnTo>
                      <a:pt x="1046" y="1686"/>
                    </a:lnTo>
                    <a:lnTo>
                      <a:pt x="1061" y="1668"/>
                    </a:lnTo>
                    <a:lnTo>
                      <a:pt x="1076" y="1649"/>
                    </a:lnTo>
                    <a:lnTo>
                      <a:pt x="1089" y="1629"/>
                    </a:lnTo>
                    <a:lnTo>
                      <a:pt x="1102" y="1607"/>
                    </a:lnTo>
                    <a:lnTo>
                      <a:pt x="1114" y="1586"/>
                    </a:lnTo>
                    <a:lnTo>
                      <a:pt x="1125" y="1564"/>
                    </a:lnTo>
                    <a:lnTo>
                      <a:pt x="1135" y="1541"/>
                    </a:lnTo>
                    <a:lnTo>
                      <a:pt x="1144" y="1517"/>
                    </a:lnTo>
                    <a:lnTo>
                      <a:pt x="1152" y="1493"/>
                    </a:lnTo>
                    <a:lnTo>
                      <a:pt x="1159" y="1468"/>
                    </a:lnTo>
                    <a:lnTo>
                      <a:pt x="1165" y="1442"/>
                    </a:lnTo>
                    <a:lnTo>
                      <a:pt x="1171" y="1416"/>
                    </a:lnTo>
                    <a:lnTo>
                      <a:pt x="806" y="1310"/>
                    </a:lnTo>
                    <a:lnTo>
                      <a:pt x="802" y="1332"/>
                    </a:lnTo>
                    <a:lnTo>
                      <a:pt x="797" y="1353"/>
                    </a:lnTo>
                    <a:lnTo>
                      <a:pt x="790" y="1372"/>
                    </a:lnTo>
                    <a:lnTo>
                      <a:pt x="782" y="1390"/>
                    </a:lnTo>
                    <a:lnTo>
                      <a:pt x="772" y="1408"/>
                    </a:lnTo>
                    <a:lnTo>
                      <a:pt x="761" y="1423"/>
                    </a:lnTo>
                    <a:lnTo>
                      <a:pt x="748" y="1438"/>
                    </a:lnTo>
                    <a:lnTo>
                      <a:pt x="733" y="1452"/>
                    </a:lnTo>
                    <a:lnTo>
                      <a:pt x="717" y="1464"/>
                    </a:lnTo>
                    <a:lnTo>
                      <a:pt x="701" y="1474"/>
                    </a:lnTo>
                    <a:lnTo>
                      <a:pt x="685" y="1483"/>
                    </a:lnTo>
                    <a:lnTo>
                      <a:pt x="667" y="1490"/>
                    </a:lnTo>
                    <a:lnTo>
                      <a:pt x="650" y="1496"/>
                    </a:lnTo>
                    <a:lnTo>
                      <a:pt x="631" y="1500"/>
                    </a:lnTo>
                    <a:lnTo>
                      <a:pt x="612" y="1502"/>
                    </a:lnTo>
                    <a:lnTo>
                      <a:pt x="593" y="1503"/>
                    </a:lnTo>
                    <a:lnTo>
                      <a:pt x="579" y="1503"/>
                    </a:lnTo>
                    <a:lnTo>
                      <a:pt x="565" y="1502"/>
                    </a:lnTo>
                    <a:lnTo>
                      <a:pt x="552" y="1501"/>
                    </a:lnTo>
                    <a:lnTo>
                      <a:pt x="540" y="1499"/>
                    </a:lnTo>
                    <a:lnTo>
                      <a:pt x="528" y="1497"/>
                    </a:lnTo>
                    <a:lnTo>
                      <a:pt x="517" y="1494"/>
                    </a:lnTo>
                    <a:lnTo>
                      <a:pt x="506" y="1490"/>
                    </a:lnTo>
                    <a:lnTo>
                      <a:pt x="495" y="1486"/>
                    </a:lnTo>
                    <a:lnTo>
                      <a:pt x="485" y="1482"/>
                    </a:lnTo>
                    <a:lnTo>
                      <a:pt x="476" y="1477"/>
                    </a:lnTo>
                    <a:lnTo>
                      <a:pt x="467" y="1471"/>
                    </a:lnTo>
                    <a:lnTo>
                      <a:pt x="459" y="1465"/>
                    </a:lnTo>
                    <a:lnTo>
                      <a:pt x="451" y="1458"/>
                    </a:lnTo>
                    <a:lnTo>
                      <a:pt x="444" y="1451"/>
                    </a:lnTo>
                    <a:lnTo>
                      <a:pt x="438" y="1443"/>
                    </a:lnTo>
                    <a:lnTo>
                      <a:pt x="432" y="1435"/>
                    </a:lnTo>
                    <a:lnTo>
                      <a:pt x="421" y="1417"/>
                    </a:lnTo>
                    <a:lnTo>
                      <a:pt x="411" y="1398"/>
                    </a:lnTo>
                    <a:lnTo>
                      <a:pt x="403" y="1378"/>
                    </a:lnTo>
                    <a:lnTo>
                      <a:pt x="397" y="1357"/>
                    </a:lnTo>
                    <a:lnTo>
                      <a:pt x="392" y="1334"/>
                    </a:lnTo>
                    <a:lnTo>
                      <a:pt x="388" y="1311"/>
                    </a:lnTo>
                    <a:lnTo>
                      <a:pt x="386" y="1285"/>
                    </a:lnTo>
                    <a:lnTo>
                      <a:pt x="385" y="1259"/>
                    </a:lnTo>
                    <a:lnTo>
                      <a:pt x="385" y="575"/>
                    </a:lnTo>
                    <a:lnTo>
                      <a:pt x="386" y="558"/>
                    </a:lnTo>
                    <a:lnTo>
                      <a:pt x="388" y="542"/>
                    </a:lnTo>
                    <a:lnTo>
                      <a:pt x="391" y="525"/>
                    </a:lnTo>
                    <a:lnTo>
                      <a:pt x="396" y="50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44" name="Freeform 9"/>
              <p:cNvSpPr>
                <a:spLocks/>
              </p:cNvSpPr>
              <p:nvPr/>
            </p:nvSpPr>
            <p:spPr bwMode="auto">
              <a:xfrm>
                <a:off x="1239875" y="260485"/>
                <a:ext cx="111366" cy="190560"/>
              </a:xfrm>
              <a:custGeom>
                <a:avLst/>
                <a:gdLst>
                  <a:gd name="T0" fmla="*/ 0 w 1075"/>
                  <a:gd name="T1" fmla="*/ 1845 h 1845"/>
                  <a:gd name="T2" fmla="*/ 1075 w 1075"/>
                  <a:gd name="T3" fmla="*/ 1845 h 1845"/>
                  <a:gd name="T4" fmla="*/ 1075 w 1075"/>
                  <a:gd name="T5" fmla="*/ 1482 h 1845"/>
                  <a:gd name="T6" fmla="*/ 385 w 1075"/>
                  <a:gd name="T7" fmla="*/ 1482 h 1845"/>
                  <a:gd name="T8" fmla="*/ 385 w 1075"/>
                  <a:gd name="T9" fmla="*/ 1090 h 1845"/>
                  <a:gd name="T10" fmla="*/ 979 w 1075"/>
                  <a:gd name="T11" fmla="*/ 1090 h 1845"/>
                  <a:gd name="T12" fmla="*/ 979 w 1075"/>
                  <a:gd name="T13" fmla="*/ 737 h 1845"/>
                  <a:gd name="T14" fmla="*/ 385 w 1075"/>
                  <a:gd name="T15" fmla="*/ 737 h 1845"/>
                  <a:gd name="T16" fmla="*/ 385 w 1075"/>
                  <a:gd name="T17" fmla="*/ 355 h 1845"/>
                  <a:gd name="T18" fmla="*/ 1075 w 1075"/>
                  <a:gd name="T19" fmla="*/ 355 h 1845"/>
                  <a:gd name="T20" fmla="*/ 1075 w 1075"/>
                  <a:gd name="T21" fmla="*/ 0 h 1845"/>
                  <a:gd name="T22" fmla="*/ 0 w 1075"/>
                  <a:gd name="T23" fmla="*/ 0 h 1845"/>
                  <a:gd name="T24" fmla="*/ 0 w 1075"/>
                  <a:gd name="T25" fmla="*/ 1845 h 1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75" h="1845">
                    <a:moveTo>
                      <a:pt x="0" y="1845"/>
                    </a:moveTo>
                    <a:lnTo>
                      <a:pt x="1075" y="1845"/>
                    </a:lnTo>
                    <a:lnTo>
                      <a:pt x="1075" y="1482"/>
                    </a:lnTo>
                    <a:lnTo>
                      <a:pt x="385" y="1482"/>
                    </a:lnTo>
                    <a:lnTo>
                      <a:pt x="385" y="1090"/>
                    </a:lnTo>
                    <a:lnTo>
                      <a:pt x="979" y="1090"/>
                    </a:lnTo>
                    <a:lnTo>
                      <a:pt x="979" y="737"/>
                    </a:lnTo>
                    <a:lnTo>
                      <a:pt x="385" y="737"/>
                    </a:lnTo>
                    <a:lnTo>
                      <a:pt x="385" y="355"/>
                    </a:lnTo>
                    <a:lnTo>
                      <a:pt x="1075" y="355"/>
                    </a:lnTo>
                    <a:lnTo>
                      <a:pt x="1075" y="0"/>
                    </a:lnTo>
                    <a:lnTo>
                      <a:pt x="0" y="0"/>
                    </a:lnTo>
                    <a:lnTo>
                      <a:pt x="0" y="18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45" name="Freeform 10"/>
              <p:cNvSpPr>
                <a:spLocks/>
              </p:cNvSpPr>
              <p:nvPr/>
            </p:nvSpPr>
            <p:spPr bwMode="auto">
              <a:xfrm>
                <a:off x="1373515" y="260485"/>
                <a:ext cx="121265" cy="190560"/>
              </a:xfrm>
              <a:custGeom>
                <a:avLst/>
                <a:gdLst>
                  <a:gd name="T0" fmla="*/ 0 w 1174"/>
                  <a:gd name="T1" fmla="*/ 350 h 1845"/>
                  <a:gd name="T2" fmla="*/ 396 w 1174"/>
                  <a:gd name="T3" fmla="*/ 350 h 1845"/>
                  <a:gd name="T4" fmla="*/ 396 w 1174"/>
                  <a:gd name="T5" fmla="*/ 1845 h 1845"/>
                  <a:gd name="T6" fmla="*/ 779 w 1174"/>
                  <a:gd name="T7" fmla="*/ 1845 h 1845"/>
                  <a:gd name="T8" fmla="*/ 779 w 1174"/>
                  <a:gd name="T9" fmla="*/ 350 h 1845"/>
                  <a:gd name="T10" fmla="*/ 1174 w 1174"/>
                  <a:gd name="T11" fmla="*/ 350 h 1845"/>
                  <a:gd name="T12" fmla="*/ 1174 w 1174"/>
                  <a:gd name="T13" fmla="*/ 0 h 1845"/>
                  <a:gd name="T14" fmla="*/ 0 w 1174"/>
                  <a:gd name="T15" fmla="*/ 0 h 1845"/>
                  <a:gd name="T16" fmla="*/ 0 w 1174"/>
                  <a:gd name="T17" fmla="*/ 350 h 1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74" h="1845">
                    <a:moveTo>
                      <a:pt x="0" y="350"/>
                    </a:moveTo>
                    <a:lnTo>
                      <a:pt x="396" y="350"/>
                    </a:lnTo>
                    <a:lnTo>
                      <a:pt x="396" y="1845"/>
                    </a:lnTo>
                    <a:lnTo>
                      <a:pt x="779" y="1845"/>
                    </a:lnTo>
                    <a:lnTo>
                      <a:pt x="779" y="350"/>
                    </a:lnTo>
                    <a:lnTo>
                      <a:pt x="1174" y="350"/>
                    </a:lnTo>
                    <a:lnTo>
                      <a:pt x="1174" y="0"/>
                    </a:lnTo>
                    <a:lnTo>
                      <a:pt x="0" y="0"/>
                    </a:lnTo>
                    <a:lnTo>
                      <a:pt x="0" y="3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46" name="Freeform 11"/>
              <p:cNvSpPr>
                <a:spLocks/>
              </p:cNvSpPr>
              <p:nvPr/>
            </p:nvSpPr>
            <p:spPr bwMode="auto">
              <a:xfrm>
                <a:off x="1526952" y="260485"/>
                <a:ext cx="129927" cy="190560"/>
              </a:xfrm>
              <a:custGeom>
                <a:avLst/>
                <a:gdLst>
                  <a:gd name="T0" fmla="*/ 917 w 1264"/>
                  <a:gd name="T1" fmla="*/ 0 h 1845"/>
                  <a:gd name="T2" fmla="*/ 388 w 1264"/>
                  <a:gd name="T3" fmla="*/ 1072 h 1845"/>
                  <a:gd name="T4" fmla="*/ 382 w 1264"/>
                  <a:gd name="T5" fmla="*/ 1072 h 1845"/>
                  <a:gd name="T6" fmla="*/ 382 w 1264"/>
                  <a:gd name="T7" fmla="*/ 0 h 1845"/>
                  <a:gd name="T8" fmla="*/ 0 w 1264"/>
                  <a:gd name="T9" fmla="*/ 0 h 1845"/>
                  <a:gd name="T10" fmla="*/ 0 w 1264"/>
                  <a:gd name="T11" fmla="*/ 1845 h 1845"/>
                  <a:gd name="T12" fmla="*/ 361 w 1264"/>
                  <a:gd name="T13" fmla="*/ 1845 h 1845"/>
                  <a:gd name="T14" fmla="*/ 876 w 1264"/>
                  <a:gd name="T15" fmla="*/ 841 h 1845"/>
                  <a:gd name="T16" fmla="*/ 878 w 1264"/>
                  <a:gd name="T17" fmla="*/ 841 h 1845"/>
                  <a:gd name="T18" fmla="*/ 878 w 1264"/>
                  <a:gd name="T19" fmla="*/ 1845 h 1845"/>
                  <a:gd name="T20" fmla="*/ 1264 w 1264"/>
                  <a:gd name="T21" fmla="*/ 1845 h 1845"/>
                  <a:gd name="T22" fmla="*/ 1264 w 1264"/>
                  <a:gd name="T23" fmla="*/ 0 h 1845"/>
                  <a:gd name="T24" fmla="*/ 917 w 1264"/>
                  <a:gd name="T25" fmla="*/ 0 h 1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64" h="1845">
                    <a:moveTo>
                      <a:pt x="917" y="0"/>
                    </a:moveTo>
                    <a:lnTo>
                      <a:pt x="388" y="1072"/>
                    </a:lnTo>
                    <a:lnTo>
                      <a:pt x="382" y="1072"/>
                    </a:lnTo>
                    <a:lnTo>
                      <a:pt x="382" y="0"/>
                    </a:lnTo>
                    <a:lnTo>
                      <a:pt x="0" y="0"/>
                    </a:lnTo>
                    <a:lnTo>
                      <a:pt x="0" y="1845"/>
                    </a:lnTo>
                    <a:lnTo>
                      <a:pt x="361" y="1845"/>
                    </a:lnTo>
                    <a:lnTo>
                      <a:pt x="876" y="841"/>
                    </a:lnTo>
                    <a:lnTo>
                      <a:pt x="878" y="841"/>
                    </a:lnTo>
                    <a:lnTo>
                      <a:pt x="878" y="1845"/>
                    </a:lnTo>
                    <a:lnTo>
                      <a:pt x="1264" y="1845"/>
                    </a:lnTo>
                    <a:lnTo>
                      <a:pt x="1264" y="0"/>
                    </a:lnTo>
                    <a:lnTo>
                      <a:pt x="9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</p:grpSp>
        <p:grpSp>
          <p:nvGrpSpPr>
            <p:cNvPr id="32" name="Группа 31"/>
            <p:cNvGrpSpPr/>
            <p:nvPr userDrawn="1"/>
          </p:nvGrpSpPr>
          <p:grpSpPr>
            <a:xfrm>
              <a:off x="0" y="687388"/>
              <a:ext cx="407368" cy="406401"/>
              <a:chOff x="0" y="167680"/>
              <a:chExt cx="520945" cy="519708"/>
            </a:xfrm>
            <a:grpFill/>
          </p:grpSpPr>
          <p:sp>
            <p:nvSpPr>
              <p:cNvPr id="33" name="Freeform 12"/>
              <p:cNvSpPr>
                <a:spLocks/>
              </p:cNvSpPr>
              <p:nvPr/>
            </p:nvSpPr>
            <p:spPr bwMode="auto">
              <a:xfrm>
                <a:off x="160862" y="323592"/>
                <a:ext cx="196746" cy="363796"/>
              </a:xfrm>
              <a:custGeom>
                <a:avLst/>
                <a:gdLst>
                  <a:gd name="T0" fmla="*/ 1471 w 1903"/>
                  <a:gd name="T1" fmla="*/ 0 h 3523"/>
                  <a:gd name="T2" fmla="*/ 0 w 1903"/>
                  <a:gd name="T3" fmla="*/ 3334 h 3523"/>
                  <a:gd name="T4" fmla="*/ 56 w 1903"/>
                  <a:gd name="T5" fmla="*/ 3357 h 3523"/>
                  <a:gd name="T6" fmla="*/ 112 w 1903"/>
                  <a:gd name="T7" fmla="*/ 3377 h 3523"/>
                  <a:gd name="T8" fmla="*/ 169 w 1903"/>
                  <a:gd name="T9" fmla="*/ 3397 h 3523"/>
                  <a:gd name="T10" fmla="*/ 227 w 1903"/>
                  <a:gd name="T11" fmla="*/ 3415 h 3523"/>
                  <a:gd name="T12" fmla="*/ 286 w 1903"/>
                  <a:gd name="T13" fmla="*/ 3432 h 3523"/>
                  <a:gd name="T14" fmla="*/ 344 w 1903"/>
                  <a:gd name="T15" fmla="*/ 3447 h 3523"/>
                  <a:gd name="T16" fmla="*/ 403 w 1903"/>
                  <a:gd name="T17" fmla="*/ 3461 h 3523"/>
                  <a:gd name="T18" fmla="*/ 464 w 1903"/>
                  <a:gd name="T19" fmla="*/ 3474 h 3523"/>
                  <a:gd name="T20" fmla="*/ 524 w 1903"/>
                  <a:gd name="T21" fmla="*/ 3485 h 3523"/>
                  <a:gd name="T22" fmla="*/ 585 w 1903"/>
                  <a:gd name="T23" fmla="*/ 3495 h 3523"/>
                  <a:gd name="T24" fmla="*/ 646 w 1903"/>
                  <a:gd name="T25" fmla="*/ 3504 h 3523"/>
                  <a:gd name="T26" fmla="*/ 709 w 1903"/>
                  <a:gd name="T27" fmla="*/ 3511 h 3523"/>
                  <a:gd name="T28" fmla="*/ 771 w 1903"/>
                  <a:gd name="T29" fmla="*/ 3516 h 3523"/>
                  <a:gd name="T30" fmla="*/ 834 w 1903"/>
                  <a:gd name="T31" fmla="*/ 3520 h 3523"/>
                  <a:gd name="T32" fmla="*/ 897 w 1903"/>
                  <a:gd name="T33" fmla="*/ 3522 h 3523"/>
                  <a:gd name="T34" fmla="*/ 962 w 1903"/>
                  <a:gd name="T35" fmla="*/ 3523 h 3523"/>
                  <a:gd name="T36" fmla="*/ 1024 w 1903"/>
                  <a:gd name="T37" fmla="*/ 3522 h 3523"/>
                  <a:gd name="T38" fmla="*/ 1085 w 1903"/>
                  <a:gd name="T39" fmla="*/ 3520 h 3523"/>
                  <a:gd name="T40" fmla="*/ 1146 w 1903"/>
                  <a:gd name="T41" fmla="*/ 3516 h 3523"/>
                  <a:gd name="T42" fmla="*/ 1208 w 1903"/>
                  <a:gd name="T43" fmla="*/ 3511 h 3523"/>
                  <a:gd name="T44" fmla="*/ 1268 w 1903"/>
                  <a:gd name="T45" fmla="*/ 3504 h 3523"/>
                  <a:gd name="T46" fmla="*/ 1328 w 1903"/>
                  <a:gd name="T47" fmla="*/ 3496 h 3523"/>
                  <a:gd name="T48" fmla="*/ 1388 w 1903"/>
                  <a:gd name="T49" fmla="*/ 3487 h 3523"/>
                  <a:gd name="T50" fmla="*/ 1448 w 1903"/>
                  <a:gd name="T51" fmla="*/ 3476 h 3523"/>
                  <a:gd name="T52" fmla="*/ 1506 w 1903"/>
                  <a:gd name="T53" fmla="*/ 3464 h 3523"/>
                  <a:gd name="T54" fmla="*/ 1564 w 1903"/>
                  <a:gd name="T55" fmla="*/ 3450 h 3523"/>
                  <a:gd name="T56" fmla="*/ 1622 w 1903"/>
                  <a:gd name="T57" fmla="*/ 3435 h 3523"/>
                  <a:gd name="T58" fmla="*/ 1680 w 1903"/>
                  <a:gd name="T59" fmla="*/ 3419 h 3523"/>
                  <a:gd name="T60" fmla="*/ 1736 w 1903"/>
                  <a:gd name="T61" fmla="*/ 3402 h 3523"/>
                  <a:gd name="T62" fmla="*/ 1792 w 1903"/>
                  <a:gd name="T63" fmla="*/ 3383 h 3523"/>
                  <a:gd name="T64" fmla="*/ 1847 w 1903"/>
                  <a:gd name="T65" fmla="*/ 3363 h 3523"/>
                  <a:gd name="T66" fmla="*/ 1903 w 1903"/>
                  <a:gd name="T67" fmla="*/ 3340 h 3523"/>
                  <a:gd name="T68" fmla="*/ 1537 w 1903"/>
                  <a:gd name="T69" fmla="*/ 10 h 3523"/>
                  <a:gd name="T70" fmla="*/ 1520 w 1903"/>
                  <a:gd name="T71" fmla="*/ 8 h 3523"/>
                  <a:gd name="T72" fmla="*/ 1503 w 1903"/>
                  <a:gd name="T73" fmla="*/ 6 h 3523"/>
                  <a:gd name="T74" fmla="*/ 1487 w 1903"/>
                  <a:gd name="T75" fmla="*/ 4 h 3523"/>
                  <a:gd name="T76" fmla="*/ 1471 w 1903"/>
                  <a:gd name="T77" fmla="*/ 0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903" h="3523">
                    <a:moveTo>
                      <a:pt x="1471" y="0"/>
                    </a:moveTo>
                    <a:lnTo>
                      <a:pt x="0" y="3334"/>
                    </a:lnTo>
                    <a:lnTo>
                      <a:pt x="56" y="3357"/>
                    </a:lnTo>
                    <a:lnTo>
                      <a:pt x="112" y="3377"/>
                    </a:lnTo>
                    <a:lnTo>
                      <a:pt x="169" y="3397"/>
                    </a:lnTo>
                    <a:lnTo>
                      <a:pt x="227" y="3415"/>
                    </a:lnTo>
                    <a:lnTo>
                      <a:pt x="286" y="3432"/>
                    </a:lnTo>
                    <a:lnTo>
                      <a:pt x="344" y="3447"/>
                    </a:lnTo>
                    <a:lnTo>
                      <a:pt x="403" y="3461"/>
                    </a:lnTo>
                    <a:lnTo>
                      <a:pt x="464" y="3474"/>
                    </a:lnTo>
                    <a:lnTo>
                      <a:pt x="524" y="3485"/>
                    </a:lnTo>
                    <a:lnTo>
                      <a:pt x="585" y="3495"/>
                    </a:lnTo>
                    <a:lnTo>
                      <a:pt x="646" y="3504"/>
                    </a:lnTo>
                    <a:lnTo>
                      <a:pt x="709" y="3511"/>
                    </a:lnTo>
                    <a:lnTo>
                      <a:pt x="771" y="3516"/>
                    </a:lnTo>
                    <a:lnTo>
                      <a:pt x="834" y="3520"/>
                    </a:lnTo>
                    <a:lnTo>
                      <a:pt x="897" y="3522"/>
                    </a:lnTo>
                    <a:lnTo>
                      <a:pt x="962" y="3523"/>
                    </a:lnTo>
                    <a:lnTo>
                      <a:pt x="1024" y="3522"/>
                    </a:lnTo>
                    <a:lnTo>
                      <a:pt x="1085" y="3520"/>
                    </a:lnTo>
                    <a:lnTo>
                      <a:pt x="1146" y="3516"/>
                    </a:lnTo>
                    <a:lnTo>
                      <a:pt x="1208" y="3511"/>
                    </a:lnTo>
                    <a:lnTo>
                      <a:pt x="1268" y="3504"/>
                    </a:lnTo>
                    <a:lnTo>
                      <a:pt x="1328" y="3496"/>
                    </a:lnTo>
                    <a:lnTo>
                      <a:pt x="1388" y="3487"/>
                    </a:lnTo>
                    <a:lnTo>
                      <a:pt x="1448" y="3476"/>
                    </a:lnTo>
                    <a:lnTo>
                      <a:pt x="1506" y="3464"/>
                    </a:lnTo>
                    <a:lnTo>
                      <a:pt x="1564" y="3450"/>
                    </a:lnTo>
                    <a:lnTo>
                      <a:pt x="1622" y="3435"/>
                    </a:lnTo>
                    <a:lnTo>
                      <a:pt x="1680" y="3419"/>
                    </a:lnTo>
                    <a:lnTo>
                      <a:pt x="1736" y="3402"/>
                    </a:lnTo>
                    <a:lnTo>
                      <a:pt x="1792" y="3383"/>
                    </a:lnTo>
                    <a:lnTo>
                      <a:pt x="1847" y="3363"/>
                    </a:lnTo>
                    <a:lnTo>
                      <a:pt x="1903" y="3340"/>
                    </a:lnTo>
                    <a:lnTo>
                      <a:pt x="1537" y="10"/>
                    </a:lnTo>
                    <a:lnTo>
                      <a:pt x="1520" y="8"/>
                    </a:lnTo>
                    <a:lnTo>
                      <a:pt x="1503" y="6"/>
                    </a:lnTo>
                    <a:lnTo>
                      <a:pt x="1487" y="4"/>
                    </a:lnTo>
                    <a:lnTo>
                      <a:pt x="147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34" name="Freeform 13"/>
              <p:cNvSpPr>
                <a:spLocks/>
              </p:cNvSpPr>
              <p:nvPr/>
            </p:nvSpPr>
            <p:spPr bwMode="auto">
              <a:xfrm>
                <a:off x="11136" y="313693"/>
                <a:ext cx="289552" cy="341522"/>
              </a:xfrm>
              <a:custGeom>
                <a:avLst/>
                <a:gdLst>
                  <a:gd name="T0" fmla="*/ 2765 w 2816"/>
                  <a:gd name="T1" fmla="*/ 0 h 3305"/>
                  <a:gd name="T2" fmla="*/ 0 w 2816"/>
                  <a:gd name="T3" fmla="*/ 1820 h 3305"/>
                  <a:gd name="T4" fmla="*/ 19 w 2816"/>
                  <a:gd name="T5" fmla="*/ 1879 h 3305"/>
                  <a:gd name="T6" fmla="*/ 39 w 2816"/>
                  <a:gd name="T7" fmla="*/ 1938 h 3305"/>
                  <a:gd name="T8" fmla="*/ 60 w 2816"/>
                  <a:gd name="T9" fmla="*/ 1996 h 3305"/>
                  <a:gd name="T10" fmla="*/ 83 w 2816"/>
                  <a:gd name="T11" fmla="*/ 2053 h 3305"/>
                  <a:gd name="T12" fmla="*/ 107 w 2816"/>
                  <a:gd name="T13" fmla="*/ 2109 h 3305"/>
                  <a:gd name="T14" fmla="*/ 132 w 2816"/>
                  <a:gd name="T15" fmla="*/ 2166 h 3305"/>
                  <a:gd name="T16" fmla="*/ 159 w 2816"/>
                  <a:gd name="T17" fmla="*/ 2221 h 3305"/>
                  <a:gd name="T18" fmla="*/ 186 w 2816"/>
                  <a:gd name="T19" fmla="*/ 2276 h 3305"/>
                  <a:gd name="T20" fmla="*/ 215 w 2816"/>
                  <a:gd name="T21" fmla="*/ 2329 h 3305"/>
                  <a:gd name="T22" fmla="*/ 246 w 2816"/>
                  <a:gd name="T23" fmla="*/ 2382 h 3305"/>
                  <a:gd name="T24" fmla="*/ 278 w 2816"/>
                  <a:gd name="T25" fmla="*/ 2434 h 3305"/>
                  <a:gd name="T26" fmla="*/ 311 w 2816"/>
                  <a:gd name="T27" fmla="*/ 2486 h 3305"/>
                  <a:gd name="T28" fmla="*/ 345 w 2816"/>
                  <a:gd name="T29" fmla="*/ 2536 h 3305"/>
                  <a:gd name="T30" fmla="*/ 380 w 2816"/>
                  <a:gd name="T31" fmla="*/ 2586 h 3305"/>
                  <a:gd name="T32" fmla="*/ 417 w 2816"/>
                  <a:gd name="T33" fmla="*/ 2634 h 3305"/>
                  <a:gd name="T34" fmla="*/ 454 w 2816"/>
                  <a:gd name="T35" fmla="*/ 2682 h 3305"/>
                  <a:gd name="T36" fmla="*/ 494 w 2816"/>
                  <a:gd name="T37" fmla="*/ 2728 h 3305"/>
                  <a:gd name="T38" fmla="*/ 533 w 2816"/>
                  <a:gd name="T39" fmla="*/ 2774 h 3305"/>
                  <a:gd name="T40" fmla="*/ 574 w 2816"/>
                  <a:gd name="T41" fmla="*/ 2820 h 3305"/>
                  <a:gd name="T42" fmla="*/ 616 w 2816"/>
                  <a:gd name="T43" fmla="*/ 2864 h 3305"/>
                  <a:gd name="T44" fmla="*/ 658 w 2816"/>
                  <a:gd name="T45" fmla="*/ 2906 h 3305"/>
                  <a:gd name="T46" fmla="*/ 702 w 2816"/>
                  <a:gd name="T47" fmla="*/ 2948 h 3305"/>
                  <a:gd name="T48" fmla="*/ 748 w 2816"/>
                  <a:gd name="T49" fmla="*/ 2989 h 3305"/>
                  <a:gd name="T50" fmla="*/ 794 w 2816"/>
                  <a:gd name="T51" fmla="*/ 3028 h 3305"/>
                  <a:gd name="T52" fmla="*/ 840 w 2816"/>
                  <a:gd name="T53" fmla="*/ 3067 h 3305"/>
                  <a:gd name="T54" fmla="*/ 888 w 2816"/>
                  <a:gd name="T55" fmla="*/ 3104 h 3305"/>
                  <a:gd name="T56" fmla="*/ 936 w 2816"/>
                  <a:gd name="T57" fmla="*/ 3141 h 3305"/>
                  <a:gd name="T58" fmla="*/ 987 w 2816"/>
                  <a:gd name="T59" fmla="*/ 3176 h 3305"/>
                  <a:gd name="T60" fmla="*/ 1037 w 2816"/>
                  <a:gd name="T61" fmla="*/ 3210 h 3305"/>
                  <a:gd name="T62" fmla="*/ 1088 w 2816"/>
                  <a:gd name="T63" fmla="*/ 3243 h 3305"/>
                  <a:gd name="T64" fmla="*/ 1140 w 2816"/>
                  <a:gd name="T65" fmla="*/ 3274 h 3305"/>
                  <a:gd name="T66" fmla="*/ 1193 w 2816"/>
                  <a:gd name="T67" fmla="*/ 3305 h 3305"/>
                  <a:gd name="T68" fmla="*/ 2816 w 2816"/>
                  <a:gd name="T69" fmla="*/ 46 h 3305"/>
                  <a:gd name="T70" fmla="*/ 2802 w 2816"/>
                  <a:gd name="T71" fmla="*/ 35 h 3305"/>
                  <a:gd name="T72" fmla="*/ 2789 w 2816"/>
                  <a:gd name="T73" fmla="*/ 24 h 3305"/>
                  <a:gd name="T74" fmla="*/ 2777 w 2816"/>
                  <a:gd name="T75" fmla="*/ 12 h 3305"/>
                  <a:gd name="T76" fmla="*/ 2765 w 2816"/>
                  <a:gd name="T77" fmla="*/ 0 h 3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16" h="3305">
                    <a:moveTo>
                      <a:pt x="2765" y="0"/>
                    </a:moveTo>
                    <a:lnTo>
                      <a:pt x="0" y="1820"/>
                    </a:lnTo>
                    <a:lnTo>
                      <a:pt x="19" y="1879"/>
                    </a:lnTo>
                    <a:lnTo>
                      <a:pt x="39" y="1938"/>
                    </a:lnTo>
                    <a:lnTo>
                      <a:pt x="60" y="1996"/>
                    </a:lnTo>
                    <a:lnTo>
                      <a:pt x="83" y="2053"/>
                    </a:lnTo>
                    <a:lnTo>
                      <a:pt x="107" y="2109"/>
                    </a:lnTo>
                    <a:lnTo>
                      <a:pt x="132" y="2166"/>
                    </a:lnTo>
                    <a:lnTo>
                      <a:pt x="159" y="2221"/>
                    </a:lnTo>
                    <a:lnTo>
                      <a:pt x="186" y="2276"/>
                    </a:lnTo>
                    <a:lnTo>
                      <a:pt x="215" y="2329"/>
                    </a:lnTo>
                    <a:lnTo>
                      <a:pt x="246" y="2382"/>
                    </a:lnTo>
                    <a:lnTo>
                      <a:pt x="278" y="2434"/>
                    </a:lnTo>
                    <a:lnTo>
                      <a:pt x="311" y="2486"/>
                    </a:lnTo>
                    <a:lnTo>
                      <a:pt x="345" y="2536"/>
                    </a:lnTo>
                    <a:lnTo>
                      <a:pt x="380" y="2586"/>
                    </a:lnTo>
                    <a:lnTo>
                      <a:pt x="417" y="2634"/>
                    </a:lnTo>
                    <a:lnTo>
                      <a:pt x="454" y="2682"/>
                    </a:lnTo>
                    <a:lnTo>
                      <a:pt x="494" y="2728"/>
                    </a:lnTo>
                    <a:lnTo>
                      <a:pt x="533" y="2774"/>
                    </a:lnTo>
                    <a:lnTo>
                      <a:pt x="574" y="2820"/>
                    </a:lnTo>
                    <a:lnTo>
                      <a:pt x="616" y="2864"/>
                    </a:lnTo>
                    <a:lnTo>
                      <a:pt x="658" y="2906"/>
                    </a:lnTo>
                    <a:lnTo>
                      <a:pt x="702" y="2948"/>
                    </a:lnTo>
                    <a:lnTo>
                      <a:pt x="748" y="2989"/>
                    </a:lnTo>
                    <a:lnTo>
                      <a:pt x="794" y="3028"/>
                    </a:lnTo>
                    <a:lnTo>
                      <a:pt x="840" y="3067"/>
                    </a:lnTo>
                    <a:lnTo>
                      <a:pt x="888" y="3104"/>
                    </a:lnTo>
                    <a:lnTo>
                      <a:pt x="936" y="3141"/>
                    </a:lnTo>
                    <a:lnTo>
                      <a:pt x="987" y="3176"/>
                    </a:lnTo>
                    <a:lnTo>
                      <a:pt x="1037" y="3210"/>
                    </a:lnTo>
                    <a:lnTo>
                      <a:pt x="1088" y="3243"/>
                    </a:lnTo>
                    <a:lnTo>
                      <a:pt x="1140" y="3274"/>
                    </a:lnTo>
                    <a:lnTo>
                      <a:pt x="1193" y="3305"/>
                    </a:lnTo>
                    <a:lnTo>
                      <a:pt x="2816" y="46"/>
                    </a:lnTo>
                    <a:lnTo>
                      <a:pt x="2802" y="35"/>
                    </a:lnTo>
                    <a:lnTo>
                      <a:pt x="2789" y="24"/>
                    </a:lnTo>
                    <a:lnTo>
                      <a:pt x="2777" y="12"/>
                    </a:lnTo>
                    <a:lnTo>
                      <a:pt x="276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35" name="Freeform 14"/>
              <p:cNvSpPr>
                <a:spLocks/>
              </p:cNvSpPr>
              <p:nvPr/>
            </p:nvSpPr>
            <p:spPr bwMode="auto">
              <a:xfrm>
                <a:off x="332860" y="319881"/>
                <a:ext cx="176948" cy="335336"/>
              </a:xfrm>
              <a:custGeom>
                <a:avLst/>
                <a:gdLst>
                  <a:gd name="T0" fmla="*/ 0 w 1719"/>
                  <a:gd name="T1" fmla="*/ 38 h 3256"/>
                  <a:gd name="T2" fmla="*/ 517 w 1719"/>
                  <a:gd name="T3" fmla="*/ 3256 h 3256"/>
                  <a:gd name="T4" fmla="*/ 571 w 1719"/>
                  <a:gd name="T5" fmla="*/ 3226 h 3256"/>
                  <a:gd name="T6" fmla="*/ 623 w 1719"/>
                  <a:gd name="T7" fmla="*/ 3194 h 3256"/>
                  <a:gd name="T8" fmla="*/ 676 w 1719"/>
                  <a:gd name="T9" fmla="*/ 3161 h 3256"/>
                  <a:gd name="T10" fmla="*/ 726 w 1719"/>
                  <a:gd name="T11" fmla="*/ 3127 h 3256"/>
                  <a:gd name="T12" fmla="*/ 776 w 1719"/>
                  <a:gd name="T13" fmla="*/ 3092 h 3256"/>
                  <a:gd name="T14" fmla="*/ 825 w 1719"/>
                  <a:gd name="T15" fmla="*/ 3054 h 3256"/>
                  <a:gd name="T16" fmla="*/ 873 w 1719"/>
                  <a:gd name="T17" fmla="*/ 3017 h 3256"/>
                  <a:gd name="T18" fmla="*/ 921 w 1719"/>
                  <a:gd name="T19" fmla="*/ 2978 h 3256"/>
                  <a:gd name="T20" fmla="*/ 967 w 1719"/>
                  <a:gd name="T21" fmla="*/ 2938 h 3256"/>
                  <a:gd name="T22" fmla="*/ 1013 w 1719"/>
                  <a:gd name="T23" fmla="*/ 2898 h 3256"/>
                  <a:gd name="T24" fmla="*/ 1057 w 1719"/>
                  <a:gd name="T25" fmla="*/ 2856 h 3256"/>
                  <a:gd name="T26" fmla="*/ 1100 w 1719"/>
                  <a:gd name="T27" fmla="*/ 2813 h 3256"/>
                  <a:gd name="T28" fmla="*/ 1142 w 1719"/>
                  <a:gd name="T29" fmla="*/ 2769 h 3256"/>
                  <a:gd name="T30" fmla="*/ 1184 w 1719"/>
                  <a:gd name="T31" fmla="*/ 2723 h 3256"/>
                  <a:gd name="T32" fmla="*/ 1224 w 1719"/>
                  <a:gd name="T33" fmla="*/ 2676 h 3256"/>
                  <a:gd name="T34" fmla="*/ 1263 w 1719"/>
                  <a:gd name="T35" fmla="*/ 2630 h 3256"/>
                  <a:gd name="T36" fmla="*/ 1300 w 1719"/>
                  <a:gd name="T37" fmla="*/ 2582 h 3256"/>
                  <a:gd name="T38" fmla="*/ 1337 w 1719"/>
                  <a:gd name="T39" fmla="*/ 2533 h 3256"/>
                  <a:gd name="T40" fmla="*/ 1372 w 1719"/>
                  <a:gd name="T41" fmla="*/ 2483 h 3256"/>
                  <a:gd name="T42" fmla="*/ 1408 w 1719"/>
                  <a:gd name="T43" fmla="*/ 2432 h 3256"/>
                  <a:gd name="T44" fmla="*/ 1441 w 1719"/>
                  <a:gd name="T45" fmla="*/ 2380 h 3256"/>
                  <a:gd name="T46" fmla="*/ 1472 w 1719"/>
                  <a:gd name="T47" fmla="*/ 2327 h 3256"/>
                  <a:gd name="T48" fmla="*/ 1503 w 1719"/>
                  <a:gd name="T49" fmla="*/ 2274 h 3256"/>
                  <a:gd name="T50" fmla="*/ 1532 w 1719"/>
                  <a:gd name="T51" fmla="*/ 2220 h 3256"/>
                  <a:gd name="T52" fmla="*/ 1560 w 1719"/>
                  <a:gd name="T53" fmla="*/ 2165 h 3256"/>
                  <a:gd name="T54" fmla="*/ 1587 w 1719"/>
                  <a:gd name="T55" fmla="*/ 2110 h 3256"/>
                  <a:gd name="T56" fmla="*/ 1612 w 1719"/>
                  <a:gd name="T57" fmla="*/ 2052 h 3256"/>
                  <a:gd name="T58" fmla="*/ 1637 w 1719"/>
                  <a:gd name="T59" fmla="*/ 1995 h 3256"/>
                  <a:gd name="T60" fmla="*/ 1659 w 1719"/>
                  <a:gd name="T61" fmla="*/ 1938 h 3256"/>
                  <a:gd name="T62" fmla="*/ 1681 w 1719"/>
                  <a:gd name="T63" fmla="*/ 1879 h 3256"/>
                  <a:gd name="T64" fmla="*/ 1700 w 1719"/>
                  <a:gd name="T65" fmla="*/ 1820 h 3256"/>
                  <a:gd name="T66" fmla="*/ 1719 w 1719"/>
                  <a:gd name="T67" fmla="*/ 1760 h 3256"/>
                  <a:gd name="T68" fmla="*/ 81 w 1719"/>
                  <a:gd name="T69" fmla="*/ 0 h 3256"/>
                  <a:gd name="T70" fmla="*/ 62 w 1719"/>
                  <a:gd name="T71" fmla="*/ 11 h 3256"/>
                  <a:gd name="T72" fmla="*/ 42 w 1719"/>
                  <a:gd name="T73" fmla="*/ 22 h 3256"/>
                  <a:gd name="T74" fmla="*/ 21 w 1719"/>
                  <a:gd name="T75" fmla="*/ 31 h 3256"/>
                  <a:gd name="T76" fmla="*/ 0 w 1719"/>
                  <a:gd name="T77" fmla="*/ 38 h 3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719" h="3256">
                    <a:moveTo>
                      <a:pt x="0" y="38"/>
                    </a:moveTo>
                    <a:lnTo>
                      <a:pt x="517" y="3256"/>
                    </a:lnTo>
                    <a:lnTo>
                      <a:pt x="571" y="3226"/>
                    </a:lnTo>
                    <a:lnTo>
                      <a:pt x="623" y="3194"/>
                    </a:lnTo>
                    <a:lnTo>
                      <a:pt x="676" y="3161"/>
                    </a:lnTo>
                    <a:lnTo>
                      <a:pt x="726" y="3127"/>
                    </a:lnTo>
                    <a:lnTo>
                      <a:pt x="776" y="3092"/>
                    </a:lnTo>
                    <a:lnTo>
                      <a:pt x="825" y="3054"/>
                    </a:lnTo>
                    <a:lnTo>
                      <a:pt x="873" y="3017"/>
                    </a:lnTo>
                    <a:lnTo>
                      <a:pt x="921" y="2978"/>
                    </a:lnTo>
                    <a:lnTo>
                      <a:pt x="967" y="2938"/>
                    </a:lnTo>
                    <a:lnTo>
                      <a:pt x="1013" y="2898"/>
                    </a:lnTo>
                    <a:lnTo>
                      <a:pt x="1057" y="2856"/>
                    </a:lnTo>
                    <a:lnTo>
                      <a:pt x="1100" y="2813"/>
                    </a:lnTo>
                    <a:lnTo>
                      <a:pt x="1142" y="2769"/>
                    </a:lnTo>
                    <a:lnTo>
                      <a:pt x="1184" y="2723"/>
                    </a:lnTo>
                    <a:lnTo>
                      <a:pt x="1224" y="2676"/>
                    </a:lnTo>
                    <a:lnTo>
                      <a:pt x="1263" y="2630"/>
                    </a:lnTo>
                    <a:lnTo>
                      <a:pt x="1300" y="2582"/>
                    </a:lnTo>
                    <a:lnTo>
                      <a:pt x="1337" y="2533"/>
                    </a:lnTo>
                    <a:lnTo>
                      <a:pt x="1372" y="2483"/>
                    </a:lnTo>
                    <a:lnTo>
                      <a:pt x="1408" y="2432"/>
                    </a:lnTo>
                    <a:lnTo>
                      <a:pt x="1441" y="2380"/>
                    </a:lnTo>
                    <a:lnTo>
                      <a:pt x="1472" y="2327"/>
                    </a:lnTo>
                    <a:lnTo>
                      <a:pt x="1503" y="2274"/>
                    </a:lnTo>
                    <a:lnTo>
                      <a:pt x="1532" y="2220"/>
                    </a:lnTo>
                    <a:lnTo>
                      <a:pt x="1560" y="2165"/>
                    </a:lnTo>
                    <a:lnTo>
                      <a:pt x="1587" y="2110"/>
                    </a:lnTo>
                    <a:lnTo>
                      <a:pt x="1612" y="2052"/>
                    </a:lnTo>
                    <a:lnTo>
                      <a:pt x="1637" y="1995"/>
                    </a:lnTo>
                    <a:lnTo>
                      <a:pt x="1659" y="1938"/>
                    </a:lnTo>
                    <a:lnTo>
                      <a:pt x="1681" y="1879"/>
                    </a:lnTo>
                    <a:lnTo>
                      <a:pt x="1700" y="1820"/>
                    </a:lnTo>
                    <a:lnTo>
                      <a:pt x="1719" y="1760"/>
                    </a:lnTo>
                    <a:lnTo>
                      <a:pt x="81" y="0"/>
                    </a:lnTo>
                    <a:lnTo>
                      <a:pt x="62" y="11"/>
                    </a:lnTo>
                    <a:lnTo>
                      <a:pt x="42" y="22"/>
                    </a:lnTo>
                    <a:lnTo>
                      <a:pt x="21" y="31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36" name="Freeform 15"/>
              <p:cNvSpPr>
                <a:spLocks/>
              </p:cNvSpPr>
              <p:nvPr/>
            </p:nvSpPr>
            <p:spPr bwMode="auto">
              <a:xfrm>
                <a:off x="66820" y="167680"/>
                <a:ext cx="232631" cy="112604"/>
              </a:xfrm>
              <a:custGeom>
                <a:avLst/>
                <a:gdLst>
                  <a:gd name="T0" fmla="*/ 2261 w 2261"/>
                  <a:gd name="T1" fmla="*/ 923 h 1092"/>
                  <a:gd name="T2" fmla="*/ 1733 w 2261"/>
                  <a:gd name="T3" fmla="*/ 0 h 1092"/>
                  <a:gd name="T4" fmla="*/ 1669 w 2261"/>
                  <a:gd name="T5" fmla="*/ 5 h 1092"/>
                  <a:gd name="T6" fmla="*/ 1605 w 2261"/>
                  <a:gd name="T7" fmla="*/ 11 h 1092"/>
                  <a:gd name="T8" fmla="*/ 1541 w 2261"/>
                  <a:gd name="T9" fmla="*/ 18 h 1092"/>
                  <a:gd name="T10" fmla="*/ 1479 w 2261"/>
                  <a:gd name="T11" fmla="*/ 27 h 1092"/>
                  <a:gd name="T12" fmla="*/ 1417 w 2261"/>
                  <a:gd name="T13" fmla="*/ 38 h 1092"/>
                  <a:gd name="T14" fmla="*/ 1354 w 2261"/>
                  <a:gd name="T15" fmla="*/ 50 h 1092"/>
                  <a:gd name="T16" fmla="*/ 1293 w 2261"/>
                  <a:gd name="T17" fmla="*/ 64 h 1092"/>
                  <a:gd name="T18" fmla="*/ 1233 w 2261"/>
                  <a:gd name="T19" fmla="*/ 79 h 1092"/>
                  <a:gd name="T20" fmla="*/ 1173 w 2261"/>
                  <a:gd name="T21" fmla="*/ 96 h 1092"/>
                  <a:gd name="T22" fmla="*/ 1113 w 2261"/>
                  <a:gd name="T23" fmla="*/ 114 h 1092"/>
                  <a:gd name="T24" fmla="*/ 1054 w 2261"/>
                  <a:gd name="T25" fmla="*/ 133 h 1092"/>
                  <a:gd name="T26" fmla="*/ 996 w 2261"/>
                  <a:gd name="T27" fmla="*/ 154 h 1092"/>
                  <a:gd name="T28" fmla="*/ 939 w 2261"/>
                  <a:gd name="T29" fmla="*/ 177 h 1092"/>
                  <a:gd name="T30" fmla="*/ 881 w 2261"/>
                  <a:gd name="T31" fmla="*/ 201 h 1092"/>
                  <a:gd name="T32" fmla="*/ 826 w 2261"/>
                  <a:gd name="T33" fmla="*/ 226 h 1092"/>
                  <a:gd name="T34" fmla="*/ 770 w 2261"/>
                  <a:gd name="T35" fmla="*/ 252 h 1092"/>
                  <a:gd name="T36" fmla="*/ 716 w 2261"/>
                  <a:gd name="T37" fmla="*/ 280 h 1092"/>
                  <a:gd name="T38" fmla="*/ 662 w 2261"/>
                  <a:gd name="T39" fmla="*/ 308 h 1092"/>
                  <a:gd name="T40" fmla="*/ 609 w 2261"/>
                  <a:gd name="T41" fmla="*/ 338 h 1092"/>
                  <a:gd name="T42" fmla="*/ 557 w 2261"/>
                  <a:gd name="T43" fmla="*/ 370 h 1092"/>
                  <a:gd name="T44" fmla="*/ 505 w 2261"/>
                  <a:gd name="T45" fmla="*/ 402 h 1092"/>
                  <a:gd name="T46" fmla="*/ 455 w 2261"/>
                  <a:gd name="T47" fmla="*/ 436 h 1092"/>
                  <a:gd name="T48" fmla="*/ 405 w 2261"/>
                  <a:gd name="T49" fmla="*/ 471 h 1092"/>
                  <a:gd name="T50" fmla="*/ 356 w 2261"/>
                  <a:gd name="T51" fmla="*/ 507 h 1092"/>
                  <a:gd name="T52" fmla="*/ 308 w 2261"/>
                  <a:gd name="T53" fmla="*/ 545 h 1092"/>
                  <a:gd name="T54" fmla="*/ 261 w 2261"/>
                  <a:gd name="T55" fmla="*/ 583 h 1092"/>
                  <a:gd name="T56" fmla="*/ 216 w 2261"/>
                  <a:gd name="T57" fmla="*/ 622 h 1092"/>
                  <a:gd name="T58" fmla="*/ 170 w 2261"/>
                  <a:gd name="T59" fmla="*/ 663 h 1092"/>
                  <a:gd name="T60" fmla="*/ 126 w 2261"/>
                  <a:gd name="T61" fmla="*/ 704 h 1092"/>
                  <a:gd name="T62" fmla="*/ 83 w 2261"/>
                  <a:gd name="T63" fmla="*/ 746 h 1092"/>
                  <a:gd name="T64" fmla="*/ 41 w 2261"/>
                  <a:gd name="T65" fmla="*/ 790 h 1092"/>
                  <a:gd name="T66" fmla="*/ 0 w 2261"/>
                  <a:gd name="T67" fmla="*/ 834 h 1092"/>
                  <a:gd name="T68" fmla="*/ 2148 w 2261"/>
                  <a:gd name="T69" fmla="*/ 1092 h 1092"/>
                  <a:gd name="T70" fmla="*/ 2152 w 2261"/>
                  <a:gd name="T71" fmla="*/ 1079 h 1092"/>
                  <a:gd name="T72" fmla="*/ 2157 w 2261"/>
                  <a:gd name="T73" fmla="*/ 1067 h 1092"/>
                  <a:gd name="T74" fmla="*/ 2162 w 2261"/>
                  <a:gd name="T75" fmla="*/ 1055 h 1092"/>
                  <a:gd name="T76" fmla="*/ 2167 w 2261"/>
                  <a:gd name="T77" fmla="*/ 1043 h 1092"/>
                  <a:gd name="T78" fmla="*/ 2179 w 2261"/>
                  <a:gd name="T79" fmla="*/ 1020 h 1092"/>
                  <a:gd name="T80" fmla="*/ 2192 w 2261"/>
                  <a:gd name="T81" fmla="*/ 998 h 1092"/>
                  <a:gd name="T82" fmla="*/ 2207 w 2261"/>
                  <a:gd name="T83" fmla="*/ 978 h 1092"/>
                  <a:gd name="T84" fmla="*/ 2223 w 2261"/>
                  <a:gd name="T85" fmla="*/ 958 h 1092"/>
                  <a:gd name="T86" fmla="*/ 2241 w 2261"/>
                  <a:gd name="T87" fmla="*/ 940 h 1092"/>
                  <a:gd name="T88" fmla="*/ 2261 w 2261"/>
                  <a:gd name="T89" fmla="*/ 923 h 10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261" h="1092">
                    <a:moveTo>
                      <a:pt x="2261" y="923"/>
                    </a:moveTo>
                    <a:lnTo>
                      <a:pt x="1733" y="0"/>
                    </a:lnTo>
                    <a:lnTo>
                      <a:pt x="1669" y="5"/>
                    </a:lnTo>
                    <a:lnTo>
                      <a:pt x="1605" y="11"/>
                    </a:lnTo>
                    <a:lnTo>
                      <a:pt x="1541" y="18"/>
                    </a:lnTo>
                    <a:lnTo>
                      <a:pt x="1479" y="27"/>
                    </a:lnTo>
                    <a:lnTo>
                      <a:pt x="1417" y="38"/>
                    </a:lnTo>
                    <a:lnTo>
                      <a:pt x="1354" y="50"/>
                    </a:lnTo>
                    <a:lnTo>
                      <a:pt x="1293" y="64"/>
                    </a:lnTo>
                    <a:lnTo>
                      <a:pt x="1233" y="79"/>
                    </a:lnTo>
                    <a:lnTo>
                      <a:pt x="1173" y="96"/>
                    </a:lnTo>
                    <a:lnTo>
                      <a:pt x="1113" y="114"/>
                    </a:lnTo>
                    <a:lnTo>
                      <a:pt x="1054" y="133"/>
                    </a:lnTo>
                    <a:lnTo>
                      <a:pt x="996" y="154"/>
                    </a:lnTo>
                    <a:lnTo>
                      <a:pt x="939" y="177"/>
                    </a:lnTo>
                    <a:lnTo>
                      <a:pt x="881" y="201"/>
                    </a:lnTo>
                    <a:lnTo>
                      <a:pt x="826" y="226"/>
                    </a:lnTo>
                    <a:lnTo>
                      <a:pt x="770" y="252"/>
                    </a:lnTo>
                    <a:lnTo>
                      <a:pt x="716" y="280"/>
                    </a:lnTo>
                    <a:lnTo>
                      <a:pt x="662" y="308"/>
                    </a:lnTo>
                    <a:lnTo>
                      <a:pt x="609" y="338"/>
                    </a:lnTo>
                    <a:lnTo>
                      <a:pt x="557" y="370"/>
                    </a:lnTo>
                    <a:lnTo>
                      <a:pt x="505" y="402"/>
                    </a:lnTo>
                    <a:lnTo>
                      <a:pt x="455" y="436"/>
                    </a:lnTo>
                    <a:lnTo>
                      <a:pt x="405" y="471"/>
                    </a:lnTo>
                    <a:lnTo>
                      <a:pt x="356" y="507"/>
                    </a:lnTo>
                    <a:lnTo>
                      <a:pt x="308" y="545"/>
                    </a:lnTo>
                    <a:lnTo>
                      <a:pt x="261" y="583"/>
                    </a:lnTo>
                    <a:lnTo>
                      <a:pt x="216" y="622"/>
                    </a:lnTo>
                    <a:lnTo>
                      <a:pt x="170" y="663"/>
                    </a:lnTo>
                    <a:lnTo>
                      <a:pt x="126" y="704"/>
                    </a:lnTo>
                    <a:lnTo>
                      <a:pt x="83" y="746"/>
                    </a:lnTo>
                    <a:lnTo>
                      <a:pt x="41" y="790"/>
                    </a:lnTo>
                    <a:lnTo>
                      <a:pt x="0" y="834"/>
                    </a:lnTo>
                    <a:lnTo>
                      <a:pt x="2148" y="1092"/>
                    </a:lnTo>
                    <a:lnTo>
                      <a:pt x="2152" y="1079"/>
                    </a:lnTo>
                    <a:lnTo>
                      <a:pt x="2157" y="1067"/>
                    </a:lnTo>
                    <a:lnTo>
                      <a:pt x="2162" y="1055"/>
                    </a:lnTo>
                    <a:lnTo>
                      <a:pt x="2167" y="1043"/>
                    </a:lnTo>
                    <a:lnTo>
                      <a:pt x="2179" y="1020"/>
                    </a:lnTo>
                    <a:lnTo>
                      <a:pt x="2192" y="998"/>
                    </a:lnTo>
                    <a:lnTo>
                      <a:pt x="2207" y="978"/>
                    </a:lnTo>
                    <a:lnTo>
                      <a:pt x="2223" y="958"/>
                    </a:lnTo>
                    <a:lnTo>
                      <a:pt x="2241" y="940"/>
                    </a:lnTo>
                    <a:lnTo>
                      <a:pt x="2261" y="9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37" name="Freeform 16"/>
              <p:cNvSpPr>
                <a:spLocks/>
              </p:cNvSpPr>
              <p:nvPr/>
            </p:nvSpPr>
            <p:spPr bwMode="auto">
              <a:xfrm>
                <a:off x="351422" y="277809"/>
                <a:ext cx="169523" cy="189323"/>
              </a:xfrm>
              <a:custGeom>
                <a:avLst/>
                <a:gdLst>
                  <a:gd name="T0" fmla="*/ 58 w 1648"/>
                  <a:gd name="T1" fmla="*/ 136 h 1845"/>
                  <a:gd name="T2" fmla="*/ 56 w 1648"/>
                  <a:gd name="T3" fmla="*/ 160 h 1845"/>
                  <a:gd name="T4" fmla="*/ 53 w 1648"/>
                  <a:gd name="T5" fmla="*/ 184 h 1845"/>
                  <a:gd name="T6" fmla="*/ 48 w 1648"/>
                  <a:gd name="T7" fmla="*/ 207 h 1845"/>
                  <a:gd name="T8" fmla="*/ 41 w 1648"/>
                  <a:gd name="T9" fmla="*/ 230 h 1845"/>
                  <a:gd name="T10" fmla="*/ 33 w 1648"/>
                  <a:gd name="T11" fmla="*/ 252 h 1845"/>
                  <a:gd name="T12" fmla="*/ 23 w 1648"/>
                  <a:gd name="T13" fmla="*/ 273 h 1845"/>
                  <a:gd name="T14" fmla="*/ 12 w 1648"/>
                  <a:gd name="T15" fmla="*/ 293 h 1845"/>
                  <a:gd name="T16" fmla="*/ 0 w 1648"/>
                  <a:gd name="T17" fmla="*/ 313 h 1845"/>
                  <a:gd name="T18" fmla="*/ 1617 w 1648"/>
                  <a:gd name="T19" fmla="*/ 1845 h 1845"/>
                  <a:gd name="T20" fmla="*/ 1624 w 1648"/>
                  <a:gd name="T21" fmla="*/ 1797 h 1845"/>
                  <a:gd name="T22" fmla="*/ 1630 w 1648"/>
                  <a:gd name="T23" fmla="*/ 1748 h 1845"/>
                  <a:gd name="T24" fmla="*/ 1635 w 1648"/>
                  <a:gd name="T25" fmla="*/ 1700 h 1845"/>
                  <a:gd name="T26" fmla="*/ 1640 w 1648"/>
                  <a:gd name="T27" fmla="*/ 1651 h 1845"/>
                  <a:gd name="T28" fmla="*/ 1643 w 1648"/>
                  <a:gd name="T29" fmla="*/ 1602 h 1845"/>
                  <a:gd name="T30" fmla="*/ 1646 w 1648"/>
                  <a:gd name="T31" fmla="*/ 1552 h 1845"/>
                  <a:gd name="T32" fmla="*/ 1647 w 1648"/>
                  <a:gd name="T33" fmla="*/ 1503 h 1845"/>
                  <a:gd name="T34" fmla="*/ 1648 w 1648"/>
                  <a:gd name="T35" fmla="*/ 1452 h 1845"/>
                  <a:gd name="T36" fmla="*/ 1647 w 1648"/>
                  <a:gd name="T37" fmla="*/ 1401 h 1845"/>
                  <a:gd name="T38" fmla="*/ 1646 w 1648"/>
                  <a:gd name="T39" fmla="*/ 1351 h 1845"/>
                  <a:gd name="T40" fmla="*/ 1643 w 1648"/>
                  <a:gd name="T41" fmla="*/ 1301 h 1845"/>
                  <a:gd name="T42" fmla="*/ 1640 w 1648"/>
                  <a:gd name="T43" fmla="*/ 1251 h 1845"/>
                  <a:gd name="T44" fmla="*/ 1635 w 1648"/>
                  <a:gd name="T45" fmla="*/ 1202 h 1845"/>
                  <a:gd name="T46" fmla="*/ 1630 w 1648"/>
                  <a:gd name="T47" fmla="*/ 1153 h 1845"/>
                  <a:gd name="T48" fmla="*/ 1624 w 1648"/>
                  <a:gd name="T49" fmla="*/ 1103 h 1845"/>
                  <a:gd name="T50" fmla="*/ 1616 w 1648"/>
                  <a:gd name="T51" fmla="*/ 1054 h 1845"/>
                  <a:gd name="T52" fmla="*/ 1608 w 1648"/>
                  <a:gd name="T53" fmla="*/ 1006 h 1845"/>
                  <a:gd name="T54" fmla="*/ 1599 w 1648"/>
                  <a:gd name="T55" fmla="*/ 958 h 1845"/>
                  <a:gd name="T56" fmla="*/ 1589 w 1648"/>
                  <a:gd name="T57" fmla="*/ 911 h 1845"/>
                  <a:gd name="T58" fmla="*/ 1578 w 1648"/>
                  <a:gd name="T59" fmla="*/ 863 h 1845"/>
                  <a:gd name="T60" fmla="*/ 1567 w 1648"/>
                  <a:gd name="T61" fmla="*/ 816 h 1845"/>
                  <a:gd name="T62" fmla="*/ 1554 w 1648"/>
                  <a:gd name="T63" fmla="*/ 769 h 1845"/>
                  <a:gd name="T64" fmla="*/ 1540 w 1648"/>
                  <a:gd name="T65" fmla="*/ 723 h 1845"/>
                  <a:gd name="T66" fmla="*/ 1526 w 1648"/>
                  <a:gd name="T67" fmla="*/ 677 h 1845"/>
                  <a:gd name="T68" fmla="*/ 1511 w 1648"/>
                  <a:gd name="T69" fmla="*/ 631 h 1845"/>
                  <a:gd name="T70" fmla="*/ 1495 w 1648"/>
                  <a:gd name="T71" fmla="*/ 586 h 1845"/>
                  <a:gd name="T72" fmla="*/ 1478 w 1648"/>
                  <a:gd name="T73" fmla="*/ 542 h 1845"/>
                  <a:gd name="T74" fmla="*/ 1460 w 1648"/>
                  <a:gd name="T75" fmla="*/ 497 h 1845"/>
                  <a:gd name="T76" fmla="*/ 1441 w 1648"/>
                  <a:gd name="T77" fmla="*/ 453 h 1845"/>
                  <a:gd name="T78" fmla="*/ 1421 w 1648"/>
                  <a:gd name="T79" fmla="*/ 409 h 1845"/>
                  <a:gd name="T80" fmla="*/ 1401 w 1648"/>
                  <a:gd name="T81" fmla="*/ 366 h 1845"/>
                  <a:gd name="T82" fmla="*/ 1381 w 1648"/>
                  <a:gd name="T83" fmla="*/ 324 h 1845"/>
                  <a:gd name="T84" fmla="*/ 1359 w 1648"/>
                  <a:gd name="T85" fmla="*/ 281 h 1845"/>
                  <a:gd name="T86" fmla="*/ 1337 w 1648"/>
                  <a:gd name="T87" fmla="*/ 240 h 1845"/>
                  <a:gd name="T88" fmla="*/ 1313 w 1648"/>
                  <a:gd name="T89" fmla="*/ 199 h 1845"/>
                  <a:gd name="T90" fmla="*/ 1289 w 1648"/>
                  <a:gd name="T91" fmla="*/ 158 h 1845"/>
                  <a:gd name="T92" fmla="*/ 1265 w 1648"/>
                  <a:gd name="T93" fmla="*/ 118 h 1845"/>
                  <a:gd name="T94" fmla="*/ 1240 w 1648"/>
                  <a:gd name="T95" fmla="*/ 77 h 1845"/>
                  <a:gd name="T96" fmla="*/ 1214 w 1648"/>
                  <a:gd name="T97" fmla="*/ 38 h 1845"/>
                  <a:gd name="T98" fmla="*/ 1186 w 1648"/>
                  <a:gd name="T99" fmla="*/ 0 h 1845"/>
                  <a:gd name="T100" fmla="*/ 58 w 1648"/>
                  <a:gd name="T101" fmla="*/ 136 h 1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48" h="1845">
                    <a:moveTo>
                      <a:pt x="58" y="136"/>
                    </a:moveTo>
                    <a:lnTo>
                      <a:pt x="56" y="160"/>
                    </a:lnTo>
                    <a:lnTo>
                      <a:pt x="53" y="184"/>
                    </a:lnTo>
                    <a:lnTo>
                      <a:pt x="48" y="207"/>
                    </a:lnTo>
                    <a:lnTo>
                      <a:pt x="41" y="230"/>
                    </a:lnTo>
                    <a:lnTo>
                      <a:pt x="33" y="252"/>
                    </a:lnTo>
                    <a:lnTo>
                      <a:pt x="23" y="273"/>
                    </a:lnTo>
                    <a:lnTo>
                      <a:pt x="12" y="293"/>
                    </a:lnTo>
                    <a:lnTo>
                      <a:pt x="0" y="313"/>
                    </a:lnTo>
                    <a:lnTo>
                      <a:pt x="1617" y="1845"/>
                    </a:lnTo>
                    <a:lnTo>
                      <a:pt x="1624" y="1797"/>
                    </a:lnTo>
                    <a:lnTo>
                      <a:pt x="1630" y="1748"/>
                    </a:lnTo>
                    <a:lnTo>
                      <a:pt x="1635" y="1700"/>
                    </a:lnTo>
                    <a:lnTo>
                      <a:pt x="1640" y="1651"/>
                    </a:lnTo>
                    <a:lnTo>
                      <a:pt x="1643" y="1602"/>
                    </a:lnTo>
                    <a:lnTo>
                      <a:pt x="1646" y="1552"/>
                    </a:lnTo>
                    <a:lnTo>
                      <a:pt x="1647" y="1503"/>
                    </a:lnTo>
                    <a:lnTo>
                      <a:pt x="1648" y="1452"/>
                    </a:lnTo>
                    <a:lnTo>
                      <a:pt x="1647" y="1401"/>
                    </a:lnTo>
                    <a:lnTo>
                      <a:pt x="1646" y="1351"/>
                    </a:lnTo>
                    <a:lnTo>
                      <a:pt x="1643" y="1301"/>
                    </a:lnTo>
                    <a:lnTo>
                      <a:pt x="1640" y="1251"/>
                    </a:lnTo>
                    <a:lnTo>
                      <a:pt x="1635" y="1202"/>
                    </a:lnTo>
                    <a:lnTo>
                      <a:pt x="1630" y="1153"/>
                    </a:lnTo>
                    <a:lnTo>
                      <a:pt x="1624" y="1103"/>
                    </a:lnTo>
                    <a:lnTo>
                      <a:pt x="1616" y="1054"/>
                    </a:lnTo>
                    <a:lnTo>
                      <a:pt x="1608" y="1006"/>
                    </a:lnTo>
                    <a:lnTo>
                      <a:pt x="1599" y="958"/>
                    </a:lnTo>
                    <a:lnTo>
                      <a:pt x="1589" y="911"/>
                    </a:lnTo>
                    <a:lnTo>
                      <a:pt x="1578" y="863"/>
                    </a:lnTo>
                    <a:lnTo>
                      <a:pt x="1567" y="816"/>
                    </a:lnTo>
                    <a:lnTo>
                      <a:pt x="1554" y="769"/>
                    </a:lnTo>
                    <a:lnTo>
                      <a:pt x="1540" y="723"/>
                    </a:lnTo>
                    <a:lnTo>
                      <a:pt x="1526" y="677"/>
                    </a:lnTo>
                    <a:lnTo>
                      <a:pt x="1511" y="631"/>
                    </a:lnTo>
                    <a:lnTo>
                      <a:pt x="1495" y="586"/>
                    </a:lnTo>
                    <a:lnTo>
                      <a:pt x="1478" y="542"/>
                    </a:lnTo>
                    <a:lnTo>
                      <a:pt x="1460" y="497"/>
                    </a:lnTo>
                    <a:lnTo>
                      <a:pt x="1441" y="453"/>
                    </a:lnTo>
                    <a:lnTo>
                      <a:pt x="1421" y="409"/>
                    </a:lnTo>
                    <a:lnTo>
                      <a:pt x="1401" y="366"/>
                    </a:lnTo>
                    <a:lnTo>
                      <a:pt x="1381" y="324"/>
                    </a:lnTo>
                    <a:lnTo>
                      <a:pt x="1359" y="281"/>
                    </a:lnTo>
                    <a:lnTo>
                      <a:pt x="1337" y="240"/>
                    </a:lnTo>
                    <a:lnTo>
                      <a:pt x="1313" y="199"/>
                    </a:lnTo>
                    <a:lnTo>
                      <a:pt x="1289" y="158"/>
                    </a:lnTo>
                    <a:lnTo>
                      <a:pt x="1265" y="118"/>
                    </a:lnTo>
                    <a:lnTo>
                      <a:pt x="1240" y="77"/>
                    </a:lnTo>
                    <a:lnTo>
                      <a:pt x="1214" y="38"/>
                    </a:lnTo>
                    <a:lnTo>
                      <a:pt x="1186" y="0"/>
                    </a:lnTo>
                    <a:lnTo>
                      <a:pt x="58" y="1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38" name="Freeform 17"/>
              <p:cNvSpPr>
                <a:spLocks/>
              </p:cNvSpPr>
              <p:nvPr/>
            </p:nvSpPr>
            <p:spPr bwMode="auto">
              <a:xfrm>
                <a:off x="0" y="281521"/>
                <a:ext cx="288314" cy="188085"/>
              </a:xfrm>
              <a:custGeom>
                <a:avLst/>
                <a:gdLst>
                  <a:gd name="T0" fmla="*/ 2782 w 2801"/>
                  <a:gd name="T1" fmla="*/ 123 h 1832"/>
                  <a:gd name="T2" fmla="*/ 436 w 2801"/>
                  <a:gd name="T3" fmla="*/ 0 h 1832"/>
                  <a:gd name="T4" fmla="*/ 410 w 2801"/>
                  <a:gd name="T5" fmla="*/ 38 h 1832"/>
                  <a:gd name="T6" fmla="*/ 386 w 2801"/>
                  <a:gd name="T7" fmla="*/ 77 h 1832"/>
                  <a:gd name="T8" fmla="*/ 362 w 2801"/>
                  <a:gd name="T9" fmla="*/ 116 h 1832"/>
                  <a:gd name="T10" fmla="*/ 337 w 2801"/>
                  <a:gd name="T11" fmla="*/ 155 h 1832"/>
                  <a:gd name="T12" fmla="*/ 315 w 2801"/>
                  <a:gd name="T13" fmla="*/ 195 h 1832"/>
                  <a:gd name="T14" fmla="*/ 293 w 2801"/>
                  <a:gd name="T15" fmla="*/ 236 h 1832"/>
                  <a:gd name="T16" fmla="*/ 272 w 2801"/>
                  <a:gd name="T17" fmla="*/ 276 h 1832"/>
                  <a:gd name="T18" fmla="*/ 251 w 2801"/>
                  <a:gd name="T19" fmla="*/ 317 h 1832"/>
                  <a:gd name="T20" fmla="*/ 232 w 2801"/>
                  <a:gd name="T21" fmla="*/ 359 h 1832"/>
                  <a:gd name="T22" fmla="*/ 213 w 2801"/>
                  <a:gd name="T23" fmla="*/ 401 h 1832"/>
                  <a:gd name="T24" fmla="*/ 195 w 2801"/>
                  <a:gd name="T25" fmla="*/ 444 h 1832"/>
                  <a:gd name="T26" fmla="*/ 177 w 2801"/>
                  <a:gd name="T27" fmla="*/ 487 h 1832"/>
                  <a:gd name="T28" fmla="*/ 160 w 2801"/>
                  <a:gd name="T29" fmla="*/ 530 h 1832"/>
                  <a:gd name="T30" fmla="*/ 145 w 2801"/>
                  <a:gd name="T31" fmla="*/ 574 h 1832"/>
                  <a:gd name="T32" fmla="*/ 129 w 2801"/>
                  <a:gd name="T33" fmla="*/ 618 h 1832"/>
                  <a:gd name="T34" fmla="*/ 114 w 2801"/>
                  <a:gd name="T35" fmla="*/ 662 h 1832"/>
                  <a:gd name="T36" fmla="*/ 101 w 2801"/>
                  <a:gd name="T37" fmla="*/ 707 h 1832"/>
                  <a:gd name="T38" fmla="*/ 88 w 2801"/>
                  <a:gd name="T39" fmla="*/ 753 h 1832"/>
                  <a:gd name="T40" fmla="*/ 76 w 2801"/>
                  <a:gd name="T41" fmla="*/ 798 h 1832"/>
                  <a:gd name="T42" fmla="*/ 65 w 2801"/>
                  <a:gd name="T43" fmla="*/ 844 h 1832"/>
                  <a:gd name="T44" fmla="*/ 55 w 2801"/>
                  <a:gd name="T45" fmla="*/ 890 h 1832"/>
                  <a:gd name="T46" fmla="*/ 45 w 2801"/>
                  <a:gd name="T47" fmla="*/ 936 h 1832"/>
                  <a:gd name="T48" fmla="*/ 37 w 2801"/>
                  <a:gd name="T49" fmla="*/ 983 h 1832"/>
                  <a:gd name="T50" fmla="*/ 29 w 2801"/>
                  <a:gd name="T51" fmla="*/ 1030 h 1832"/>
                  <a:gd name="T52" fmla="*/ 22 w 2801"/>
                  <a:gd name="T53" fmla="*/ 1077 h 1832"/>
                  <a:gd name="T54" fmla="*/ 17 w 2801"/>
                  <a:gd name="T55" fmla="*/ 1126 h 1832"/>
                  <a:gd name="T56" fmla="*/ 12 w 2801"/>
                  <a:gd name="T57" fmla="*/ 1173 h 1832"/>
                  <a:gd name="T58" fmla="*/ 7 w 2801"/>
                  <a:gd name="T59" fmla="*/ 1221 h 1832"/>
                  <a:gd name="T60" fmla="*/ 4 w 2801"/>
                  <a:gd name="T61" fmla="*/ 1270 h 1832"/>
                  <a:gd name="T62" fmla="*/ 2 w 2801"/>
                  <a:gd name="T63" fmla="*/ 1318 h 1832"/>
                  <a:gd name="T64" fmla="*/ 0 w 2801"/>
                  <a:gd name="T65" fmla="*/ 1367 h 1832"/>
                  <a:gd name="T66" fmla="*/ 0 w 2801"/>
                  <a:gd name="T67" fmla="*/ 1416 h 1832"/>
                  <a:gd name="T68" fmla="*/ 1 w 2801"/>
                  <a:gd name="T69" fmla="*/ 1470 h 1832"/>
                  <a:gd name="T70" fmla="*/ 2 w 2801"/>
                  <a:gd name="T71" fmla="*/ 1522 h 1832"/>
                  <a:gd name="T72" fmla="*/ 5 w 2801"/>
                  <a:gd name="T73" fmla="*/ 1575 h 1832"/>
                  <a:gd name="T74" fmla="*/ 9 w 2801"/>
                  <a:gd name="T75" fmla="*/ 1627 h 1832"/>
                  <a:gd name="T76" fmla="*/ 14 w 2801"/>
                  <a:gd name="T77" fmla="*/ 1678 h 1832"/>
                  <a:gd name="T78" fmla="*/ 20 w 2801"/>
                  <a:gd name="T79" fmla="*/ 1730 h 1832"/>
                  <a:gd name="T80" fmla="*/ 27 w 2801"/>
                  <a:gd name="T81" fmla="*/ 1782 h 1832"/>
                  <a:gd name="T82" fmla="*/ 35 w 2801"/>
                  <a:gd name="T83" fmla="*/ 1832 h 1832"/>
                  <a:gd name="T84" fmla="*/ 2801 w 2801"/>
                  <a:gd name="T85" fmla="*/ 208 h 1832"/>
                  <a:gd name="T86" fmla="*/ 2794 w 2801"/>
                  <a:gd name="T87" fmla="*/ 188 h 1832"/>
                  <a:gd name="T88" fmla="*/ 2789 w 2801"/>
                  <a:gd name="T89" fmla="*/ 167 h 1832"/>
                  <a:gd name="T90" fmla="*/ 2785 w 2801"/>
                  <a:gd name="T91" fmla="*/ 145 h 1832"/>
                  <a:gd name="T92" fmla="*/ 2782 w 2801"/>
                  <a:gd name="T93" fmla="*/ 123 h 1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801" h="1832">
                    <a:moveTo>
                      <a:pt x="2782" y="123"/>
                    </a:moveTo>
                    <a:lnTo>
                      <a:pt x="436" y="0"/>
                    </a:lnTo>
                    <a:lnTo>
                      <a:pt x="410" y="38"/>
                    </a:lnTo>
                    <a:lnTo>
                      <a:pt x="386" y="77"/>
                    </a:lnTo>
                    <a:lnTo>
                      <a:pt x="362" y="116"/>
                    </a:lnTo>
                    <a:lnTo>
                      <a:pt x="337" y="155"/>
                    </a:lnTo>
                    <a:lnTo>
                      <a:pt x="315" y="195"/>
                    </a:lnTo>
                    <a:lnTo>
                      <a:pt x="293" y="236"/>
                    </a:lnTo>
                    <a:lnTo>
                      <a:pt x="272" y="276"/>
                    </a:lnTo>
                    <a:lnTo>
                      <a:pt x="251" y="317"/>
                    </a:lnTo>
                    <a:lnTo>
                      <a:pt x="232" y="359"/>
                    </a:lnTo>
                    <a:lnTo>
                      <a:pt x="213" y="401"/>
                    </a:lnTo>
                    <a:lnTo>
                      <a:pt x="195" y="444"/>
                    </a:lnTo>
                    <a:lnTo>
                      <a:pt x="177" y="487"/>
                    </a:lnTo>
                    <a:lnTo>
                      <a:pt x="160" y="530"/>
                    </a:lnTo>
                    <a:lnTo>
                      <a:pt x="145" y="574"/>
                    </a:lnTo>
                    <a:lnTo>
                      <a:pt x="129" y="618"/>
                    </a:lnTo>
                    <a:lnTo>
                      <a:pt x="114" y="662"/>
                    </a:lnTo>
                    <a:lnTo>
                      <a:pt x="101" y="707"/>
                    </a:lnTo>
                    <a:lnTo>
                      <a:pt x="88" y="753"/>
                    </a:lnTo>
                    <a:lnTo>
                      <a:pt x="76" y="798"/>
                    </a:lnTo>
                    <a:lnTo>
                      <a:pt x="65" y="844"/>
                    </a:lnTo>
                    <a:lnTo>
                      <a:pt x="55" y="890"/>
                    </a:lnTo>
                    <a:lnTo>
                      <a:pt x="45" y="936"/>
                    </a:lnTo>
                    <a:lnTo>
                      <a:pt x="37" y="983"/>
                    </a:lnTo>
                    <a:lnTo>
                      <a:pt x="29" y="1030"/>
                    </a:lnTo>
                    <a:lnTo>
                      <a:pt x="22" y="1077"/>
                    </a:lnTo>
                    <a:lnTo>
                      <a:pt x="17" y="1126"/>
                    </a:lnTo>
                    <a:lnTo>
                      <a:pt x="12" y="1173"/>
                    </a:lnTo>
                    <a:lnTo>
                      <a:pt x="7" y="1221"/>
                    </a:lnTo>
                    <a:lnTo>
                      <a:pt x="4" y="1270"/>
                    </a:lnTo>
                    <a:lnTo>
                      <a:pt x="2" y="1318"/>
                    </a:lnTo>
                    <a:lnTo>
                      <a:pt x="0" y="1367"/>
                    </a:lnTo>
                    <a:lnTo>
                      <a:pt x="0" y="1416"/>
                    </a:lnTo>
                    <a:lnTo>
                      <a:pt x="1" y="1470"/>
                    </a:lnTo>
                    <a:lnTo>
                      <a:pt x="2" y="1522"/>
                    </a:lnTo>
                    <a:lnTo>
                      <a:pt x="5" y="1575"/>
                    </a:lnTo>
                    <a:lnTo>
                      <a:pt x="9" y="1627"/>
                    </a:lnTo>
                    <a:lnTo>
                      <a:pt x="14" y="1678"/>
                    </a:lnTo>
                    <a:lnTo>
                      <a:pt x="20" y="1730"/>
                    </a:lnTo>
                    <a:lnTo>
                      <a:pt x="27" y="1782"/>
                    </a:lnTo>
                    <a:lnTo>
                      <a:pt x="35" y="1832"/>
                    </a:lnTo>
                    <a:lnTo>
                      <a:pt x="2801" y="208"/>
                    </a:lnTo>
                    <a:lnTo>
                      <a:pt x="2794" y="188"/>
                    </a:lnTo>
                    <a:lnTo>
                      <a:pt x="2789" y="167"/>
                    </a:lnTo>
                    <a:lnTo>
                      <a:pt x="2785" y="145"/>
                    </a:lnTo>
                    <a:lnTo>
                      <a:pt x="2782" y="1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39" name="Freeform 18"/>
              <p:cNvSpPr>
                <a:spLocks/>
              </p:cNvSpPr>
              <p:nvPr/>
            </p:nvSpPr>
            <p:spPr bwMode="auto">
              <a:xfrm>
                <a:off x="277178" y="167680"/>
                <a:ext cx="176948" cy="108891"/>
              </a:xfrm>
              <a:custGeom>
                <a:avLst/>
                <a:gdLst>
                  <a:gd name="T0" fmla="*/ 442 w 1714"/>
                  <a:gd name="T1" fmla="*/ 845 h 1055"/>
                  <a:gd name="T2" fmla="*/ 467 w 1714"/>
                  <a:gd name="T3" fmla="*/ 846 h 1055"/>
                  <a:gd name="T4" fmla="*/ 493 w 1714"/>
                  <a:gd name="T5" fmla="*/ 850 h 1055"/>
                  <a:gd name="T6" fmla="*/ 518 w 1714"/>
                  <a:gd name="T7" fmla="*/ 855 h 1055"/>
                  <a:gd name="T8" fmla="*/ 542 w 1714"/>
                  <a:gd name="T9" fmla="*/ 862 h 1055"/>
                  <a:gd name="T10" fmla="*/ 565 w 1714"/>
                  <a:gd name="T11" fmla="*/ 871 h 1055"/>
                  <a:gd name="T12" fmla="*/ 587 w 1714"/>
                  <a:gd name="T13" fmla="*/ 881 h 1055"/>
                  <a:gd name="T14" fmla="*/ 608 w 1714"/>
                  <a:gd name="T15" fmla="*/ 893 h 1055"/>
                  <a:gd name="T16" fmla="*/ 629 w 1714"/>
                  <a:gd name="T17" fmla="*/ 906 h 1055"/>
                  <a:gd name="T18" fmla="*/ 648 w 1714"/>
                  <a:gd name="T19" fmla="*/ 920 h 1055"/>
                  <a:gd name="T20" fmla="*/ 666 w 1714"/>
                  <a:gd name="T21" fmla="*/ 936 h 1055"/>
                  <a:gd name="T22" fmla="*/ 684 w 1714"/>
                  <a:gd name="T23" fmla="*/ 953 h 1055"/>
                  <a:gd name="T24" fmla="*/ 699 w 1714"/>
                  <a:gd name="T25" fmla="*/ 971 h 1055"/>
                  <a:gd name="T26" fmla="*/ 714 w 1714"/>
                  <a:gd name="T27" fmla="*/ 991 h 1055"/>
                  <a:gd name="T28" fmla="*/ 727 w 1714"/>
                  <a:gd name="T29" fmla="*/ 1011 h 1055"/>
                  <a:gd name="T30" fmla="*/ 739 w 1714"/>
                  <a:gd name="T31" fmla="*/ 1032 h 1055"/>
                  <a:gd name="T32" fmla="*/ 750 w 1714"/>
                  <a:gd name="T33" fmla="*/ 1055 h 1055"/>
                  <a:gd name="T34" fmla="*/ 1714 w 1714"/>
                  <a:gd name="T35" fmla="*/ 825 h 1055"/>
                  <a:gd name="T36" fmla="*/ 1672 w 1714"/>
                  <a:gd name="T37" fmla="*/ 781 h 1055"/>
                  <a:gd name="T38" fmla="*/ 1631 w 1714"/>
                  <a:gd name="T39" fmla="*/ 739 h 1055"/>
                  <a:gd name="T40" fmla="*/ 1588 w 1714"/>
                  <a:gd name="T41" fmla="*/ 697 h 1055"/>
                  <a:gd name="T42" fmla="*/ 1545 w 1714"/>
                  <a:gd name="T43" fmla="*/ 656 h 1055"/>
                  <a:gd name="T44" fmla="*/ 1500 w 1714"/>
                  <a:gd name="T45" fmla="*/ 616 h 1055"/>
                  <a:gd name="T46" fmla="*/ 1455 w 1714"/>
                  <a:gd name="T47" fmla="*/ 577 h 1055"/>
                  <a:gd name="T48" fmla="*/ 1408 w 1714"/>
                  <a:gd name="T49" fmla="*/ 540 h 1055"/>
                  <a:gd name="T50" fmla="*/ 1360 w 1714"/>
                  <a:gd name="T51" fmla="*/ 502 h 1055"/>
                  <a:gd name="T52" fmla="*/ 1312 w 1714"/>
                  <a:gd name="T53" fmla="*/ 467 h 1055"/>
                  <a:gd name="T54" fmla="*/ 1263 w 1714"/>
                  <a:gd name="T55" fmla="*/ 432 h 1055"/>
                  <a:gd name="T56" fmla="*/ 1213 w 1714"/>
                  <a:gd name="T57" fmla="*/ 399 h 1055"/>
                  <a:gd name="T58" fmla="*/ 1162 w 1714"/>
                  <a:gd name="T59" fmla="*/ 367 h 1055"/>
                  <a:gd name="T60" fmla="*/ 1110 w 1714"/>
                  <a:gd name="T61" fmla="*/ 336 h 1055"/>
                  <a:gd name="T62" fmla="*/ 1058 w 1714"/>
                  <a:gd name="T63" fmla="*/ 307 h 1055"/>
                  <a:gd name="T64" fmla="*/ 1005 w 1714"/>
                  <a:gd name="T65" fmla="*/ 278 h 1055"/>
                  <a:gd name="T66" fmla="*/ 950 w 1714"/>
                  <a:gd name="T67" fmla="*/ 251 h 1055"/>
                  <a:gd name="T68" fmla="*/ 896 w 1714"/>
                  <a:gd name="T69" fmla="*/ 225 h 1055"/>
                  <a:gd name="T70" fmla="*/ 841 w 1714"/>
                  <a:gd name="T71" fmla="*/ 201 h 1055"/>
                  <a:gd name="T72" fmla="*/ 785 w 1714"/>
                  <a:gd name="T73" fmla="*/ 177 h 1055"/>
                  <a:gd name="T74" fmla="*/ 727 w 1714"/>
                  <a:gd name="T75" fmla="*/ 154 h 1055"/>
                  <a:gd name="T76" fmla="*/ 670 w 1714"/>
                  <a:gd name="T77" fmla="*/ 134 h 1055"/>
                  <a:gd name="T78" fmla="*/ 612 w 1714"/>
                  <a:gd name="T79" fmla="*/ 114 h 1055"/>
                  <a:gd name="T80" fmla="*/ 554 w 1714"/>
                  <a:gd name="T81" fmla="*/ 96 h 1055"/>
                  <a:gd name="T82" fmla="*/ 494 w 1714"/>
                  <a:gd name="T83" fmla="*/ 80 h 1055"/>
                  <a:gd name="T84" fmla="*/ 434 w 1714"/>
                  <a:gd name="T85" fmla="*/ 65 h 1055"/>
                  <a:gd name="T86" fmla="*/ 374 w 1714"/>
                  <a:gd name="T87" fmla="*/ 51 h 1055"/>
                  <a:gd name="T88" fmla="*/ 313 w 1714"/>
                  <a:gd name="T89" fmla="*/ 39 h 1055"/>
                  <a:gd name="T90" fmla="*/ 251 w 1714"/>
                  <a:gd name="T91" fmla="*/ 28 h 1055"/>
                  <a:gd name="T92" fmla="*/ 189 w 1714"/>
                  <a:gd name="T93" fmla="*/ 19 h 1055"/>
                  <a:gd name="T94" fmla="*/ 127 w 1714"/>
                  <a:gd name="T95" fmla="*/ 11 h 1055"/>
                  <a:gd name="T96" fmla="*/ 64 w 1714"/>
                  <a:gd name="T97" fmla="*/ 4 h 1055"/>
                  <a:gd name="T98" fmla="*/ 0 w 1714"/>
                  <a:gd name="T99" fmla="*/ 0 h 1055"/>
                  <a:gd name="T100" fmla="*/ 357 w 1714"/>
                  <a:gd name="T101" fmla="*/ 855 h 1055"/>
                  <a:gd name="T102" fmla="*/ 377 w 1714"/>
                  <a:gd name="T103" fmla="*/ 851 h 1055"/>
                  <a:gd name="T104" fmla="*/ 398 w 1714"/>
                  <a:gd name="T105" fmla="*/ 848 h 1055"/>
                  <a:gd name="T106" fmla="*/ 420 w 1714"/>
                  <a:gd name="T107" fmla="*/ 845 h 1055"/>
                  <a:gd name="T108" fmla="*/ 442 w 1714"/>
                  <a:gd name="T109" fmla="*/ 845 h 10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14" h="1055">
                    <a:moveTo>
                      <a:pt x="442" y="845"/>
                    </a:moveTo>
                    <a:lnTo>
                      <a:pt x="467" y="846"/>
                    </a:lnTo>
                    <a:lnTo>
                      <a:pt x="493" y="850"/>
                    </a:lnTo>
                    <a:lnTo>
                      <a:pt x="518" y="855"/>
                    </a:lnTo>
                    <a:lnTo>
                      <a:pt x="542" y="862"/>
                    </a:lnTo>
                    <a:lnTo>
                      <a:pt x="565" y="871"/>
                    </a:lnTo>
                    <a:lnTo>
                      <a:pt x="587" y="881"/>
                    </a:lnTo>
                    <a:lnTo>
                      <a:pt x="608" y="893"/>
                    </a:lnTo>
                    <a:lnTo>
                      <a:pt x="629" y="906"/>
                    </a:lnTo>
                    <a:lnTo>
                      <a:pt x="648" y="920"/>
                    </a:lnTo>
                    <a:lnTo>
                      <a:pt x="666" y="936"/>
                    </a:lnTo>
                    <a:lnTo>
                      <a:pt x="684" y="953"/>
                    </a:lnTo>
                    <a:lnTo>
                      <a:pt x="699" y="971"/>
                    </a:lnTo>
                    <a:lnTo>
                      <a:pt x="714" y="991"/>
                    </a:lnTo>
                    <a:lnTo>
                      <a:pt x="727" y="1011"/>
                    </a:lnTo>
                    <a:lnTo>
                      <a:pt x="739" y="1032"/>
                    </a:lnTo>
                    <a:lnTo>
                      <a:pt x="750" y="1055"/>
                    </a:lnTo>
                    <a:lnTo>
                      <a:pt x="1714" y="825"/>
                    </a:lnTo>
                    <a:lnTo>
                      <a:pt x="1672" y="781"/>
                    </a:lnTo>
                    <a:lnTo>
                      <a:pt x="1631" y="739"/>
                    </a:lnTo>
                    <a:lnTo>
                      <a:pt x="1588" y="697"/>
                    </a:lnTo>
                    <a:lnTo>
                      <a:pt x="1545" y="656"/>
                    </a:lnTo>
                    <a:lnTo>
                      <a:pt x="1500" y="616"/>
                    </a:lnTo>
                    <a:lnTo>
                      <a:pt x="1455" y="577"/>
                    </a:lnTo>
                    <a:lnTo>
                      <a:pt x="1408" y="540"/>
                    </a:lnTo>
                    <a:lnTo>
                      <a:pt x="1360" y="502"/>
                    </a:lnTo>
                    <a:lnTo>
                      <a:pt x="1312" y="467"/>
                    </a:lnTo>
                    <a:lnTo>
                      <a:pt x="1263" y="432"/>
                    </a:lnTo>
                    <a:lnTo>
                      <a:pt x="1213" y="399"/>
                    </a:lnTo>
                    <a:lnTo>
                      <a:pt x="1162" y="367"/>
                    </a:lnTo>
                    <a:lnTo>
                      <a:pt x="1110" y="336"/>
                    </a:lnTo>
                    <a:lnTo>
                      <a:pt x="1058" y="307"/>
                    </a:lnTo>
                    <a:lnTo>
                      <a:pt x="1005" y="278"/>
                    </a:lnTo>
                    <a:lnTo>
                      <a:pt x="950" y="251"/>
                    </a:lnTo>
                    <a:lnTo>
                      <a:pt x="896" y="225"/>
                    </a:lnTo>
                    <a:lnTo>
                      <a:pt x="841" y="201"/>
                    </a:lnTo>
                    <a:lnTo>
                      <a:pt x="785" y="177"/>
                    </a:lnTo>
                    <a:lnTo>
                      <a:pt x="727" y="154"/>
                    </a:lnTo>
                    <a:lnTo>
                      <a:pt x="670" y="134"/>
                    </a:lnTo>
                    <a:lnTo>
                      <a:pt x="612" y="114"/>
                    </a:lnTo>
                    <a:lnTo>
                      <a:pt x="554" y="96"/>
                    </a:lnTo>
                    <a:lnTo>
                      <a:pt x="494" y="80"/>
                    </a:lnTo>
                    <a:lnTo>
                      <a:pt x="434" y="65"/>
                    </a:lnTo>
                    <a:lnTo>
                      <a:pt x="374" y="51"/>
                    </a:lnTo>
                    <a:lnTo>
                      <a:pt x="313" y="39"/>
                    </a:lnTo>
                    <a:lnTo>
                      <a:pt x="251" y="28"/>
                    </a:lnTo>
                    <a:lnTo>
                      <a:pt x="189" y="19"/>
                    </a:lnTo>
                    <a:lnTo>
                      <a:pt x="127" y="11"/>
                    </a:lnTo>
                    <a:lnTo>
                      <a:pt x="64" y="4"/>
                    </a:lnTo>
                    <a:lnTo>
                      <a:pt x="0" y="0"/>
                    </a:lnTo>
                    <a:lnTo>
                      <a:pt x="357" y="855"/>
                    </a:lnTo>
                    <a:lnTo>
                      <a:pt x="377" y="851"/>
                    </a:lnTo>
                    <a:lnTo>
                      <a:pt x="398" y="848"/>
                    </a:lnTo>
                    <a:lnTo>
                      <a:pt x="420" y="845"/>
                    </a:lnTo>
                    <a:lnTo>
                      <a:pt x="442" y="8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13776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64">
          <p15:clr>
            <a:srgbClr val="FBAE40"/>
          </p15:clr>
        </p15:guide>
        <p15:guide id="2" pos="2803">
          <p15:clr>
            <a:srgbClr val="FBAE40"/>
          </p15:clr>
        </p15:guide>
        <p15:guide id="3" pos="5235">
          <p15:clr>
            <a:srgbClr val="FBAE40"/>
          </p15:clr>
        </p15:guide>
        <p15:guide id="4" pos="4883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0812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383161" y="1268413"/>
            <a:ext cx="11425766" cy="5060950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buFont typeface="Wingdings" pitchFamily="2" charset="2"/>
              <a:buNone/>
              <a:defRPr lang="ru-RU" sz="140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12192003" y="-25400"/>
            <a:ext cx="25740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7" tIns="0" rIns="91407" bIns="45704" rtlCol="0" anchor="t"/>
          <a:lstStyle/>
          <a:p>
            <a:pPr defTabSz="91407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 defTabSz="914070"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 defTabSz="914070"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 defTabSz="914070"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0070BA"/>
                </a:solidFill>
              </a:rPr>
              <a:t>Первый уровень</a:t>
            </a:r>
          </a:p>
          <a:p>
            <a:pPr marL="0" lvl="1" defTabSz="914070">
              <a:spcBef>
                <a:spcPts val="300"/>
              </a:spcBef>
              <a:buClr>
                <a:srgbClr val="004077"/>
              </a:buClr>
              <a:buSzPct val="100000"/>
              <a:defRPr/>
            </a:pPr>
            <a:r>
              <a:rPr lang="ru-RU" sz="1200" b="1" dirty="0">
                <a:solidFill>
                  <a:srgbClr val="3C3C3C"/>
                </a:solidFill>
              </a:rPr>
              <a:t>Второй уровень</a:t>
            </a:r>
          </a:p>
          <a:p>
            <a:pPr marL="0" lvl="2" defTabSz="914070">
              <a:spcBef>
                <a:spcPts val="300"/>
              </a:spcBef>
              <a:buClr>
                <a:srgbClr val="0070BA"/>
              </a:buClr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101204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Объект с подписью" type="objTx">
  <p:cSld name="OBJECT_WITH_CAPTION_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9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9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57" name="Google Shape;57;p9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58" name="Google Shape;58;p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Рисунок с подписью" type="picTx">
  <p:cSld name="PICTURE_WITH_CAPTION_TEXT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10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10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4" name="Google Shape;64;p10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5" name="Google Shape;65;p1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1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1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вертикальный текст" type="vertTx">
  <p:cSld name="VERTICAL_TEX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1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11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" name="Google Shape;71;p1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" name="Google Shape;72;p1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1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Вертикальный заголовок и текст" type="vertTitleAndTx">
  <p:cSld name="VERTICAL_TITLE_AND_VERTICAL_TEXT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12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12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1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1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1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0" hasCustomPrompt="1"/>
          </p:nvPr>
        </p:nvSpPr>
        <p:spPr>
          <a:xfrm>
            <a:off x="4303713" y="4437112"/>
            <a:ext cx="7299325" cy="764312"/>
          </a:xfrm>
        </p:spPr>
        <p:txBody>
          <a:bodyPr wrap="square" lIns="0" rIns="0" anchor="t">
            <a:noAutofit/>
          </a:bodyPr>
          <a:lstStyle>
            <a:lvl1pPr>
              <a:spcBef>
                <a:spcPts val="0"/>
              </a:spcBef>
              <a:defRPr sz="2400" b="1" baseline="0">
                <a:solidFill>
                  <a:schemeClr val="bg1"/>
                </a:solidFill>
              </a:defRPr>
            </a:lvl1pPr>
            <a:lvl2pPr>
              <a:defRPr sz="2400" b="1">
                <a:solidFill>
                  <a:schemeClr val="bg1"/>
                </a:solidFill>
              </a:defRPr>
            </a:lvl2pPr>
            <a:lvl3pPr>
              <a:defRPr sz="2000" b="1">
                <a:solidFill>
                  <a:schemeClr val="bg1"/>
                </a:solidFill>
              </a:defRPr>
            </a:lvl3pPr>
            <a:lvl4pPr>
              <a:defRPr sz="3200" b="1">
                <a:solidFill>
                  <a:schemeClr val="bg1"/>
                </a:solidFill>
              </a:defRPr>
            </a:lvl4pPr>
            <a:lvl5pPr>
              <a:defRPr sz="3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И.О. Фамилия докладчика</a:t>
            </a:r>
          </a:p>
          <a:p>
            <a:pPr lvl="0"/>
            <a:r>
              <a:rPr lang="ru-RU" dirty="0"/>
              <a:t>Должность докладчик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303713" y="2132856"/>
            <a:ext cx="7299325" cy="775597"/>
          </a:xfrm>
        </p:spPr>
        <p:txBody>
          <a:bodyPr wrap="square" anchor="ctr">
            <a:sp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br>
              <a:rPr lang="ru-RU" dirty="0"/>
            </a:b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1" hasCustomPrompt="1"/>
          </p:nvPr>
        </p:nvSpPr>
        <p:spPr>
          <a:xfrm>
            <a:off x="4333530" y="5733256"/>
            <a:ext cx="2113612" cy="269875"/>
          </a:xfrm>
          <a:solidFill>
            <a:schemeClr val="bg1"/>
          </a:solidFill>
        </p:spPr>
        <p:txBody>
          <a:bodyPr anchor="ctr"/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/>
              <a:t>|</a:t>
            </a:r>
            <a:endParaRPr lang="ru-RU" dirty="0"/>
          </a:p>
        </p:txBody>
      </p:sp>
      <p:sp>
        <p:nvSpPr>
          <p:cNvPr id="16" name="Текст 13"/>
          <p:cNvSpPr>
            <a:spLocks noGrp="1"/>
          </p:cNvSpPr>
          <p:nvPr>
            <p:ph type="body" sz="quarter" idx="12" hasCustomPrompt="1"/>
          </p:nvPr>
        </p:nvSpPr>
        <p:spPr>
          <a:xfrm>
            <a:off x="4316351" y="5733256"/>
            <a:ext cx="1050671" cy="269875"/>
          </a:xfrm>
          <a:noFill/>
        </p:spPr>
        <p:txBody>
          <a:bodyPr lIns="36000" rIns="0" anchor="ctr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   </a:t>
            </a:r>
            <a:r>
              <a:rPr lang="ru-RU"/>
              <a:t>МЕСЯЦ 2021</a:t>
            </a:r>
            <a:endParaRPr lang="ru-RU" dirty="0"/>
          </a:p>
        </p:txBody>
      </p:sp>
      <p:sp>
        <p:nvSpPr>
          <p:cNvPr id="17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5439030" y="5733256"/>
            <a:ext cx="648072" cy="269875"/>
          </a:xfrm>
          <a:solidFill>
            <a:schemeClr val="bg1"/>
          </a:solidFill>
        </p:spPr>
        <p:txBody>
          <a:bodyPr lIns="36000" rIns="0" anchor="ctr"/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/>
              <a:t>  РЕГИОН</a:t>
            </a:r>
          </a:p>
        </p:txBody>
      </p:sp>
      <p:pic>
        <p:nvPicPr>
          <p:cNvPr id="11" name="Рисунок 9">
            <a:extLst>
              <a:ext uri="{FF2B5EF4-FFF2-40B4-BE49-F238E27FC236}">
                <a16:creationId xmlns:a16="http://schemas.microsoft.com/office/drawing/2014/main" id="{E9F1BC79-6DFA-3F42-B992-66A07451F2D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228905" y="999103"/>
            <a:ext cx="1680481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223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1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6.xml"/><Relationship Id="rId26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1.xml"/><Relationship Id="rId21" Type="http://schemas.openxmlformats.org/officeDocument/2006/relationships/slideLayout" Target="../slideLayouts/slideLayout29.xml"/><Relationship Id="rId34" Type="http://schemas.openxmlformats.org/officeDocument/2006/relationships/slideLayout" Target="../slideLayouts/slideLayout42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5" Type="http://schemas.openxmlformats.org/officeDocument/2006/relationships/slideLayout" Target="../slideLayouts/slideLayout33.xml"/><Relationship Id="rId33" Type="http://schemas.openxmlformats.org/officeDocument/2006/relationships/slideLayout" Target="../slideLayouts/slideLayout41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20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37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24" Type="http://schemas.openxmlformats.org/officeDocument/2006/relationships/slideLayout" Target="../slideLayouts/slideLayout32.xml"/><Relationship Id="rId32" Type="http://schemas.openxmlformats.org/officeDocument/2006/relationships/slideLayout" Target="../slideLayouts/slideLayout40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23" Type="http://schemas.openxmlformats.org/officeDocument/2006/relationships/slideLayout" Target="../slideLayouts/slideLayout31.xml"/><Relationship Id="rId28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27.xml"/><Relationship Id="rId31" Type="http://schemas.openxmlformats.org/officeDocument/2006/relationships/slideLayout" Target="../slideLayouts/slideLayout39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Relationship Id="rId22" Type="http://schemas.openxmlformats.org/officeDocument/2006/relationships/slideLayout" Target="../slideLayouts/slideLayout30.xml"/><Relationship Id="rId27" Type="http://schemas.openxmlformats.org/officeDocument/2006/relationships/slideLayout" Target="../slideLayouts/slideLayout35.xml"/><Relationship Id="rId30" Type="http://schemas.openxmlformats.org/officeDocument/2006/relationships/slideLayout" Target="../slideLayouts/slideLayout38.xml"/><Relationship Id="rId35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0AEB006A-0D6F-6F40-8A39-93A931492D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018305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" name="Слайд think-cell" r:id="rId12" imgW="7772400" imgH="10058400" progId="TCLayout.ActiveDocument.1">
                  <p:embed/>
                </p:oleObj>
              </mc:Choice>
              <mc:Fallback>
                <p:oleObj name="Слайд think-cell" r:id="rId12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" name="Google Shape;9;p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" name="Google Shape;10;p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1" r:id="rId3"/>
    <p:sldLayoutId id="2147483652" r:id="rId4"/>
    <p:sldLayoutId id="2147483655" r:id="rId5"/>
    <p:sldLayoutId id="2147483656" r:id="rId6"/>
    <p:sldLayoutId id="2147483657" r:id="rId7"/>
    <p:sldLayoutId id="2147483658" r:id="rId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LogoEng" hidden="1"/>
          <p:cNvSpPr/>
          <p:nvPr userDrawn="1"/>
        </p:nvSpPr>
        <p:spPr>
          <a:xfrm>
            <a:off x="7246933" y="6500048"/>
            <a:ext cx="420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1000" noProof="0" dirty="0">
                <a:solidFill>
                  <a:schemeClr val="bg2"/>
                </a:solidFill>
              </a:rPr>
              <a:t>Gazprom</a:t>
            </a:r>
            <a:r>
              <a:rPr lang="en-US" sz="1000" baseline="0" noProof="0" dirty="0">
                <a:solidFill>
                  <a:schemeClr val="bg2"/>
                </a:solidFill>
              </a:rPr>
              <a:t> </a:t>
            </a:r>
            <a:r>
              <a:rPr lang="en-US" sz="1000" baseline="0" noProof="0" dirty="0" err="1">
                <a:solidFill>
                  <a:schemeClr val="bg2"/>
                </a:solidFill>
              </a:rPr>
              <a:t>Neft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33" name="Текст 2"/>
          <p:cNvSpPr>
            <a:spLocks noGrp="1"/>
          </p:cNvSpPr>
          <p:nvPr>
            <p:ph type="body" idx="1"/>
          </p:nvPr>
        </p:nvSpPr>
        <p:spPr>
          <a:xfrm>
            <a:off x="599441" y="981512"/>
            <a:ext cx="11003279" cy="5390713"/>
          </a:xfrm>
          <a:prstGeom prst="rect">
            <a:avLst/>
          </a:prstGeom>
          <a:ln>
            <a:noFill/>
          </a:ln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Первый уровень</a:t>
            </a:r>
          </a:p>
          <a:p>
            <a:pPr lvl="2"/>
            <a:r>
              <a:rPr lang="ru-RU" dirty="0"/>
              <a:t>Второй уровень</a:t>
            </a:r>
          </a:p>
        </p:txBody>
      </p:sp>
      <p:sp>
        <p:nvSpPr>
          <p:cNvPr id="35" name="Прямоугольник 34"/>
          <p:cNvSpPr/>
          <p:nvPr userDrawn="1"/>
        </p:nvSpPr>
        <p:spPr>
          <a:xfrm>
            <a:off x="11081195" y="6542052"/>
            <a:ext cx="521525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r"/>
            <a:fld id="{AF528B6D-1001-487C-8FFE-85B114390330}" type="slidenum">
              <a:rPr lang="ru-RU" sz="1200" b="0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PF Din Text Cond Pro" charset="0"/>
                <a:cs typeface="PF Din Text Cond Pro" charset="0"/>
              </a:rPr>
              <a:pPr algn="r"/>
              <a:t>‹#›</a:t>
            </a:fld>
            <a:endParaRPr lang="ru-RU" sz="1200" b="0" dirty="0">
              <a:solidFill>
                <a:schemeClr val="tx1">
                  <a:lumMod val="60000"/>
                  <a:lumOff val="40000"/>
                </a:schemeClr>
              </a:solidFill>
              <a:latin typeface="+mn-lt"/>
              <a:ea typeface="PF Din Text Cond Pro" charset="0"/>
              <a:cs typeface="PF Din Text Cond Pro" charset="0"/>
            </a:endParaRPr>
          </a:p>
        </p:txBody>
      </p:sp>
      <p:sp>
        <p:nvSpPr>
          <p:cNvPr id="36" name="Заголовок 1"/>
          <p:cNvSpPr>
            <a:spLocks noGrp="1"/>
          </p:cNvSpPr>
          <p:nvPr>
            <p:ph type="title"/>
          </p:nvPr>
        </p:nvSpPr>
        <p:spPr>
          <a:xfrm>
            <a:off x="2115819" y="379859"/>
            <a:ext cx="9486901" cy="431355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grpSp>
        <p:nvGrpSpPr>
          <p:cNvPr id="27" name="Группа 26"/>
          <p:cNvGrpSpPr/>
          <p:nvPr userDrawn="1"/>
        </p:nvGrpSpPr>
        <p:grpSpPr>
          <a:xfrm>
            <a:off x="613117" y="323850"/>
            <a:ext cx="1138551" cy="321285"/>
            <a:chOff x="0" y="687388"/>
            <a:chExt cx="1440180" cy="406401"/>
          </a:xfrm>
          <a:solidFill>
            <a:schemeClr val="accent1"/>
          </a:solidFill>
        </p:grpSpPr>
        <p:grpSp>
          <p:nvGrpSpPr>
            <p:cNvPr id="28" name="Группа 27"/>
            <p:cNvGrpSpPr/>
            <p:nvPr userDrawn="1"/>
          </p:nvGrpSpPr>
          <p:grpSpPr>
            <a:xfrm>
              <a:off x="493068" y="808707"/>
              <a:ext cx="947112" cy="176599"/>
              <a:chOff x="614988" y="259248"/>
              <a:chExt cx="1041891" cy="194272"/>
            </a:xfrm>
            <a:grpFill/>
          </p:grpSpPr>
          <p:sp>
            <p:nvSpPr>
              <p:cNvPr id="54" name="Freeform 5"/>
              <p:cNvSpPr>
                <a:spLocks noEditPoints="1"/>
              </p:cNvSpPr>
              <p:nvPr/>
            </p:nvSpPr>
            <p:spPr bwMode="auto">
              <a:xfrm>
                <a:off x="614988" y="260485"/>
                <a:ext cx="122502" cy="190560"/>
              </a:xfrm>
              <a:custGeom>
                <a:avLst/>
                <a:gdLst>
                  <a:gd name="T0" fmla="*/ 723 w 1181"/>
                  <a:gd name="T1" fmla="*/ 773 h 1846"/>
                  <a:gd name="T2" fmla="*/ 688 w 1181"/>
                  <a:gd name="T3" fmla="*/ 793 h 1846"/>
                  <a:gd name="T4" fmla="*/ 650 w 1181"/>
                  <a:gd name="T5" fmla="*/ 806 h 1846"/>
                  <a:gd name="T6" fmla="*/ 611 w 1181"/>
                  <a:gd name="T7" fmla="*/ 813 h 1846"/>
                  <a:gd name="T8" fmla="*/ 385 w 1181"/>
                  <a:gd name="T9" fmla="*/ 813 h 1846"/>
                  <a:gd name="T10" fmla="*/ 587 w 1181"/>
                  <a:gd name="T11" fmla="*/ 355 h 1846"/>
                  <a:gd name="T12" fmla="*/ 635 w 1181"/>
                  <a:gd name="T13" fmla="*/ 358 h 1846"/>
                  <a:gd name="T14" fmla="*/ 677 w 1181"/>
                  <a:gd name="T15" fmla="*/ 368 h 1846"/>
                  <a:gd name="T16" fmla="*/ 696 w 1181"/>
                  <a:gd name="T17" fmla="*/ 375 h 1846"/>
                  <a:gd name="T18" fmla="*/ 714 w 1181"/>
                  <a:gd name="T19" fmla="*/ 384 h 1846"/>
                  <a:gd name="T20" fmla="*/ 731 w 1181"/>
                  <a:gd name="T21" fmla="*/ 395 h 1846"/>
                  <a:gd name="T22" fmla="*/ 746 w 1181"/>
                  <a:gd name="T23" fmla="*/ 407 h 1846"/>
                  <a:gd name="T24" fmla="*/ 759 w 1181"/>
                  <a:gd name="T25" fmla="*/ 421 h 1846"/>
                  <a:gd name="T26" fmla="*/ 772 w 1181"/>
                  <a:gd name="T27" fmla="*/ 437 h 1846"/>
                  <a:gd name="T28" fmla="*/ 782 w 1181"/>
                  <a:gd name="T29" fmla="*/ 455 h 1846"/>
                  <a:gd name="T30" fmla="*/ 790 w 1181"/>
                  <a:gd name="T31" fmla="*/ 476 h 1846"/>
                  <a:gd name="T32" fmla="*/ 797 w 1181"/>
                  <a:gd name="T33" fmla="*/ 498 h 1846"/>
                  <a:gd name="T34" fmla="*/ 801 w 1181"/>
                  <a:gd name="T35" fmla="*/ 522 h 1846"/>
                  <a:gd name="T36" fmla="*/ 805 w 1181"/>
                  <a:gd name="T37" fmla="*/ 578 h 1846"/>
                  <a:gd name="T38" fmla="*/ 804 w 1181"/>
                  <a:gd name="T39" fmla="*/ 610 h 1846"/>
                  <a:gd name="T40" fmla="*/ 801 w 1181"/>
                  <a:gd name="T41" fmla="*/ 639 h 1846"/>
                  <a:gd name="T42" fmla="*/ 796 w 1181"/>
                  <a:gd name="T43" fmla="*/ 665 h 1846"/>
                  <a:gd name="T44" fmla="*/ 789 w 1181"/>
                  <a:gd name="T45" fmla="*/ 689 h 1846"/>
                  <a:gd name="T46" fmla="*/ 780 w 1181"/>
                  <a:gd name="T47" fmla="*/ 710 h 1846"/>
                  <a:gd name="T48" fmla="*/ 769 w 1181"/>
                  <a:gd name="T49" fmla="*/ 730 h 1846"/>
                  <a:gd name="T50" fmla="*/ 754 w 1181"/>
                  <a:gd name="T51" fmla="*/ 746 h 1846"/>
                  <a:gd name="T52" fmla="*/ 739 w 1181"/>
                  <a:gd name="T53" fmla="*/ 761 h 1846"/>
                  <a:gd name="T54" fmla="*/ 1151 w 1181"/>
                  <a:gd name="T55" fmla="*/ 797 h 1846"/>
                  <a:gd name="T56" fmla="*/ 1166 w 1181"/>
                  <a:gd name="T57" fmla="*/ 740 h 1846"/>
                  <a:gd name="T58" fmla="*/ 1176 w 1181"/>
                  <a:gd name="T59" fmla="*/ 680 h 1846"/>
                  <a:gd name="T60" fmla="*/ 1181 w 1181"/>
                  <a:gd name="T61" fmla="*/ 617 h 1846"/>
                  <a:gd name="T62" fmla="*/ 1181 w 1181"/>
                  <a:gd name="T63" fmla="*/ 546 h 1846"/>
                  <a:gd name="T64" fmla="*/ 1175 w 1181"/>
                  <a:gd name="T65" fmla="*/ 476 h 1846"/>
                  <a:gd name="T66" fmla="*/ 1164 w 1181"/>
                  <a:gd name="T67" fmla="*/ 411 h 1846"/>
                  <a:gd name="T68" fmla="*/ 1148 w 1181"/>
                  <a:gd name="T69" fmla="*/ 350 h 1846"/>
                  <a:gd name="T70" fmla="*/ 1127 w 1181"/>
                  <a:gd name="T71" fmla="*/ 295 h 1846"/>
                  <a:gd name="T72" fmla="*/ 1100 w 1181"/>
                  <a:gd name="T73" fmla="*/ 244 h 1846"/>
                  <a:gd name="T74" fmla="*/ 1070 w 1181"/>
                  <a:gd name="T75" fmla="*/ 199 h 1846"/>
                  <a:gd name="T76" fmla="*/ 1035 w 1181"/>
                  <a:gd name="T77" fmla="*/ 159 h 1846"/>
                  <a:gd name="T78" fmla="*/ 995 w 1181"/>
                  <a:gd name="T79" fmla="*/ 123 h 1846"/>
                  <a:gd name="T80" fmla="*/ 952 w 1181"/>
                  <a:gd name="T81" fmla="*/ 92 h 1846"/>
                  <a:gd name="T82" fmla="*/ 905 w 1181"/>
                  <a:gd name="T83" fmla="*/ 65 h 1846"/>
                  <a:gd name="T84" fmla="*/ 854 w 1181"/>
                  <a:gd name="T85" fmla="*/ 44 h 1846"/>
                  <a:gd name="T86" fmla="*/ 799 w 1181"/>
                  <a:gd name="T87" fmla="*/ 26 h 1846"/>
                  <a:gd name="T88" fmla="*/ 741 w 1181"/>
                  <a:gd name="T89" fmla="*/ 13 h 1846"/>
                  <a:gd name="T90" fmla="*/ 681 w 1181"/>
                  <a:gd name="T91" fmla="*/ 5 h 1846"/>
                  <a:gd name="T92" fmla="*/ 619 w 1181"/>
                  <a:gd name="T93" fmla="*/ 1 h 1846"/>
                  <a:gd name="T94" fmla="*/ 0 w 1181"/>
                  <a:gd name="T95" fmla="*/ 0 h 1846"/>
                  <a:gd name="T96" fmla="*/ 385 w 1181"/>
                  <a:gd name="T97" fmla="*/ 1846 h 1846"/>
                  <a:gd name="T98" fmla="*/ 608 w 1181"/>
                  <a:gd name="T99" fmla="*/ 1172 h 1846"/>
                  <a:gd name="T100" fmla="*/ 673 w 1181"/>
                  <a:gd name="T101" fmla="*/ 1169 h 1846"/>
                  <a:gd name="T102" fmla="*/ 734 w 1181"/>
                  <a:gd name="T103" fmla="*/ 1161 h 1846"/>
                  <a:gd name="T104" fmla="*/ 793 w 1181"/>
                  <a:gd name="T105" fmla="*/ 1148 h 1846"/>
                  <a:gd name="T106" fmla="*/ 847 w 1181"/>
                  <a:gd name="T107" fmla="*/ 1129 h 1846"/>
                  <a:gd name="T108" fmla="*/ 898 w 1181"/>
                  <a:gd name="T109" fmla="*/ 1106 h 1846"/>
                  <a:gd name="T110" fmla="*/ 945 w 1181"/>
                  <a:gd name="T111" fmla="*/ 1079 h 1846"/>
                  <a:gd name="T112" fmla="*/ 988 w 1181"/>
                  <a:gd name="T113" fmla="*/ 1047 h 1846"/>
                  <a:gd name="T114" fmla="*/ 1029 w 1181"/>
                  <a:gd name="T115" fmla="*/ 1011 h 1846"/>
                  <a:gd name="T116" fmla="*/ 1063 w 1181"/>
                  <a:gd name="T117" fmla="*/ 971 h 1846"/>
                  <a:gd name="T118" fmla="*/ 1093 w 1181"/>
                  <a:gd name="T119" fmla="*/ 925 h 1846"/>
                  <a:gd name="T120" fmla="*/ 1120 w 1181"/>
                  <a:gd name="T121" fmla="*/ 876 h 1846"/>
                  <a:gd name="T122" fmla="*/ 1142 w 1181"/>
                  <a:gd name="T123" fmla="*/ 824 h 18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81" h="1846">
                    <a:moveTo>
                      <a:pt x="739" y="761"/>
                    </a:moveTo>
                    <a:lnTo>
                      <a:pt x="723" y="773"/>
                    </a:lnTo>
                    <a:lnTo>
                      <a:pt x="706" y="784"/>
                    </a:lnTo>
                    <a:lnTo>
                      <a:pt x="688" y="793"/>
                    </a:lnTo>
                    <a:lnTo>
                      <a:pt x="669" y="801"/>
                    </a:lnTo>
                    <a:lnTo>
                      <a:pt x="650" y="806"/>
                    </a:lnTo>
                    <a:lnTo>
                      <a:pt x="631" y="810"/>
                    </a:lnTo>
                    <a:lnTo>
                      <a:pt x="611" y="813"/>
                    </a:lnTo>
                    <a:lnTo>
                      <a:pt x="590" y="813"/>
                    </a:lnTo>
                    <a:lnTo>
                      <a:pt x="385" y="813"/>
                    </a:lnTo>
                    <a:lnTo>
                      <a:pt x="385" y="355"/>
                    </a:lnTo>
                    <a:lnTo>
                      <a:pt x="587" y="355"/>
                    </a:lnTo>
                    <a:lnTo>
                      <a:pt x="611" y="356"/>
                    </a:lnTo>
                    <a:lnTo>
                      <a:pt x="635" y="358"/>
                    </a:lnTo>
                    <a:lnTo>
                      <a:pt x="657" y="362"/>
                    </a:lnTo>
                    <a:lnTo>
                      <a:pt x="677" y="368"/>
                    </a:lnTo>
                    <a:lnTo>
                      <a:pt x="687" y="372"/>
                    </a:lnTo>
                    <a:lnTo>
                      <a:pt x="696" y="375"/>
                    </a:lnTo>
                    <a:lnTo>
                      <a:pt x="705" y="380"/>
                    </a:lnTo>
                    <a:lnTo>
                      <a:pt x="714" y="384"/>
                    </a:lnTo>
                    <a:lnTo>
                      <a:pt x="723" y="389"/>
                    </a:lnTo>
                    <a:lnTo>
                      <a:pt x="731" y="395"/>
                    </a:lnTo>
                    <a:lnTo>
                      <a:pt x="738" y="401"/>
                    </a:lnTo>
                    <a:lnTo>
                      <a:pt x="746" y="407"/>
                    </a:lnTo>
                    <a:lnTo>
                      <a:pt x="753" y="414"/>
                    </a:lnTo>
                    <a:lnTo>
                      <a:pt x="759" y="421"/>
                    </a:lnTo>
                    <a:lnTo>
                      <a:pt x="767" y="429"/>
                    </a:lnTo>
                    <a:lnTo>
                      <a:pt x="772" y="437"/>
                    </a:lnTo>
                    <a:lnTo>
                      <a:pt x="777" y="446"/>
                    </a:lnTo>
                    <a:lnTo>
                      <a:pt x="782" y="455"/>
                    </a:lnTo>
                    <a:lnTo>
                      <a:pt x="786" y="465"/>
                    </a:lnTo>
                    <a:lnTo>
                      <a:pt x="790" y="476"/>
                    </a:lnTo>
                    <a:lnTo>
                      <a:pt x="794" y="486"/>
                    </a:lnTo>
                    <a:lnTo>
                      <a:pt x="797" y="498"/>
                    </a:lnTo>
                    <a:lnTo>
                      <a:pt x="799" y="510"/>
                    </a:lnTo>
                    <a:lnTo>
                      <a:pt x="801" y="522"/>
                    </a:lnTo>
                    <a:lnTo>
                      <a:pt x="804" y="549"/>
                    </a:lnTo>
                    <a:lnTo>
                      <a:pt x="805" y="578"/>
                    </a:lnTo>
                    <a:lnTo>
                      <a:pt x="805" y="594"/>
                    </a:lnTo>
                    <a:lnTo>
                      <a:pt x="804" y="610"/>
                    </a:lnTo>
                    <a:lnTo>
                      <a:pt x="803" y="625"/>
                    </a:lnTo>
                    <a:lnTo>
                      <a:pt x="801" y="639"/>
                    </a:lnTo>
                    <a:lnTo>
                      <a:pt x="799" y="652"/>
                    </a:lnTo>
                    <a:lnTo>
                      <a:pt x="796" y="665"/>
                    </a:lnTo>
                    <a:lnTo>
                      <a:pt x="793" y="677"/>
                    </a:lnTo>
                    <a:lnTo>
                      <a:pt x="789" y="689"/>
                    </a:lnTo>
                    <a:lnTo>
                      <a:pt x="785" y="700"/>
                    </a:lnTo>
                    <a:lnTo>
                      <a:pt x="780" y="710"/>
                    </a:lnTo>
                    <a:lnTo>
                      <a:pt x="774" y="720"/>
                    </a:lnTo>
                    <a:lnTo>
                      <a:pt x="769" y="730"/>
                    </a:lnTo>
                    <a:lnTo>
                      <a:pt x="761" y="738"/>
                    </a:lnTo>
                    <a:lnTo>
                      <a:pt x="754" y="746"/>
                    </a:lnTo>
                    <a:lnTo>
                      <a:pt x="747" y="754"/>
                    </a:lnTo>
                    <a:lnTo>
                      <a:pt x="739" y="761"/>
                    </a:lnTo>
                    <a:close/>
                    <a:moveTo>
                      <a:pt x="1142" y="824"/>
                    </a:moveTo>
                    <a:lnTo>
                      <a:pt x="1151" y="797"/>
                    </a:lnTo>
                    <a:lnTo>
                      <a:pt x="1159" y="768"/>
                    </a:lnTo>
                    <a:lnTo>
                      <a:pt x="1166" y="740"/>
                    </a:lnTo>
                    <a:lnTo>
                      <a:pt x="1171" y="710"/>
                    </a:lnTo>
                    <a:lnTo>
                      <a:pt x="1176" y="680"/>
                    </a:lnTo>
                    <a:lnTo>
                      <a:pt x="1179" y="649"/>
                    </a:lnTo>
                    <a:lnTo>
                      <a:pt x="1181" y="617"/>
                    </a:lnTo>
                    <a:lnTo>
                      <a:pt x="1181" y="583"/>
                    </a:lnTo>
                    <a:lnTo>
                      <a:pt x="1181" y="546"/>
                    </a:lnTo>
                    <a:lnTo>
                      <a:pt x="1179" y="510"/>
                    </a:lnTo>
                    <a:lnTo>
                      <a:pt x="1175" y="476"/>
                    </a:lnTo>
                    <a:lnTo>
                      <a:pt x="1170" y="442"/>
                    </a:lnTo>
                    <a:lnTo>
                      <a:pt x="1164" y="411"/>
                    </a:lnTo>
                    <a:lnTo>
                      <a:pt x="1157" y="380"/>
                    </a:lnTo>
                    <a:lnTo>
                      <a:pt x="1148" y="350"/>
                    </a:lnTo>
                    <a:lnTo>
                      <a:pt x="1138" y="322"/>
                    </a:lnTo>
                    <a:lnTo>
                      <a:pt x="1127" y="295"/>
                    </a:lnTo>
                    <a:lnTo>
                      <a:pt x="1114" y="269"/>
                    </a:lnTo>
                    <a:lnTo>
                      <a:pt x="1100" y="244"/>
                    </a:lnTo>
                    <a:lnTo>
                      <a:pt x="1086" y="221"/>
                    </a:lnTo>
                    <a:lnTo>
                      <a:pt x="1070" y="199"/>
                    </a:lnTo>
                    <a:lnTo>
                      <a:pt x="1053" y="178"/>
                    </a:lnTo>
                    <a:lnTo>
                      <a:pt x="1035" y="159"/>
                    </a:lnTo>
                    <a:lnTo>
                      <a:pt x="1016" y="140"/>
                    </a:lnTo>
                    <a:lnTo>
                      <a:pt x="995" y="123"/>
                    </a:lnTo>
                    <a:lnTo>
                      <a:pt x="974" y="107"/>
                    </a:lnTo>
                    <a:lnTo>
                      <a:pt x="952" y="92"/>
                    </a:lnTo>
                    <a:lnTo>
                      <a:pt x="929" y="78"/>
                    </a:lnTo>
                    <a:lnTo>
                      <a:pt x="905" y="65"/>
                    </a:lnTo>
                    <a:lnTo>
                      <a:pt x="880" y="54"/>
                    </a:lnTo>
                    <a:lnTo>
                      <a:pt x="854" y="44"/>
                    </a:lnTo>
                    <a:lnTo>
                      <a:pt x="827" y="34"/>
                    </a:lnTo>
                    <a:lnTo>
                      <a:pt x="799" y="26"/>
                    </a:lnTo>
                    <a:lnTo>
                      <a:pt x="771" y="19"/>
                    </a:lnTo>
                    <a:lnTo>
                      <a:pt x="741" y="13"/>
                    </a:lnTo>
                    <a:lnTo>
                      <a:pt x="711" y="8"/>
                    </a:lnTo>
                    <a:lnTo>
                      <a:pt x="681" y="5"/>
                    </a:lnTo>
                    <a:lnTo>
                      <a:pt x="650" y="2"/>
                    </a:lnTo>
                    <a:lnTo>
                      <a:pt x="619" y="1"/>
                    </a:lnTo>
                    <a:lnTo>
                      <a:pt x="587" y="0"/>
                    </a:lnTo>
                    <a:lnTo>
                      <a:pt x="0" y="0"/>
                    </a:lnTo>
                    <a:lnTo>
                      <a:pt x="0" y="1846"/>
                    </a:lnTo>
                    <a:lnTo>
                      <a:pt x="385" y="1846"/>
                    </a:lnTo>
                    <a:lnTo>
                      <a:pt x="385" y="1172"/>
                    </a:lnTo>
                    <a:lnTo>
                      <a:pt x="608" y="1172"/>
                    </a:lnTo>
                    <a:lnTo>
                      <a:pt x="641" y="1171"/>
                    </a:lnTo>
                    <a:lnTo>
                      <a:pt x="673" y="1169"/>
                    </a:lnTo>
                    <a:lnTo>
                      <a:pt x="704" y="1166"/>
                    </a:lnTo>
                    <a:lnTo>
                      <a:pt x="734" y="1161"/>
                    </a:lnTo>
                    <a:lnTo>
                      <a:pt x="763" y="1155"/>
                    </a:lnTo>
                    <a:lnTo>
                      <a:pt x="793" y="1148"/>
                    </a:lnTo>
                    <a:lnTo>
                      <a:pt x="820" y="1139"/>
                    </a:lnTo>
                    <a:lnTo>
                      <a:pt x="847" y="1129"/>
                    </a:lnTo>
                    <a:lnTo>
                      <a:pt x="873" y="1118"/>
                    </a:lnTo>
                    <a:lnTo>
                      <a:pt x="898" y="1106"/>
                    </a:lnTo>
                    <a:lnTo>
                      <a:pt x="922" y="1093"/>
                    </a:lnTo>
                    <a:lnTo>
                      <a:pt x="945" y="1079"/>
                    </a:lnTo>
                    <a:lnTo>
                      <a:pt x="967" y="1063"/>
                    </a:lnTo>
                    <a:lnTo>
                      <a:pt x="988" y="1047"/>
                    </a:lnTo>
                    <a:lnTo>
                      <a:pt x="1009" y="1030"/>
                    </a:lnTo>
                    <a:lnTo>
                      <a:pt x="1029" y="1011"/>
                    </a:lnTo>
                    <a:lnTo>
                      <a:pt x="1046" y="991"/>
                    </a:lnTo>
                    <a:lnTo>
                      <a:pt x="1063" y="971"/>
                    </a:lnTo>
                    <a:lnTo>
                      <a:pt x="1079" y="949"/>
                    </a:lnTo>
                    <a:lnTo>
                      <a:pt x="1093" y="925"/>
                    </a:lnTo>
                    <a:lnTo>
                      <a:pt x="1107" y="901"/>
                    </a:lnTo>
                    <a:lnTo>
                      <a:pt x="1120" y="876"/>
                    </a:lnTo>
                    <a:lnTo>
                      <a:pt x="1131" y="851"/>
                    </a:lnTo>
                    <a:lnTo>
                      <a:pt x="1142" y="8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55" name="Freeform 6"/>
              <p:cNvSpPr>
                <a:spLocks noEditPoints="1"/>
              </p:cNvSpPr>
              <p:nvPr/>
            </p:nvSpPr>
            <p:spPr bwMode="auto">
              <a:xfrm>
                <a:off x="765951" y="259248"/>
                <a:ext cx="122502" cy="194272"/>
              </a:xfrm>
              <a:custGeom>
                <a:avLst/>
                <a:gdLst>
                  <a:gd name="T0" fmla="*/ 386 w 1185"/>
                  <a:gd name="T1" fmla="*/ 542 h 1875"/>
                  <a:gd name="T2" fmla="*/ 410 w 1185"/>
                  <a:gd name="T3" fmla="*/ 473 h 1875"/>
                  <a:gd name="T4" fmla="*/ 446 w 1185"/>
                  <a:gd name="T5" fmla="*/ 427 h 1875"/>
                  <a:gd name="T6" fmla="*/ 478 w 1185"/>
                  <a:gd name="T7" fmla="*/ 402 h 1875"/>
                  <a:gd name="T8" fmla="*/ 519 w 1185"/>
                  <a:gd name="T9" fmla="*/ 382 h 1875"/>
                  <a:gd name="T10" fmla="*/ 568 w 1185"/>
                  <a:gd name="T11" fmla="*/ 372 h 1875"/>
                  <a:gd name="T12" fmla="*/ 624 w 1185"/>
                  <a:gd name="T13" fmla="*/ 372 h 1875"/>
                  <a:gd name="T14" fmla="*/ 672 w 1185"/>
                  <a:gd name="T15" fmla="*/ 384 h 1875"/>
                  <a:gd name="T16" fmla="*/ 728 w 1185"/>
                  <a:gd name="T17" fmla="*/ 418 h 1875"/>
                  <a:gd name="T18" fmla="*/ 756 w 1185"/>
                  <a:gd name="T19" fmla="*/ 447 h 1875"/>
                  <a:gd name="T20" fmla="*/ 789 w 1185"/>
                  <a:gd name="T21" fmla="*/ 514 h 1875"/>
                  <a:gd name="T22" fmla="*/ 797 w 1185"/>
                  <a:gd name="T23" fmla="*/ 575 h 1875"/>
                  <a:gd name="T24" fmla="*/ 792 w 1185"/>
                  <a:gd name="T25" fmla="*/ 1359 h 1875"/>
                  <a:gd name="T26" fmla="*/ 779 w 1185"/>
                  <a:gd name="T27" fmla="*/ 1396 h 1875"/>
                  <a:gd name="T28" fmla="*/ 759 w 1185"/>
                  <a:gd name="T29" fmla="*/ 1429 h 1875"/>
                  <a:gd name="T30" fmla="*/ 723 w 1185"/>
                  <a:gd name="T31" fmla="*/ 1463 h 1875"/>
                  <a:gd name="T32" fmla="*/ 654 w 1185"/>
                  <a:gd name="T33" fmla="*/ 1496 h 1875"/>
                  <a:gd name="T34" fmla="*/ 582 w 1185"/>
                  <a:gd name="T35" fmla="*/ 1503 h 1875"/>
                  <a:gd name="T36" fmla="*/ 531 w 1185"/>
                  <a:gd name="T37" fmla="*/ 1497 h 1875"/>
                  <a:gd name="T38" fmla="*/ 489 w 1185"/>
                  <a:gd name="T39" fmla="*/ 1482 h 1875"/>
                  <a:gd name="T40" fmla="*/ 453 w 1185"/>
                  <a:gd name="T41" fmla="*/ 1458 h 1875"/>
                  <a:gd name="T42" fmla="*/ 421 w 1185"/>
                  <a:gd name="T43" fmla="*/ 1417 h 1875"/>
                  <a:gd name="T44" fmla="*/ 390 w 1185"/>
                  <a:gd name="T45" fmla="*/ 1334 h 1875"/>
                  <a:gd name="T46" fmla="*/ 834 w 1185"/>
                  <a:gd name="T47" fmla="*/ 1834 h 1875"/>
                  <a:gd name="T48" fmla="*/ 934 w 1185"/>
                  <a:gd name="T49" fmla="*/ 1784 h 1875"/>
                  <a:gd name="T50" fmla="*/ 1019 w 1185"/>
                  <a:gd name="T51" fmla="*/ 1715 h 1875"/>
                  <a:gd name="T52" fmla="*/ 1089 w 1185"/>
                  <a:gd name="T53" fmla="*/ 1629 h 1875"/>
                  <a:gd name="T54" fmla="*/ 1141 w 1185"/>
                  <a:gd name="T55" fmla="*/ 1525 h 1875"/>
                  <a:gd name="T56" fmla="*/ 1174 w 1185"/>
                  <a:gd name="T57" fmla="*/ 1409 h 1875"/>
                  <a:gd name="T58" fmla="*/ 1185 w 1185"/>
                  <a:gd name="T59" fmla="*/ 1278 h 1875"/>
                  <a:gd name="T60" fmla="*/ 1180 w 1185"/>
                  <a:gd name="T61" fmla="*/ 510 h 1875"/>
                  <a:gd name="T62" fmla="*/ 1158 w 1185"/>
                  <a:gd name="T63" fmla="*/ 403 h 1875"/>
                  <a:gd name="T64" fmla="*/ 1118 w 1185"/>
                  <a:gd name="T65" fmla="*/ 300 h 1875"/>
                  <a:gd name="T66" fmla="*/ 1060 w 1185"/>
                  <a:gd name="T67" fmla="*/ 207 h 1875"/>
                  <a:gd name="T68" fmla="*/ 983 w 1185"/>
                  <a:gd name="T69" fmla="*/ 128 h 1875"/>
                  <a:gd name="T70" fmla="*/ 886 w 1185"/>
                  <a:gd name="T71" fmla="*/ 65 h 1875"/>
                  <a:gd name="T72" fmla="*/ 770 w 1185"/>
                  <a:gd name="T73" fmla="*/ 20 h 1875"/>
                  <a:gd name="T74" fmla="*/ 633 w 1185"/>
                  <a:gd name="T75" fmla="*/ 1 h 1875"/>
                  <a:gd name="T76" fmla="*/ 481 w 1185"/>
                  <a:gd name="T77" fmla="*/ 7 h 1875"/>
                  <a:gd name="T78" fmla="*/ 396 w 1185"/>
                  <a:gd name="T79" fmla="*/ 25 h 1875"/>
                  <a:gd name="T80" fmla="*/ 335 w 1185"/>
                  <a:gd name="T81" fmla="*/ 47 h 1875"/>
                  <a:gd name="T82" fmla="*/ 242 w 1185"/>
                  <a:gd name="T83" fmla="*/ 99 h 1875"/>
                  <a:gd name="T84" fmla="*/ 155 w 1185"/>
                  <a:gd name="T85" fmla="*/ 172 h 1875"/>
                  <a:gd name="T86" fmla="*/ 88 w 1185"/>
                  <a:gd name="T87" fmla="*/ 259 h 1875"/>
                  <a:gd name="T88" fmla="*/ 41 w 1185"/>
                  <a:gd name="T89" fmla="*/ 357 h 1875"/>
                  <a:gd name="T90" fmla="*/ 14 w 1185"/>
                  <a:gd name="T91" fmla="*/ 461 h 1875"/>
                  <a:gd name="T92" fmla="*/ 0 w 1185"/>
                  <a:gd name="T93" fmla="*/ 565 h 1875"/>
                  <a:gd name="T94" fmla="*/ 2 w 1185"/>
                  <a:gd name="T95" fmla="*/ 1311 h 1875"/>
                  <a:gd name="T96" fmla="*/ 20 w 1185"/>
                  <a:gd name="T97" fmla="*/ 1430 h 1875"/>
                  <a:gd name="T98" fmla="*/ 54 w 1185"/>
                  <a:gd name="T99" fmla="*/ 1543 h 1875"/>
                  <a:gd name="T100" fmla="*/ 106 w 1185"/>
                  <a:gd name="T101" fmla="*/ 1643 h 1875"/>
                  <a:gd name="T102" fmla="*/ 177 w 1185"/>
                  <a:gd name="T103" fmla="*/ 1729 h 1875"/>
                  <a:gd name="T104" fmla="*/ 270 w 1185"/>
                  <a:gd name="T105" fmla="*/ 1797 h 1875"/>
                  <a:gd name="T106" fmla="*/ 353 w 1185"/>
                  <a:gd name="T107" fmla="*/ 1836 h 1875"/>
                  <a:gd name="T108" fmla="*/ 448 w 1185"/>
                  <a:gd name="T109" fmla="*/ 1862 h 1875"/>
                  <a:gd name="T110" fmla="*/ 596 w 1185"/>
                  <a:gd name="T111" fmla="*/ 1875 h 1875"/>
                  <a:gd name="T112" fmla="*/ 721 w 1185"/>
                  <a:gd name="T113" fmla="*/ 1864 h 1875"/>
                  <a:gd name="T114" fmla="*/ 834 w 1185"/>
                  <a:gd name="T115" fmla="*/ 1834 h 1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85" h="1875">
                    <a:moveTo>
                      <a:pt x="383" y="1259"/>
                    </a:moveTo>
                    <a:lnTo>
                      <a:pt x="383" y="575"/>
                    </a:lnTo>
                    <a:lnTo>
                      <a:pt x="384" y="559"/>
                    </a:lnTo>
                    <a:lnTo>
                      <a:pt x="386" y="542"/>
                    </a:lnTo>
                    <a:lnTo>
                      <a:pt x="390" y="525"/>
                    </a:lnTo>
                    <a:lnTo>
                      <a:pt x="395" y="507"/>
                    </a:lnTo>
                    <a:lnTo>
                      <a:pt x="402" y="490"/>
                    </a:lnTo>
                    <a:lnTo>
                      <a:pt x="410" y="473"/>
                    </a:lnTo>
                    <a:lnTo>
                      <a:pt x="420" y="456"/>
                    </a:lnTo>
                    <a:lnTo>
                      <a:pt x="432" y="441"/>
                    </a:lnTo>
                    <a:lnTo>
                      <a:pt x="439" y="434"/>
                    </a:lnTo>
                    <a:lnTo>
                      <a:pt x="446" y="427"/>
                    </a:lnTo>
                    <a:lnTo>
                      <a:pt x="453" y="420"/>
                    </a:lnTo>
                    <a:lnTo>
                      <a:pt x="461" y="414"/>
                    </a:lnTo>
                    <a:lnTo>
                      <a:pt x="469" y="407"/>
                    </a:lnTo>
                    <a:lnTo>
                      <a:pt x="478" y="402"/>
                    </a:lnTo>
                    <a:lnTo>
                      <a:pt x="488" y="396"/>
                    </a:lnTo>
                    <a:lnTo>
                      <a:pt x="498" y="391"/>
                    </a:lnTo>
                    <a:lnTo>
                      <a:pt x="508" y="386"/>
                    </a:lnTo>
                    <a:lnTo>
                      <a:pt x="519" y="382"/>
                    </a:lnTo>
                    <a:lnTo>
                      <a:pt x="531" y="379"/>
                    </a:lnTo>
                    <a:lnTo>
                      <a:pt x="543" y="376"/>
                    </a:lnTo>
                    <a:lnTo>
                      <a:pt x="555" y="374"/>
                    </a:lnTo>
                    <a:lnTo>
                      <a:pt x="568" y="372"/>
                    </a:lnTo>
                    <a:lnTo>
                      <a:pt x="582" y="371"/>
                    </a:lnTo>
                    <a:lnTo>
                      <a:pt x="596" y="371"/>
                    </a:lnTo>
                    <a:lnTo>
                      <a:pt x="610" y="371"/>
                    </a:lnTo>
                    <a:lnTo>
                      <a:pt x="624" y="372"/>
                    </a:lnTo>
                    <a:lnTo>
                      <a:pt x="637" y="374"/>
                    </a:lnTo>
                    <a:lnTo>
                      <a:pt x="649" y="377"/>
                    </a:lnTo>
                    <a:lnTo>
                      <a:pt x="661" y="380"/>
                    </a:lnTo>
                    <a:lnTo>
                      <a:pt x="672" y="384"/>
                    </a:lnTo>
                    <a:lnTo>
                      <a:pt x="682" y="388"/>
                    </a:lnTo>
                    <a:lnTo>
                      <a:pt x="692" y="393"/>
                    </a:lnTo>
                    <a:lnTo>
                      <a:pt x="711" y="405"/>
                    </a:lnTo>
                    <a:lnTo>
                      <a:pt x="728" y="418"/>
                    </a:lnTo>
                    <a:lnTo>
                      <a:pt x="736" y="425"/>
                    </a:lnTo>
                    <a:lnTo>
                      <a:pt x="743" y="432"/>
                    </a:lnTo>
                    <a:lnTo>
                      <a:pt x="750" y="440"/>
                    </a:lnTo>
                    <a:lnTo>
                      <a:pt x="756" y="447"/>
                    </a:lnTo>
                    <a:lnTo>
                      <a:pt x="766" y="464"/>
                    </a:lnTo>
                    <a:lnTo>
                      <a:pt x="776" y="480"/>
                    </a:lnTo>
                    <a:lnTo>
                      <a:pt x="783" y="497"/>
                    </a:lnTo>
                    <a:lnTo>
                      <a:pt x="789" y="514"/>
                    </a:lnTo>
                    <a:lnTo>
                      <a:pt x="793" y="531"/>
                    </a:lnTo>
                    <a:lnTo>
                      <a:pt x="795" y="546"/>
                    </a:lnTo>
                    <a:lnTo>
                      <a:pt x="797" y="561"/>
                    </a:lnTo>
                    <a:lnTo>
                      <a:pt x="797" y="575"/>
                    </a:lnTo>
                    <a:lnTo>
                      <a:pt x="797" y="1305"/>
                    </a:lnTo>
                    <a:lnTo>
                      <a:pt x="797" y="1327"/>
                    </a:lnTo>
                    <a:lnTo>
                      <a:pt x="794" y="1349"/>
                    </a:lnTo>
                    <a:lnTo>
                      <a:pt x="792" y="1359"/>
                    </a:lnTo>
                    <a:lnTo>
                      <a:pt x="789" y="1369"/>
                    </a:lnTo>
                    <a:lnTo>
                      <a:pt x="786" y="1378"/>
                    </a:lnTo>
                    <a:lnTo>
                      <a:pt x="783" y="1388"/>
                    </a:lnTo>
                    <a:lnTo>
                      <a:pt x="779" y="1396"/>
                    </a:lnTo>
                    <a:lnTo>
                      <a:pt x="775" y="1405"/>
                    </a:lnTo>
                    <a:lnTo>
                      <a:pt x="770" y="1413"/>
                    </a:lnTo>
                    <a:lnTo>
                      <a:pt x="764" y="1421"/>
                    </a:lnTo>
                    <a:lnTo>
                      <a:pt x="759" y="1429"/>
                    </a:lnTo>
                    <a:lnTo>
                      <a:pt x="752" y="1436"/>
                    </a:lnTo>
                    <a:lnTo>
                      <a:pt x="745" y="1443"/>
                    </a:lnTo>
                    <a:lnTo>
                      <a:pt x="738" y="1450"/>
                    </a:lnTo>
                    <a:lnTo>
                      <a:pt x="723" y="1463"/>
                    </a:lnTo>
                    <a:lnTo>
                      <a:pt x="706" y="1473"/>
                    </a:lnTo>
                    <a:lnTo>
                      <a:pt x="689" y="1483"/>
                    </a:lnTo>
                    <a:lnTo>
                      <a:pt x="672" y="1490"/>
                    </a:lnTo>
                    <a:lnTo>
                      <a:pt x="654" y="1496"/>
                    </a:lnTo>
                    <a:lnTo>
                      <a:pt x="635" y="1500"/>
                    </a:lnTo>
                    <a:lnTo>
                      <a:pt x="616" y="1502"/>
                    </a:lnTo>
                    <a:lnTo>
                      <a:pt x="596" y="1503"/>
                    </a:lnTo>
                    <a:lnTo>
                      <a:pt x="582" y="1503"/>
                    </a:lnTo>
                    <a:lnTo>
                      <a:pt x="569" y="1502"/>
                    </a:lnTo>
                    <a:lnTo>
                      <a:pt x="556" y="1501"/>
                    </a:lnTo>
                    <a:lnTo>
                      <a:pt x="543" y="1499"/>
                    </a:lnTo>
                    <a:lnTo>
                      <a:pt x="531" y="1497"/>
                    </a:lnTo>
                    <a:lnTo>
                      <a:pt x="520" y="1494"/>
                    </a:lnTo>
                    <a:lnTo>
                      <a:pt x="509" y="1490"/>
                    </a:lnTo>
                    <a:lnTo>
                      <a:pt x="498" y="1486"/>
                    </a:lnTo>
                    <a:lnTo>
                      <a:pt x="489" y="1482"/>
                    </a:lnTo>
                    <a:lnTo>
                      <a:pt x="478" y="1477"/>
                    </a:lnTo>
                    <a:lnTo>
                      <a:pt x="469" y="1471"/>
                    </a:lnTo>
                    <a:lnTo>
                      <a:pt x="461" y="1465"/>
                    </a:lnTo>
                    <a:lnTo>
                      <a:pt x="453" y="1458"/>
                    </a:lnTo>
                    <a:lnTo>
                      <a:pt x="446" y="1451"/>
                    </a:lnTo>
                    <a:lnTo>
                      <a:pt x="439" y="1443"/>
                    </a:lnTo>
                    <a:lnTo>
                      <a:pt x="432" y="1435"/>
                    </a:lnTo>
                    <a:lnTo>
                      <a:pt x="421" y="1417"/>
                    </a:lnTo>
                    <a:lnTo>
                      <a:pt x="411" y="1398"/>
                    </a:lnTo>
                    <a:lnTo>
                      <a:pt x="402" y="1378"/>
                    </a:lnTo>
                    <a:lnTo>
                      <a:pt x="395" y="1357"/>
                    </a:lnTo>
                    <a:lnTo>
                      <a:pt x="390" y="1334"/>
                    </a:lnTo>
                    <a:lnTo>
                      <a:pt x="386" y="1311"/>
                    </a:lnTo>
                    <a:lnTo>
                      <a:pt x="384" y="1285"/>
                    </a:lnTo>
                    <a:lnTo>
                      <a:pt x="383" y="1259"/>
                    </a:lnTo>
                    <a:close/>
                    <a:moveTo>
                      <a:pt x="834" y="1834"/>
                    </a:moveTo>
                    <a:lnTo>
                      <a:pt x="860" y="1823"/>
                    </a:lnTo>
                    <a:lnTo>
                      <a:pt x="886" y="1811"/>
                    </a:lnTo>
                    <a:lnTo>
                      <a:pt x="910" y="1798"/>
                    </a:lnTo>
                    <a:lnTo>
                      <a:pt x="934" y="1784"/>
                    </a:lnTo>
                    <a:lnTo>
                      <a:pt x="957" y="1768"/>
                    </a:lnTo>
                    <a:lnTo>
                      <a:pt x="979" y="1752"/>
                    </a:lnTo>
                    <a:lnTo>
                      <a:pt x="1000" y="1734"/>
                    </a:lnTo>
                    <a:lnTo>
                      <a:pt x="1019" y="1715"/>
                    </a:lnTo>
                    <a:lnTo>
                      <a:pt x="1039" y="1695"/>
                    </a:lnTo>
                    <a:lnTo>
                      <a:pt x="1057" y="1674"/>
                    </a:lnTo>
                    <a:lnTo>
                      <a:pt x="1073" y="1652"/>
                    </a:lnTo>
                    <a:lnTo>
                      <a:pt x="1089" y="1629"/>
                    </a:lnTo>
                    <a:lnTo>
                      <a:pt x="1104" y="1604"/>
                    </a:lnTo>
                    <a:lnTo>
                      <a:pt x="1117" y="1579"/>
                    </a:lnTo>
                    <a:lnTo>
                      <a:pt x="1130" y="1553"/>
                    </a:lnTo>
                    <a:lnTo>
                      <a:pt x="1141" y="1525"/>
                    </a:lnTo>
                    <a:lnTo>
                      <a:pt x="1151" y="1498"/>
                    </a:lnTo>
                    <a:lnTo>
                      <a:pt x="1160" y="1469"/>
                    </a:lnTo>
                    <a:lnTo>
                      <a:pt x="1168" y="1439"/>
                    </a:lnTo>
                    <a:lnTo>
                      <a:pt x="1174" y="1409"/>
                    </a:lnTo>
                    <a:lnTo>
                      <a:pt x="1179" y="1378"/>
                    </a:lnTo>
                    <a:lnTo>
                      <a:pt x="1182" y="1346"/>
                    </a:lnTo>
                    <a:lnTo>
                      <a:pt x="1184" y="1313"/>
                    </a:lnTo>
                    <a:lnTo>
                      <a:pt x="1185" y="1278"/>
                    </a:lnTo>
                    <a:lnTo>
                      <a:pt x="1185" y="591"/>
                    </a:lnTo>
                    <a:lnTo>
                      <a:pt x="1185" y="564"/>
                    </a:lnTo>
                    <a:lnTo>
                      <a:pt x="1183" y="536"/>
                    </a:lnTo>
                    <a:lnTo>
                      <a:pt x="1180" y="510"/>
                    </a:lnTo>
                    <a:lnTo>
                      <a:pt x="1176" y="483"/>
                    </a:lnTo>
                    <a:lnTo>
                      <a:pt x="1171" y="456"/>
                    </a:lnTo>
                    <a:lnTo>
                      <a:pt x="1165" y="429"/>
                    </a:lnTo>
                    <a:lnTo>
                      <a:pt x="1158" y="403"/>
                    </a:lnTo>
                    <a:lnTo>
                      <a:pt x="1149" y="376"/>
                    </a:lnTo>
                    <a:lnTo>
                      <a:pt x="1140" y="350"/>
                    </a:lnTo>
                    <a:lnTo>
                      <a:pt x="1129" y="325"/>
                    </a:lnTo>
                    <a:lnTo>
                      <a:pt x="1118" y="300"/>
                    </a:lnTo>
                    <a:lnTo>
                      <a:pt x="1105" y="275"/>
                    </a:lnTo>
                    <a:lnTo>
                      <a:pt x="1091" y="252"/>
                    </a:lnTo>
                    <a:lnTo>
                      <a:pt x="1076" y="229"/>
                    </a:lnTo>
                    <a:lnTo>
                      <a:pt x="1060" y="207"/>
                    </a:lnTo>
                    <a:lnTo>
                      <a:pt x="1042" y="186"/>
                    </a:lnTo>
                    <a:lnTo>
                      <a:pt x="1024" y="166"/>
                    </a:lnTo>
                    <a:lnTo>
                      <a:pt x="1004" y="147"/>
                    </a:lnTo>
                    <a:lnTo>
                      <a:pt x="983" y="128"/>
                    </a:lnTo>
                    <a:lnTo>
                      <a:pt x="961" y="111"/>
                    </a:lnTo>
                    <a:lnTo>
                      <a:pt x="937" y="95"/>
                    </a:lnTo>
                    <a:lnTo>
                      <a:pt x="912" y="79"/>
                    </a:lnTo>
                    <a:lnTo>
                      <a:pt x="886" y="65"/>
                    </a:lnTo>
                    <a:lnTo>
                      <a:pt x="859" y="52"/>
                    </a:lnTo>
                    <a:lnTo>
                      <a:pt x="830" y="39"/>
                    </a:lnTo>
                    <a:lnTo>
                      <a:pt x="801" y="29"/>
                    </a:lnTo>
                    <a:lnTo>
                      <a:pt x="770" y="20"/>
                    </a:lnTo>
                    <a:lnTo>
                      <a:pt x="738" y="13"/>
                    </a:lnTo>
                    <a:lnTo>
                      <a:pt x="703" y="7"/>
                    </a:lnTo>
                    <a:lnTo>
                      <a:pt x="669" y="3"/>
                    </a:lnTo>
                    <a:lnTo>
                      <a:pt x="633" y="1"/>
                    </a:lnTo>
                    <a:lnTo>
                      <a:pt x="596" y="0"/>
                    </a:lnTo>
                    <a:lnTo>
                      <a:pt x="556" y="1"/>
                    </a:lnTo>
                    <a:lnTo>
                      <a:pt x="518" y="3"/>
                    </a:lnTo>
                    <a:lnTo>
                      <a:pt x="481" y="7"/>
                    </a:lnTo>
                    <a:lnTo>
                      <a:pt x="446" y="13"/>
                    </a:lnTo>
                    <a:lnTo>
                      <a:pt x="429" y="17"/>
                    </a:lnTo>
                    <a:lnTo>
                      <a:pt x="412" y="21"/>
                    </a:lnTo>
                    <a:lnTo>
                      <a:pt x="396" y="25"/>
                    </a:lnTo>
                    <a:lnTo>
                      <a:pt x="380" y="30"/>
                    </a:lnTo>
                    <a:lnTo>
                      <a:pt x="365" y="35"/>
                    </a:lnTo>
                    <a:lnTo>
                      <a:pt x="350" y="41"/>
                    </a:lnTo>
                    <a:lnTo>
                      <a:pt x="335" y="47"/>
                    </a:lnTo>
                    <a:lnTo>
                      <a:pt x="321" y="54"/>
                    </a:lnTo>
                    <a:lnTo>
                      <a:pt x="294" y="68"/>
                    </a:lnTo>
                    <a:lnTo>
                      <a:pt x="268" y="83"/>
                    </a:lnTo>
                    <a:lnTo>
                      <a:pt x="242" y="99"/>
                    </a:lnTo>
                    <a:lnTo>
                      <a:pt x="218" y="116"/>
                    </a:lnTo>
                    <a:lnTo>
                      <a:pt x="196" y="134"/>
                    </a:lnTo>
                    <a:lnTo>
                      <a:pt x="175" y="152"/>
                    </a:lnTo>
                    <a:lnTo>
                      <a:pt x="155" y="172"/>
                    </a:lnTo>
                    <a:lnTo>
                      <a:pt x="137" y="193"/>
                    </a:lnTo>
                    <a:lnTo>
                      <a:pt x="120" y="214"/>
                    </a:lnTo>
                    <a:lnTo>
                      <a:pt x="103" y="236"/>
                    </a:lnTo>
                    <a:lnTo>
                      <a:pt x="88" y="259"/>
                    </a:lnTo>
                    <a:lnTo>
                      <a:pt x="75" y="282"/>
                    </a:lnTo>
                    <a:lnTo>
                      <a:pt x="62" y="307"/>
                    </a:lnTo>
                    <a:lnTo>
                      <a:pt x="51" y="332"/>
                    </a:lnTo>
                    <a:lnTo>
                      <a:pt x="41" y="357"/>
                    </a:lnTo>
                    <a:lnTo>
                      <a:pt x="33" y="383"/>
                    </a:lnTo>
                    <a:lnTo>
                      <a:pt x="26" y="409"/>
                    </a:lnTo>
                    <a:lnTo>
                      <a:pt x="19" y="435"/>
                    </a:lnTo>
                    <a:lnTo>
                      <a:pt x="14" y="461"/>
                    </a:lnTo>
                    <a:lnTo>
                      <a:pt x="8" y="487"/>
                    </a:lnTo>
                    <a:lnTo>
                      <a:pt x="4" y="513"/>
                    </a:lnTo>
                    <a:lnTo>
                      <a:pt x="2" y="539"/>
                    </a:lnTo>
                    <a:lnTo>
                      <a:pt x="0" y="565"/>
                    </a:lnTo>
                    <a:lnTo>
                      <a:pt x="0" y="591"/>
                    </a:lnTo>
                    <a:lnTo>
                      <a:pt x="0" y="1248"/>
                    </a:lnTo>
                    <a:lnTo>
                      <a:pt x="0" y="1279"/>
                    </a:lnTo>
                    <a:lnTo>
                      <a:pt x="2" y="1311"/>
                    </a:lnTo>
                    <a:lnTo>
                      <a:pt x="4" y="1341"/>
                    </a:lnTo>
                    <a:lnTo>
                      <a:pt x="8" y="1371"/>
                    </a:lnTo>
                    <a:lnTo>
                      <a:pt x="14" y="1401"/>
                    </a:lnTo>
                    <a:lnTo>
                      <a:pt x="20" y="1430"/>
                    </a:lnTo>
                    <a:lnTo>
                      <a:pt x="27" y="1459"/>
                    </a:lnTo>
                    <a:lnTo>
                      <a:pt x="34" y="1487"/>
                    </a:lnTo>
                    <a:lnTo>
                      <a:pt x="43" y="1515"/>
                    </a:lnTo>
                    <a:lnTo>
                      <a:pt x="54" y="1543"/>
                    </a:lnTo>
                    <a:lnTo>
                      <a:pt x="65" y="1569"/>
                    </a:lnTo>
                    <a:lnTo>
                      <a:pt x="77" y="1594"/>
                    </a:lnTo>
                    <a:lnTo>
                      <a:pt x="91" y="1619"/>
                    </a:lnTo>
                    <a:lnTo>
                      <a:pt x="106" y="1643"/>
                    </a:lnTo>
                    <a:lnTo>
                      <a:pt x="122" y="1666"/>
                    </a:lnTo>
                    <a:lnTo>
                      <a:pt x="139" y="1688"/>
                    </a:lnTo>
                    <a:lnTo>
                      <a:pt x="157" y="1709"/>
                    </a:lnTo>
                    <a:lnTo>
                      <a:pt x="177" y="1729"/>
                    </a:lnTo>
                    <a:lnTo>
                      <a:pt x="198" y="1747"/>
                    </a:lnTo>
                    <a:lnTo>
                      <a:pt x="221" y="1765"/>
                    </a:lnTo>
                    <a:lnTo>
                      <a:pt x="244" y="1782"/>
                    </a:lnTo>
                    <a:lnTo>
                      <a:pt x="270" y="1797"/>
                    </a:lnTo>
                    <a:lnTo>
                      <a:pt x="296" y="1811"/>
                    </a:lnTo>
                    <a:lnTo>
                      <a:pt x="324" y="1824"/>
                    </a:lnTo>
                    <a:lnTo>
                      <a:pt x="338" y="1830"/>
                    </a:lnTo>
                    <a:lnTo>
                      <a:pt x="353" y="1836"/>
                    </a:lnTo>
                    <a:lnTo>
                      <a:pt x="368" y="1841"/>
                    </a:lnTo>
                    <a:lnTo>
                      <a:pt x="383" y="1846"/>
                    </a:lnTo>
                    <a:lnTo>
                      <a:pt x="415" y="1855"/>
                    </a:lnTo>
                    <a:lnTo>
                      <a:pt x="448" y="1862"/>
                    </a:lnTo>
                    <a:lnTo>
                      <a:pt x="484" y="1868"/>
                    </a:lnTo>
                    <a:lnTo>
                      <a:pt x="520" y="1871"/>
                    </a:lnTo>
                    <a:lnTo>
                      <a:pt x="557" y="1874"/>
                    </a:lnTo>
                    <a:lnTo>
                      <a:pt x="596" y="1875"/>
                    </a:lnTo>
                    <a:lnTo>
                      <a:pt x="628" y="1874"/>
                    </a:lnTo>
                    <a:lnTo>
                      <a:pt x="659" y="1872"/>
                    </a:lnTo>
                    <a:lnTo>
                      <a:pt x="690" y="1869"/>
                    </a:lnTo>
                    <a:lnTo>
                      <a:pt x="721" y="1864"/>
                    </a:lnTo>
                    <a:lnTo>
                      <a:pt x="750" y="1859"/>
                    </a:lnTo>
                    <a:lnTo>
                      <a:pt x="779" y="1852"/>
                    </a:lnTo>
                    <a:lnTo>
                      <a:pt x="806" y="1843"/>
                    </a:lnTo>
                    <a:lnTo>
                      <a:pt x="834" y="18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56" name="Freeform 7"/>
              <p:cNvSpPr>
                <a:spLocks/>
              </p:cNvSpPr>
              <p:nvPr/>
            </p:nvSpPr>
            <p:spPr bwMode="auto">
              <a:xfrm>
                <a:off x="926813" y="259248"/>
                <a:ext cx="121265" cy="194272"/>
              </a:xfrm>
              <a:custGeom>
                <a:avLst/>
                <a:gdLst>
                  <a:gd name="T0" fmla="*/ 197 w 1175"/>
                  <a:gd name="T1" fmla="*/ 1747 h 1875"/>
                  <a:gd name="T2" fmla="*/ 294 w 1175"/>
                  <a:gd name="T3" fmla="*/ 1811 h 1875"/>
                  <a:gd name="T4" fmla="*/ 366 w 1175"/>
                  <a:gd name="T5" fmla="*/ 1841 h 1875"/>
                  <a:gd name="T6" fmla="*/ 481 w 1175"/>
                  <a:gd name="T7" fmla="*/ 1868 h 1875"/>
                  <a:gd name="T8" fmla="*/ 622 w 1175"/>
                  <a:gd name="T9" fmla="*/ 1874 h 1875"/>
                  <a:gd name="T10" fmla="*/ 728 w 1175"/>
                  <a:gd name="T11" fmla="*/ 1863 h 1875"/>
                  <a:gd name="T12" fmla="*/ 826 w 1175"/>
                  <a:gd name="T13" fmla="*/ 1836 h 1875"/>
                  <a:gd name="T14" fmla="*/ 915 w 1175"/>
                  <a:gd name="T15" fmla="*/ 1794 h 1875"/>
                  <a:gd name="T16" fmla="*/ 995 w 1175"/>
                  <a:gd name="T17" fmla="*/ 1737 h 1875"/>
                  <a:gd name="T18" fmla="*/ 1063 w 1175"/>
                  <a:gd name="T19" fmla="*/ 1668 h 1875"/>
                  <a:gd name="T20" fmla="*/ 1116 w 1175"/>
                  <a:gd name="T21" fmla="*/ 1586 h 1875"/>
                  <a:gd name="T22" fmla="*/ 1154 w 1175"/>
                  <a:gd name="T23" fmla="*/ 1493 h 1875"/>
                  <a:gd name="T24" fmla="*/ 806 w 1175"/>
                  <a:gd name="T25" fmla="*/ 1310 h 1875"/>
                  <a:gd name="T26" fmla="*/ 782 w 1175"/>
                  <a:gd name="T27" fmla="*/ 1391 h 1875"/>
                  <a:gd name="T28" fmla="*/ 734 w 1175"/>
                  <a:gd name="T29" fmla="*/ 1452 h 1875"/>
                  <a:gd name="T30" fmla="*/ 669 w 1175"/>
                  <a:gd name="T31" fmla="*/ 1490 h 1875"/>
                  <a:gd name="T32" fmla="*/ 595 w 1175"/>
                  <a:gd name="T33" fmla="*/ 1503 h 1875"/>
                  <a:gd name="T34" fmla="*/ 540 w 1175"/>
                  <a:gd name="T35" fmla="*/ 1499 h 1875"/>
                  <a:gd name="T36" fmla="*/ 496 w 1175"/>
                  <a:gd name="T37" fmla="*/ 1486 h 1875"/>
                  <a:gd name="T38" fmla="*/ 460 w 1175"/>
                  <a:gd name="T39" fmla="*/ 1465 h 1875"/>
                  <a:gd name="T40" fmla="*/ 433 w 1175"/>
                  <a:gd name="T41" fmla="*/ 1435 h 1875"/>
                  <a:gd name="T42" fmla="*/ 398 w 1175"/>
                  <a:gd name="T43" fmla="*/ 1357 h 1875"/>
                  <a:gd name="T44" fmla="*/ 387 w 1175"/>
                  <a:gd name="T45" fmla="*/ 1259 h 1875"/>
                  <a:gd name="T46" fmla="*/ 393 w 1175"/>
                  <a:gd name="T47" fmla="*/ 525 h 1875"/>
                  <a:gd name="T48" fmla="*/ 421 w 1175"/>
                  <a:gd name="T49" fmla="*/ 457 h 1875"/>
                  <a:gd name="T50" fmla="*/ 452 w 1175"/>
                  <a:gd name="T51" fmla="*/ 420 h 1875"/>
                  <a:gd name="T52" fmla="*/ 485 w 1175"/>
                  <a:gd name="T53" fmla="*/ 396 h 1875"/>
                  <a:gd name="T54" fmla="*/ 527 w 1175"/>
                  <a:gd name="T55" fmla="*/ 379 h 1875"/>
                  <a:gd name="T56" fmla="*/ 579 w 1175"/>
                  <a:gd name="T57" fmla="*/ 371 h 1875"/>
                  <a:gd name="T58" fmla="*/ 634 w 1175"/>
                  <a:gd name="T59" fmla="*/ 374 h 1875"/>
                  <a:gd name="T60" fmla="*/ 679 w 1175"/>
                  <a:gd name="T61" fmla="*/ 387 h 1875"/>
                  <a:gd name="T62" fmla="*/ 741 w 1175"/>
                  <a:gd name="T63" fmla="*/ 428 h 1875"/>
                  <a:gd name="T64" fmla="*/ 787 w 1175"/>
                  <a:gd name="T65" fmla="*/ 490 h 1875"/>
                  <a:gd name="T66" fmla="*/ 808 w 1175"/>
                  <a:gd name="T67" fmla="*/ 556 h 1875"/>
                  <a:gd name="T68" fmla="*/ 1165 w 1175"/>
                  <a:gd name="T69" fmla="*/ 417 h 1875"/>
                  <a:gd name="T70" fmla="*/ 1133 w 1175"/>
                  <a:gd name="T71" fmla="*/ 330 h 1875"/>
                  <a:gd name="T72" fmla="*/ 1087 w 1175"/>
                  <a:gd name="T73" fmla="*/ 246 h 1875"/>
                  <a:gd name="T74" fmla="*/ 1028 w 1175"/>
                  <a:gd name="T75" fmla="*/ 173 h 1875"/>
                  <a:gd name="T76" fmla="*/ 957 w 1175"/>
                  <a:gd name="T77" fmla="*/ 110 h 1875"/>
                  <a:gd name="T78" fmla="*/ 871 w 1175"/>
                  <a:gd name="T79" fmla="*/ 59 h 1875"/>
                  <a:gd name="T80" fmla="*/ 770 w 1175"/>
                  <a:gd name="T81" fmla="*/ 21 h 1875"/>
                  <a:gd name="T82" fmla="*/ 656 w 1175"/>
                  <a:gd name="T83" fmla="*/ 2 h 1875"/>
                  <a:gd name="T84" fmla="*/ 516 w 1175"/>
                  <a:gd name="T85" fmla="*/ 3 h 1875"/>
                  <a:gd name="T86" fmla="*/ 410 w 1175"/>
                  <a:gd name="T87" fmla="*/ 21 h 1875"/>
                  <a:gd name="T88" fmla="*/ 348 w 1175"/>
                  <a:gd name="T89" fmla="*/ 41 h 1875"/>
                  <a:gd name="T90" fmla="*/ 265 w 1175"/>
                  <a:gd name="T91" fmla="*/ 83 h 1875"/>
                  <a:gd name="T92" fmla="*/ 174 w 1175"/>
                  <a:gd name="T93" fmla="*/ 152 h 1875"/>
                  <a:gd name="T94" fmla="*/ 102 w 1175"/>
                  <a:gd name="T95" fmla="*/ 236 h 1875"/>
                  <a:gd name="T96" fmla="*/ 51 w 1175"/>
                  <a:gd name="T97" fmla="*/ 332 h 1875"/>
                  <a:gd name="T98" fmla="*/ 19 w 1175"/>
                  <a:gd name="T99" fmla="*/ 435 h 1875"/>
                  <a:gd name="T100" fmla="*/ 2 w 1175"/>
                  <a:gd name="T101" fmla="*/ 539 h 1875"/>
                  <a:gd name="T102" fmla="*/ 1 w 1175"/>
                  <a:gd name="T103" fmla="*/ 1279 h 1875"/>
                  <a:gd name="T104" fmla="*/ 14 w 1175"/>
                  <a:gd name="T105" fmla="*/ 1401 h 1875"/>
                  <a:gd name="T106" fmla="*/ 43 w 1175"/>
                  <a:gd name="T107" fmla="*/ 1515 h 1875"/>
                  <a:gd name="T108" fmla="*/ 90 w 1175"/>
                  <a:gd name="T109" fmla="*/ 1619 h 1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75" h="1875">
                    <a:moveTo>
                      <a:pt x="138" y="1688"/>
                    </a:moveTo>
                    <a:lnTo>
                      <a:pt x="157" y="1709"/>
                    </a:lnTo>
                    <a:lnTo>
                      <a:pt x="176" y="1729"/>
                    </a:lnTo>
                    <a:lnTo>
                      <a:pt x="197" y="1747"/>
                    </a:lnTo>
                    <a:lnTo>
                      <a:pt x="219" y="1765"/>
                    </a:lnTo>
                    <a:lnTo>
                      <a:pt x="243" y="1781"/>
                    </a:lnTo>
                    <a:lnTo>
                      <a:pt x="268" y="1797"/>
                    </a:lnTo>
                    <a:lnTo>
                      <a:pt x="294" y="1811"/>
                    </a:lnTo>
                    <a:lnTo>
                      <a:pt x="321" y="1824"/>
                    </a:lnTo>
                    <a:lnTo>
                      <a:pt x="335" y="1830"/>
                    </a:lnTo>
                    <a:lnTo>
                      <a:pt x="351" y="1836"/>
                    </a:lnTo>
                    <a:lnTo>
                      <a:pt x="366" y="1841"/>
                    </a:lnTo>
                    <a:lnTo>
                      <a:pt x="381" y="1846"/>
                    </a:lnTo>
                    <a:lnTo>
                      <a:pt x="413" y="1855"/>
                    </a:lnTo>
                    <a:lnTo>
                      <a:pt x="446" y="1862"/>
                    </a:lnTo>
                    <a:lnTo>
                      <a:pt x="481" y="1868"/>
                    </a:lnTo>
                    <a:lnTo>
                      <a:pt x="517" y="1872"/>
                    </a:lnTo>
                    <a:lnTo>
                      <a:pt x="555" y="1874"/>
                    </a:lnTo>
                    <a:lnTo>
                      <a:pt x="595" y="1875"/>
                    </a:lnTo>
                    <a:lnTo>
                      <a:pt x="622" y="1874"/>
                    </a:lnTo>
                    <a:lnTo>
                      <a:pt x="650" y="1873"/>
                    </a:lnTo>
                    <a:lnTo>
                      <a:pt x="676" y="1871"/>
                    </a:lnTo>
                    <a:lnTo>
                      <a:pt x="702" y="1867"/>
                    </a:lnTo>
                    <a:lnTo>
                      <a:pt x="728" y="1863"/>
                    </a:lnTo>
                    <a:lnTo>
                      <a:pt x="753" y="1858"/>
                    </a:lnTo>
                    <a:lnTo>
                      <a:pt x="778" y="1851"/>
                    </a:lnTo>
                    <a:lnTo>
                      <a:pt x="802" y="1844"/>
                    </a:lnTo>
                    <a:lnTo>
                      <a:pt x="826" y="1836"/>
                    </a:lnTo>
                    <a:lnTo>
                      <a:pt x="849" y="1827"/>
                    </a:lnTo>
                    <a:lnTo>
                      <a:pt x="872" y="1817"/>
                    </a:lnTo>
                    <a:lnTo>
                      <a:pt x="894" y="1806"/>
                    </a:lnTo>
                    <a:lnTo>
                      <a:pt x="915" y="1794"/>
                    </a:lnTo>
                    <a:lnTo>
                      <a:pt x="936" y="1782"/>
                    </a:lnTo>
                    <a:lnTo>
                      <a:pt x="956" y="1768"/>
                    </a:lnTo>
                    <a:lnTo>
                      <a:pt x="976" y="1753"/>
                    </a:lnTo>
                    <a:lnTo>
                      <a:pt x="995" y="1737"/>
                    </a:lnTo>
                    <a:lnTo>
                      <a:pt x="1013" y="1721"/>
                    </a:lnTo>
                    <a:lnTo>
                      <a:pt x="1030" y="1704"/>
                    </a:lnTo>
                    <a:lnTo>
                      <a:pt x="1046" y="1686"/>
                    </a:lnTo>
                    <a:lnTo>
                      <a:pt x="1063" y="1668"/>
                    </a:lnTo>
                    <a:lnTo>
                      <a:pt x="1077" y="1649"/>
                    </a:lnTo>
                    <a:lnTo>
                      <a:pt x="1091" y="1629"/>
                    </a:lnTo>
                    <a:lnTo>
                      <a:pt x="1104" y="1607"/>
                    </a:lnTo>
                    <a:lnTo>
                      <a:pt x="1116" y="1586"/>
                    </a:lnTo>
                    <a:lnTo>
                      <a:pt x="1127" y="1564"/>
                    </a:lnTo>
                    <a:lnTo>
                      <a:pt x="1137" y="1541"/>
                    </a:lnTo>
                    <a:lnTo>
                      <a:pt x="1146" y="1517"/>
                    </a:lnTo>
                    <a:lnTo>
                      <a:pt x="1154" y="1493"/>
                    </a:lnTo>
                    <a:lnTo>
                      <a:pt x="1161" y="1468"/>
                    </a:lnTo>
                    <a:lnTo>
                      <a:pt x="1167" y="1442"/>
                    </a:lnTo>
                    <a:lnTo>
                      <a:pt x="1173" y="1416"/>
                    </a:lnTo>
                    <a:lnTo>
                      <a:pt x="806" y="1310"/>
                    </a:lnTo>
                    <a:lnTo>
                      <a:pt x="802" y="1332"/>
                    </a:lnTo>
                    <a:lnTo>
                      <a:pt x="797" y="1353"/>
                    </a:lnTo>
                    <a:lnTo>
                      <a:pt x="791" y="1372"/>
                    </a:lnTo>
                    <a:lnTo>
                      <a:pt x="782" y="1391"/>
                    </a:lnTo>
                    <a:lnTo>
                      <a:pt x="773" y="1408"/>
                    </a:lnTo>
                    <a:lnTo>
                      <a:pt x="761" y="1423"/>
                    </a:lnTo>
                    <a:lnTo>
                      <a:pt x="749" y="1438"/>
                    </a:lnTo>
                    <a:lnTo>
                      <a:pt x="734" y="1452"/>
                    </a:lnTo>
                    <a:lnTo>
                      <a:pt x="719" y="1464"/>
                    </a:lnTo>
                    <a:lnTo>
                      <a:pt x="703" y="1474"/>
                    </a:lnTo>
                    <a:lnTo>
                      <a:pt x="686" y="1483"/>
                    </a:lnTo>
                    <a:lnTo>
                      <a:pt x="669" y="1490"/>
                    </a:lnTo>
                    <a:lnTo>
                      <a:pt x="651" y="1496"/>
                    </a:lnTo>
                    <a:lnTo>
                      <a:pt x="633" y="1500"/>
                    </a:lnTo>
                    <a:lnTo>
                      <a:pt x="614" y="1502"/>
                    </a:lnTo>
                    <a:lnTo>
                      <a:pt x="595" y="1503"/>
                    </a:lnTo>
                    <a:lnTo>
                      <a:pt x="580" y="1503"/>
                    </a:lnTo>
                    <a:lnTo>
                      <a:pt x="566" y="1502"/>
                    </a:lnTo>
                    <a:lnTo>
                      <a:pt x="553" y="1501"/>
                    </a:lnTo>
                    <a:lnTo>
                      <a:pt x="540" y="1499"/>
                    </a:lnTo>
                    <a:lnTo>
                      <a:pt x="529" y="1497"/>
                    </a:lnTo>
                    <a:lnTo>
                      <a:pt x="517" y="1494"/>
                    </a:lnTo>
                    <a:lnTo>
                      <a:pt x="506" y="1490"/>
                    </a:lnTo>
                    <a:lnTo>
                      <a:pt x="496" y="1486"/>
                    </a:lnTo>
                    <a:lnTo>
                      <a:pt x="486" y="1482"/>
                    </a:lnTo>
                    <a:lnTo>
                      <a:pt x="477" y="1477"/>
                    </a:lnTo>
                    <a:lnTo>
                      <a:pt x="468" y="1471"/>
                    </a:lnTo>
                    <a:lnTo>
                      <a:pt x="460" y="1465"/>
                    </a:lnTo>
                    <a:lnTo>
                      <a:pt x="453" y="1458"/>
                    </a:lnTo>
                    <a:lnTo>
                      <a:pt x="446" y="1451"/>
                    </a:lnTo>
                    <a:lnTo>
                      <a:pt x="439" y="1443"/>
                    </a:lnTo>
                    <a:lnTo>
                      <a:pt x="433" y="1435"/>
                    </a:lnTo>
                    <a:lnTo>
                      <a:pt x="422" y="1417"/>
                    </a:lnTo>
                    <a:lnTo>
                      <a:pt x="413" y="1398"/>
                    </a:lnTo>
                    <a:lnTo>
                      <a:pt x="405" y="1378"/>
                    </a:lnTo>
                    <a:lnTo>
                      <a:pt x="398" y="1357"/>
                    </a:lnTo>
                    <a:lnTo>
                      <a:pt x="393" y="1334"/>
                    </a:lnTo>
                    <a:lnTo>
                      <a:pt x="390" y="1311"/>
                    </a:lnTo>
                    <a:lnTo>
                      <a:pt x="387" y="1285"/>
                    </a:lnTo>
                    <a:lnTo>
                      <a:pt x="387" y="1259"/>
                    </a:lnTo>
                    <a:lnTo>
                      <a:pt x="387" y="575"/>
                    </a:lnTo>
                    <a:lnTo>
                      <a:pt x="387" y="558"/>
                    </a:lnTo>
                    <a:lnTo>
                      <a:pt x="389" y="542"/>
                    </a:lnTo>
                    <a:lnTo>
                      <a:pt x="393" y="525"/>
                    </a:lnTo>
                    <a:lnTo>
                      <a:pt x="398" y="507"/>
                    </a:lnTo>
                    <a:lnTo>
                      <a:pt x="404" y="490"/>
                    </a:lnTo>
                    <a:lnTo>
                      <a:pt x="411" y="473"/>
                    </a:lnTo>
                    <a:lnTo>
                      <a:pt x="421" y="457"/>
                    </a:lnTo>
                    <a:lnTo>
                      <a:pt x="432" y="441"/>
                    </a:lnTo>
                    <a:lnTo>
                      <a:pt x="438" y="434"/>
                    </a:lnTo>
                    <a:lnTo>
                      <a:pt x="445" y="427"/>
                    </a:lnTo>
                    <a:lnTo>
                      <a:pt x="452" y="420"/>
                    </a:lnTo>
                    <a:lnTo>
                      <a:pt x="460" y="413"/>
                    </a:lnTo>
                    <a:lnTo>
                      <a:pt x="468" y="407"/>
                    </a:lnTo>
                    <a:lnTo>
                      <a:pt x="476" y="401"/>
                    </a:lnTo>
                    <a:lnTo>
                      <a:pt x="485" y="396"/>
                    </a:lnTo>
                    <a:lnTo>
                      <a:pt x="495" y="391"/>
                    </a:lnTo>
                    <a:lnTo>
                      <a:pt x="505" y="386"/>
                    </a:lnTo>
                    <a:lnTo>
                      <a:pt x="516" y="382"/>
                    </a:lnTo>
                    <a:lnTo>
                      <a:pt x="527" y="379"/>
                    </a:lnTo>
                    <a:lnTo>
                      <a:pt x="539" y="376"/>
                    </a:lnTo>
                    <a:lnTo>
                      <a:pt x="552" y="374"/>
                    </a:lnTo>
                    <a:lnTo>
                      <a:pt x="565" y="372"/>
                    </a:lnTo>
                    <a:lnTo>
                      <a:pt x="579" y="371"/>
                    </a:lnTo>
                    <a:lnTo>
                      <a:pt x="595" y="371"/>
                    </a:lnTo>
                    <a:lnTo>
                      <a:pt x="608" y="371"/>
                    </a:lnTo>
                    <a:lnTo>
                      <a:pt x="621" y="372"/>
                    </a:lnTo>
                    <a:lnTo>
                      <a:pt x="634" y="374"/>
                    </a:lnTo>
                    <a:lnTo>
                      <a:pt x="646" y="376"/>
                    </a:lnTo>
                    <a:lnTo>
                      <a:pt x="657" y="379"/>
                    </a:lnTo>
                    <a:lnTo>
                      <a:pt x="668" y="383"/>
                    </a:lnTo>
                    <a:lnTo>
                      <a:pt x="679" y="387"/>
                    </a:lnTo>
                    <a:lnTo>
                      <a:pt x="689" y="392"/>
                    </a:lnTo>
                    <a:lnTo>
                      <a:pt x="708" y="403"/>
                    </a:lnTo>
                    <a:lnTo>
                      <a:pt x="725" y="415"/>
                    </a:lnTo>
                    <a:lnTo>
                      <a:pt x="741" y="428"/>
                    </a:lnTo>
                    <a:lnTo>
                      <a:pt x="755" y="442"/>
                    </a:lnTo>
                    <a:lnTo>
                      <a:pt x="767" y="457"/>
                    </a:lnTo>
                    <a:lnTo>
                      <a:pt x="778" y="473"/>
                    </a:lnTo>
                    <a:lnTo>
                      <a:pt x="787" y="490"/>
                    </a:lnTo>
                    <a:lnTo>
                      <a:pt x="794" y="507"/>
                    </a:lnTo>
                    <a:lnTo>
                      <a:pt x="799" y="524"/>
                    </a:lnTo>
                    <a:lnTo>
                      <a:pt x="804" y="541"/>
                    </a:lnTo>
                    <a:lnTo>
                      <a:pt x="808" y="556"/>
                    </a:lnTo>
                    <a:lnTo>
                      <a:pt x="811" y="569"/>
                    </a:lnTo>
                    <a:lnTo>
                      <a:pt x="1175" y="461"/>
                    </a:lnTo>
                    <a:lnTo>
                      <a:pt x="1170" y="439"/>
                    </a:lnTo>
                    <a:lnTo>
                      <a:pt x="1165" y="417"/>
                    </a:lnTo>
                    <a:lnTo>
                      <a:pt x="1158" y="395"/>
                    </a:lnTo>
                    <a:lnTo>
                      <a:pt x="1150" y="373"/>
                    </a:lnTo>
                    <a:lnTo>
                      <a:pt x="1142" y="351"/>
                    </a:lnTo>
                    <a:lnTo>
                      <a:pt x="1133" y="330"/>
                    </a:lnTo>
                    <a:lnTo>
                      <a:pt x="1123" y="309"/>
                    </a:lnTo>
                    <a:lnTo>
                      <a:pt x="1112" y="288"/>
                    </a:lnTo>
                    <a:lnTo>
                      <a:pt x="1100" y="266"/>
                    </a:lnTo>
                    <a:lnTo>
                      <a:pt x="1087" y="246"/>
                    </a:lnTo>
                    <a:lnTo>
                      <a:pt x="1074" y="227"/>
                    </a:lnTo>
                    <a:lnTo>
                      <a:pt x="1060" y="208"/>
                    </a:lnTo>
                    <a:lnTo>
                      <a:pt x="1044" y="190"/>
                    </a:lnTo>
                    <a:lnTo>
                      <a:pt x="1028" y="173"/>
                    </a:lnTo>
                    <a:lnTo>
                      <a:pt x="1011" y="156"/>
                    </a:lnTo>
                    <a:lnTo>
                      <a:pt x="994" y="140"/>
                    </a:lnTo>
                    <a:lnTo>
                      <a:pt x="976" y="125"/>
                    </a:lnTo>
                    <a:lnTo>
                      <a:pt x="957" y="110"/>
                    </a:lnTo>
                    <a:lnTo>
                      <a:pt x="937" y="96"/>
                    </a:lnTo>
                    <a:lnTo>
                      <a:pt x="916" y="82"/>
                    </a:lnTo>
                    <a:lnTo>
                      <a:pt x="894" y="70"/>
                    </a:lnTo>
                    <a:lnTo>
                      <a:pt x="871" y="59"/>
                    </a:lnTo>
                    <a:lnTo>
                      <a:pt x="847" y="48"/>
                    </a:lnTo>
                    <a:lnTo>
                      <a:pt x="822" y="38"/>
                    </a:lnTo>
                    <a:lnTo>
                      <a:pt x="796" y="29"/>
                    </a:lnTo>
                    <a:lnTo>
                      <a:pt x="770" y="21"/>
                    </a:lnTo>
                    <a:lnTo>
                      <a:pt x="742" y="15"/>
                    </a:lnTo>
                    <a:lnTo>
                      <a:pt x="714" y="9"/>
                    </a:lnTo>
                    <a:lnTo>
                      <a:pt x="686" y="5"/>
                    </a:lnTo>
                    <a:lnTo>
                      <a:pt x="656" y="2"/>
                    </a:lnTo>
                    <a:lnTo>
                      <a:pt x="626" y="1"/>
                    </a:lnTo>
                    <a:lnTo>
                      <a:pt x="595" y="0"/>
                    </a:lnTo>
                    <a:lnTo>
                      <a:pt x="554" y="1"/>
                    </a:lnTo>
                    <a:lnTo>
                      <a:pt x="516" y="3"/>
                    </a:lnTo>
                    <a:lnTo>
                      <a:pt x="479" y="7"/>
                    </a:lnTo>
                    <a:lnTo>
                      <a:pt x="444" y="13"/>
                    </a:lnTo>
                    <a:lnTo>
                      <a:pt x="427" y="17"/>
                    </a:lnTo>
                    <a:lnTo>
                      <a:pt x="410" y="21"/>
                    </a:lnTo>
                    <a:lnTo>
                      <a:pt x="394" y="25"/>
                    </a:lnTo>
                    <a:lnTo>
                      <a:pt x="378" y="30"/>
                    </a:lnTo>
                    <a:lnTo>
                      <a:pt x="363" y="35"/>
                    </a:lnTo>
                    <a:lnTo>
                      <a:pt x="348" y="41"/>
                    </a:lnTo>
                    <a:lnTo>
                      <a:pt x="332" y="47"/>
                    </a:lnTo>
                    <a:lnTo>
                      <a:pt x="318" y="54"/>
                    </a:lnTo>
                    <a:lnTo>
                      <a:pt x="291" y="68"/>
                    </a:lnTo>
                    <a:lnTo>
                      <a:pt x="265" y="83"/>
                    </a:lnTo>
                    <a:lnTo>
                      <a:pt x="240" y="99"/>
                    </a:lnTo>
                    <a:lnTo>
                      <a:pt x="217" y="116"/>
                    </a:lnTo>
                    <a:lnTo>
                      <a:pt x="194" y="134"/>
                    </a:lnTo>
                    <a:lnTo>
                      <a:pt x="174" y="152"/>
                    </a:lnTo>
                    <a:lnTo>
                      <a:pt x="154" y="172"/>
                    </a:lnTo>
                    <a:lnTo>
                      <a:pt x="136" y="193"/>
                    </a:lnTo>
                    <a:lnTo>
                      <a:pt x="119" y="214"/>
                    </a:lnTo>
                    <a:lnTo>
                      <a:pt x="102" y="236"/>
                    </a:lnTo>
                    <a:lnTo>
                      <a:pt x="88" y="259"/>
                    </a:lnTo>
                    <a:lnTo>
                      <a:pt x="74" y="282"/>
                    </a:lnTo>
                    <a:lnTo>
                      <a:pt x="62" y="307"/>
                    </a:lnTo>
                    <a:lnTo>
                      <a:pt x="51" y="332"/>
                    </a:lnTo>
                    <a:lnTo>
                      <a:pt x="41" y="357"/>
                    </a:lnTo>
                    <a:lnTo>
                      <a:pt x="33" y="383"/>
                    </a:lnTo>
                    <a:lnTo>
                      <a:pt x="25" y="409"/>
                    </a:lnTo>
                    <a:lnTo>
                      <a:pt x="19" y="435"/>
                    </a:lnTo>
                    <a:lnTo>
                      <a:pt x="13" y="461"/>
                    </a:lnTo>
                    <a:lnTo>
                      <a:pt x="9" y="487"/>
                    </a:lnTo>
                    <a:lnTo>
                      <a:pt x="5" y="513"/>
                    </a:lnTo>
                    <a:lnTo>
                      <a:pt x="2" y="539"/>
                    </a:lnTo>
                    <a:lnTo>
                      <a:pt x="1" y="565"/>
                    </a:lnTo>
                    <a:lnTo>
                      <a:pt x="0" y="591"/>
                    </a:lnTo>
                    <a:lnTo>
                      <a:pt x="0" y="1248"/>
                    </a:lnTo>
                    <a:lnTo>
                      <a:pt x="1" y="1279"/>
                    </a:lnTo>
                    <a:lnTo>
                      <a:pt x="3" y="1311"/>
                    </a:lnTo>
                    <a:lnTo>
                      <a:pt x="5" y="1341"/>
                    </a:lnTo>
                    <a:lnTo>
                      <a:pt x="9" y="1371"/>
                    </a:lnTo>
                    <a:lnTo>
                      <a:pt x="14" y="1401"/>
                    </a:lnTo>
                    <a:lnTo>
                      <a:pt x="20" y="1430"/>
                    </a:lnTo>
                    <a:lnTo>
                      <a:pt x="27" y="1459"/>
                    </a:lnTo>
                    <a:lnTo>
                      <a:pt x="34" y="1487"/>
                    </a:lnTo>
                    <a:lnTo>
                      <a:pt x="43" y="1515"/>
                    </a:lnTo>
                    <a:lnTo>
                      <a:pt x="53" y="1543"/>
                    </a:lnTo>
                    <a:lnTo>
                      <a:pt x="64" y="1569"/>
                    </a:lnTo>
                    <a:lnTo>
                      <a:pt x="77" y="1594"/>
                    </a:lnTo>
                    <a:lnTo>
                      <a:pt x="90" y="1619"/>
                    </a:lnTo>
                    <a:lnTo>
                      <a:pt x="105" y="1643"/>
                    </a:lnTo>
                    <a:lnTo>
                      <a:pt x="121" y="1666"/>
                    </a:lnTo>
                    <a:lnTo>
                      <a:pt x="138" y="16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57" name="Freeform 8"/>
              <p:cNvSpPr>
                <a:spLocks/>
              </p:cNvSpPr>
              <p:nvPr/>
            </p:nvSpPr>
            <p:spPr bwMode="auto">
              <a:xfrm>
                <a:off x="1081488" y="259248"/>
                <a:ext cx="121265" cy="194272"/>
              </a:xfrm>
              <a:custGeom>
                <a:avLst/>
                <a:gdLst>
                  <a:gd name="T0" fmla="*/ 419 w 1174"/>
                  <a:gd name="T1" fmla="*/ 457 h 1875"/>
                  <a:gd name="T2" fmla="*/ 450 w 1174"/>
                  <a:gd name="T3" fmla="*/ 420 h 1875"/>
                  <a:gd name="T4" fmla="*/ 484 w 1174"/>
                  <a:gd name="T5" fmla="*/ 396 h 1875"/>
                  <a:gd name="T6" fmla="*/ 527 w 1174"/>
                  <a:gd name="T7" fmla="*/ 379 h 1875"/>
                  <a:gd name="T8" fmla="*/ 579 w 1174"/>
                  <a:gd name="T9" fmla="*/ 371 h 1875"/>
                  <a:gd name="T10" fmla="*/ 632 w 1174"/>
                  <a:gd name="T11" fmla="*/ 374 h 1875"/>
                  <a:gd name="T12" fmla="*/ 677 w 1174"/>
                  <a:gd name="T13" fmla="*/ 387 h 1875"/>
                  <a:gd name="T14" fmla="*/ 741 w 1174"/>
                  <a:gd name="T15" fmla="*/ 428 h 1875"/>
                  <a:gd name="T16" fmla="*/ 782 w 1174"/>
                  <a:gd name="T17" fmla="*/ 481 h 1875"/>
                  <a:gd name="T18" fmla="*/ 798 w 1174"/>
                  <a:gd name="T19" fmla="*/ 524 h 1875"/>
                  <a:gd name="T20" fmla="*/ 1174 w 1174"/>
                  <a:gd name="T21" fmla="*/ 461 h 1875"/>
                  <a:gd name="T22" fmla="*/ 1149 w 1174"/>
                  <a:gd name="T23" fmla="*/ 373 h 1875"/>
                  <a:gd name="T24" fmla="*/ 1110 w 1174"/>
                  <a:gd name="T25" fmla="*/ 288 h 1875"/>
                  <a:gd name="T26" fmla="*/ 1059 w 1174"/>
                  <a:gd name="T27" fmla="*/ 208 h 1875"/>
                  <a:gd name="T28" fmla="*/ 994 w 1174"/>
                  <a:gd name="T29" fmla="*/ 140 h 1875"/>
                  <a:gd name="T30" fmla="*/ 914 w 1174"/>
                  <a:gd name="T31" fmla="*/ 83 h 1875"/>
                  <a:gd name="T32" fmla="*/ 821 w 1174"/>
                  <a:gd name="T33" fmla="*/ 38 h 1875"/>
                  <a:gd name="T34" fmla="*/ 713 w 1174"/>
                  <a:gd name="T35" fmla="*/ 9 h 1875"/>
                  <a:gd name="T36" fmla="*/ 593 w 1174"/>
                  <a:gd name="T37" fmla="*/ 0 h 1875"/>
                  <a:gd name="T38" fmla="*/ 443 w 1174"/>
                  <a:gd name="T39" fmla="*/ 13 h 1875"/>
                  <a:gd name="T40" fmla="*/ 377 w 1174"/>
                  <a:gd name="T41" fmla="*/ 30 h 1875"/>
                  <a:gd name="T42" fmla="*/ 318 w 1174"/>
                  <a:gd name="T43" fmla="*/ 54 h 1875"/>
                  <a:gd name="T44" fmla="*/ 215 w 1174"/>
                  <a:gd name="T45" fmla="*/ 116 h 1875"/>
                  <a:gd name="T46" fmla="*/ 134 w 1174"/>
                  <a:gd name="T47" fmla="*/ 193 h 1875"/>
                  <a:gd name="T48" fmla="*/ 74 w 1174"/>
                  <a:gd name="T49" fmla="*/ 282 h 1875"/>
                  <a:gd name="T50" fmla="*/ 33 w 1174"/>
                  <a:gd name="T51" fmla="*/ 383 h 1875"/>
                  <a:gd name="T52" fmla="*/ 8 w 1174"/>
                  <a:gd name="T53" fmla="*/ 487 h 1875"/>
                  <a:gd name="T54" fmla="*/ 0 w 1174"/>
                  <a:gd name="T55" fmla="*/ 591 h 1875"/>
                  <a:gd name="T56" fmla="*/ 5 w 1174"/>
                  <a:gd name="T57" fmla="*/ 1341 h 1875"/>
                  <a:gd name="T58" fmla="*/ 25 w 1174"/>
                  <a:gd name="T59" fmla="*/ 1459 h 1875"/>
                  <a:gd name="T60" fmla="*/ 64 w 1174"/>
                  <a:gd name="T61" fmla="*/ 1569 h 1875"/>
                  <a:gd name="T62" fmla="*/ 120 w 1174"/>
                  <a:gd name="T63" fmla="*/ 1666 h 1875"/>
                  <a:gd name="T64" fmla="*/ 196 w 1174"/>
                  <a:gd name="T65" fmla="*/ 1747 h 1875"/>
                  <a:gd name="T66" fmla="*/ 293 w 1174"/>
                  <a:gd name="T67" fmla="*/ 1811 h 1875"/>
                  <a:gd name="T68" fmla="*/ 364 w 1174"/>
                  <a:gd name="T69" fmla="*/ 1841 h 1875"/>
                  <a:gd name="T70" fmla="*/ 479 w 1174"/>
                  <a:gd name="T71" fmla="*/ 1868 h 1875"/>
                  <a:gd name="T72" fmla="*/ 621 w 1174"/>
                  <a:gd name="T73" fmla="*/ 1874 h 1875"/>
                  <a:gd name="T74" fmla="*/ 726 w 1174"/>
                  <a:gd name="T75" fmla="*/ 1863 h 1875"/>
                  <a:gd name="T76" fmla="*/ 825 w 1174"/>
                  <a:gd name="T77" fmla="*/ 1836 h 1875"/>
                  <a:gd name="T78" fmla="*/ 913 w 1174"/>
                  <a:gd name="T79" fmla="*/ 1794 h 1875"/>
                  <a:gd name="T80" fmla="*/ 994 w 1174"/>
                  <a:gd name="T81" fmla="*/ 1737 h 1875"/>
                  <a:gd name="T82" fmla="*/ 1061 w 1174"/>
                  <a:gd name="T83" fmla="*/ 1668 h 1875"/>
                  <a:gd name="T84" fmla="*/ 1114 w 1174"/>
                  <a:gd name="T85" fmla="*/ 1586 h 1875"/>
                  <a:gd name="T86" fmla="*/ 1152 w 1174"/>
                  <a:gd name="T87" fmla="*/ 1493 h 1875"/>
                  <a:gd name="T88" fmla="*/ 806 w 1174"/>
                  <a:gd name="T89" fmla="*/ 1310 h 1875"/>
                  <a:gd name="T90" fmla="*/ 782 w 1174"/>
                  <a:gd name="T91" fmla="*/ 1390 h 1875"/>
                  <a:gd name="T92" fmla="*/ 733 w 1174"/>
                  <a:gd name="T93" fmla="*/ 1452 h 1875"/>
                  <a:gd name="T94" fmla="*/ 667 w 1174"/>
                  <a:gd name="T95" fmla="*/ 1490 h 1875"/>
                  <a:gd name="T96" fmla="*/ 593 w 1174"/>
                  <a:gd name="T97" fmla="*/ 1503 h 1875"/>
                  <a:gd name="T98" fmla="*/ 540 w 1174"/>
                  <a:gd name="T99" fmla="*/ 1499 h 1875"/>
                  <a:gd name="T100" fmla="*/ 495 w 1174"/>
                  <a:gd name="T101" fmla="*/ 1486 h 1875"/>
                  <a:gd name="T102" fmla="*/ 459 w 1174"/>
                  <a:gd name="T103" fmla="*/ 1465 h 1875"/>
                  <a:gd name="T104" fmla="*/ 432 w 1174"/>
                  <a:gd name="T105" fmla="*/ 1435 h 1875"/>
                  <a:gd name="T106" fmla="*/ 397 w 1174"/>
                  <a:gd name="T107" fmla="*/ 1357 h 1875"/>
                  <a:gd name="T108" fmla="*/ 385 w 1174"/>
                  <a:gd name="T109" fmla="*/ 1259 h 1875"/>
                  <a:gd name="T110" fmla="*/ 391 w 1174"/>
                  <a:gd name="T111" fmla="*/ 525 h 18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74" h="1875">
                    <a:moveTo>
                      <a:pt x="396" y="507"/>
                    </a:moveTo>
                    <a:lnTo>
                      <a:pt x="402" y="490"/>
                    </a:lnTo>
                    <a:lnTo>
                      <a:pt x="410" y="473"/>
                    </a:lnTo>
                    <a:lnTo>
                      <a:pt x="419" y="457"/>
                    </a:lnTo>
                    <a:lnTo>
                      <a:pt x="430" y="441"/>
                    </a:lnTo>
                    <a:lnTo>
                      <a:pt x="436" y="434"/>
                    </a:lnTo>
                    <a:lnTo>
                      <a:pt x="443" y="427"/>
                    </a:lnTo>
                    <a:lnTo>
                      <a:pt x="450" y="420"/>
                    </a:lnTo>
                    <a:lnTo>
                      <a:pt x="458" y="413"/>
                    </a:lnTo>
                    <a:lnTo>
                      <a:pt x="466" y="407"/>
                    </a:lnTo>
                    <a:lnTo>
                      <a:pt x="475" y="401"/>
                    </a:lnTo>
                    <a:lnTo>
                      <a:pt x="484" y="396"/>
                    </a:lnTo>
                    <a:lnTo>
                      <a:pt x="494" y="391"/>
                    </a:lnTo>
                    <a:lnTo>
                      <a:pt x="505" y="386"/>
                    </a:lnTo>
                    <a:lnTo>
                      <a:pt x="516" y="382"/>
                    </a:lnTo>
                    <a:lnTo>
                      <a:pt x="527" y="379"/>
                    </a:lnTo>
                    <a:lnTo>
                      <a:pt x="539" y="376"/>
                    </a:lnTo>
                    <a:lnTo>
                      <a:pt x="552" y="374"/>
                    </a:lnTo>
                    <a:lnTo>
                      <a:pt x="565" y="372"/>
                    </a:lnTo>
                    <a:lnTo>
                      <a:pt x="579" y="371"/>
                    </a:lnTo>
                    <a:lnTo>
                      <a:pt x="593" y="371"/>
                    </a:lnTo>
                    <a:lnTo>
                      <a:pt x="606" y="371"/>
                    </a:lnTo>
                    <a:lnTo>
                      <a:pt x="619" y="372"/>
                    </a:lnTo>
                    <a:lnTo>
                      <a:pt x="632" y="374"/>
                    </a:lnTo>
                    <a:lnTo>
                      <a:pt x="644" y="376"/>
                    </a:lnTo>
                    <a:lnTo>
                      <a:pt x="656" y="379"/>
                    </a:lnTo>
                    <a:lnTo>
                      <a:pt x="667" y="383"/>
                    </a:lnTo>
                    <a:lnTo>
                      <a:pt x="677" y="387"/>
                    </a:lnTo>
                    <a:lnTo>
                      <a:pt x="688" y="392"/>
                    </a:lnTo>
                    <a:lnTo>
                      <a:pt x="707" y="403"/>
                    </a:lnTo>
                    <a:lnTo>
                      <a:pt x="724" y="415"/>
                    </a:lnTo>
                    <a:lnTo>
                      <a:pt x="741" y="428"/>
                    </a:lnTo>
                    <a:lnTo>
                      <a:pt x="755" y="442"/>
                    </a:lnTo>
                    <a:lnTo>
                      <a:pt x="767" y="457"/>
                    </a:lnTo>
                    <a:lnTo>
                      <a:pt x="778" y="473"/>
                    </a:lnTo>
                    <a:lnTo>
                      <a:pt x="782" y="481"/>
                    </a:lnTo>
                    <a:lnTo>
                      <a:pt x="786" y="490"/>
                    </a:lnTo>
                    <a:lnTo>
                      <a:pt x="790" y="498"/>
                    </a:lnTo>
                    <a:lnTo>
                      <a:pt x="793" y="507"/>
                    </a:lnTo>
                    <a:lnTo>
                      <a:pt x="798" y="524"/>
                    </a:lnTo>
                    <a:lnTo>
                      <a:pt x="803" y="541"/>
                    </a:lnTo>
                    <a:lnTo>
                      <a:pt x="807" y="556"/>
                    </a:lnTo>
                    <a:lnTo>
                      <a:pt x="810" y="569"/>
                    </a:lnTo>
                    <a:lnTo>
                      <a:pt x="1174" y="461"/>
                    </a:lnTo>
                    <a:lnTo>
                      <a:pt x="1169" y="439"/>
                    </a:lnTo>
                    <a:lnTo>
                      <a:pt x="1163" y="416"/>
                    </a:lnTo>
                    <a:lnTo>
                      <a:pt x="1156" y="395"/>
                    </a:lnTo>
                    <a:lnTo>
                      <a:pt x="1149" y="373"/>
                    </a:lnTo>
                    <a:lnTo>
                      <a:pt x="1140" y="351"/>
                    </a:lnTo>
                    <a:lnTo>
                      <a:pt x="1131" y="330"/>
                    </a:lnTo>
                    <a:lnTo>
                      <a:pt x="1121" y="309"/>
                    </a:lnTo>
                    <a:lnTo>
                      <a:pt x="1110" y="288"/>
                    </a:lnTo>
                    <a:lnTo>
                      <a:pt x="1099" y="266"/>
                    </a:lnTo>
                    <a:lnTo>
                      <a:pt x="1086" y="246"/>
                    </a:lnTo>
                    <a:lnTo>
                      <a:pt x="1073" y="227"/>
                    </a:lnTo>
                    <a:lnTo>
                      <a:pt x="1059" y="208"/>
                    </a:lnTo>
                    <a:lnTo>
                      <a:pt x="1044" y="190"/>
                    </a:lnTo>
                    <a:lnTo>
                      <a:pt x="1028" y="173"/>
                    </a:lnTo>
                    <a:lnTo>
                      <a:pt x="1011" y="156"/>
                    </a:lnTo>
                    <a:lnTo>
                      <a:pt x="994" y="140"/>
                    </a:lnTo>
                    <a:lnTo>
                      <a:pt x="975" y="125"/>
                    </a:lnTo>
                    <a:lnTo>
                      <a:pt x="955" y="110"/>
                    </a:lnTo>
                    <a:lnTo>
                      <a:pt x="935" y="96"/>
                    </a:lnTo>
                    <a:lnTo>
                      <a:pt x="914" y="83"/>
                    </a:lnTo>
                    <a:lnTo>
                      <a:pt x="892" y="70"/>
                    </a:lnTo>
                    <a:lnTo>
                      <a:pt x="869" y="59"/>
                    </a:lnTo>
                    <a:lnTo>
                      <a:pt x="846" y="48"/>
                    </a:lnTo>
                    <a:lnTo>
                      <a:pt x="821" y="38"/>
                    </a:lnTo>
                    <a:lnTo>
                      <a:pt x="796" y="29"/>
                    </a:lnTo>
                    <a:lnTo>
                      <a:pt x="769" y="21"/>
                    </a:lnTo>
                    <a:lnTo>
                      <a:pt x="742" y="15"/>
                    </a:lnTo>
                    <a:lnTo>
                      <a:pt x="713" y="9"/>
                    </a:lnTo>
                    <a:lnTo>
                      <a:pt x="684" y="5"/>
                    </a:lnTo>
                    <a:lnTo>
                      <a:pt x="654" y="2"/>
                    </a:lnTo>
                    <a:lnTo>
                      <a:pt x="624" y="1"/>
                    </a:lnTo>
                    <a:lnTo>
                      <a:pt x="593" y="0"/>
                    </a:lnTo>
                    <a:lnTo>
                      <a:pt x="553" y="1"/>
                    </a:lnTo>
                    <a:lnTo>
                      <a:pt x="515" y="3"/>
                    </a:lnTo>
                    <a:lnTo>
                      <a:pt x="478" y="7"/>
                    </a:lnTo>
                    <a:lnTo>
                      <a:pt x="443" y="13"/>
                    </a:lnTo>
                    <a:lnTo>
                      <a:pt x="426" y="17"/>
                    </a:lnTo>
                    <a:lnTo>
                      <a:pt x="409" y="21"/>
                    </a:lnTo>
                    <a:lnTo>
                      <a:pt x="393" y="25"/>
                    </a:lnTo>
                    <a:lnTo>
                      <a:pt x="377" y="30"/>
                    </a:lnTo>
                    <a:lnTo>
                      <a:pt x="362" y="35"/>
                    </a:lnTo>
                    <a:lnTo>
                      <a:pt x="347" y="41"/>
                    </a:lnTo>
                    <a:lnTo>
                      <a:pt x="332" y="47"/>
                    </a:lnTo>
                    <a:lnTo>
                      <a:pt x="318" y="54"/>
                    </a:lnTo>
                    <a:lnTo>
                      <a:pt x="291" y="68"/>
                    </a:lnTo>
                    <a:lnTo>
                      <a:pt x="264" y="83"/>
                    </a:lnTo>
                    <a:lnTo>
                      <a:pt x="238" y="99"/>
                    </a:lnTo>
                    <a:lnTo>
                      <a:pt x="215" y="116"/>
                    </a:lnTo>
                    <a:lnTo>
                      <a:pt x="193" y="134"/>
                    </a:lnTo>
                    <a:lnTo>
                      <a:pt x="172" y="152"/>
                    </a:lnTo>
                    <a:lnTo>
                      <a:pt x="153" y="172"/>
                    </a:lnTo>
                    <a:lnTo>
                      <a:pt x="134" y="193"/>
                    </a:lnTo>
                    <a:lnTo>
                      <a:pt x="118" y="214"/>
                    </a:lnTo>
                    <a:lnTo>
                      <a:pt x="102" y="236"/>
                    </a:lnTo>
                    <a:lnTo>
                      <a:pt x="87" y="259"/>
                    </a:lnTo>
                    <a:lnTo>
                      <a:pt x="74" y="282"/>
                    </a:lnTo>
                    <a:lnTo>
                      <a:pt x="62" y="307"/>
                    </a:lnTo>
                    <a:lnTo>
                      <a:pt x="51" y="332"/>
                    </a:lnTo>
                    <a:lnTo>
                      <a:pt x="41" y="357"/>
                    </a:lnTo>
                    <a:lnTo>
                      <a:pt x="33" y="383"/>
                    </a:lnTo>
                    <a:lnTo>
                      <a:pt x="24" y="409"/>
                    </a:lnTo>
                    <a:lnTo>
                      <a:pt x="18" y="435"/>
                    </a:lnTo>
                    <a:lnTo>
                      <a:pt x="12" y="461"/>
                    </a:lnTo>
                    <a:lnTo>
                      <a:pt x="8" y="487"/>
                    </a:lnTo>
                    <a:lnTo>
                      <a:pt x="5" y="513"/>
                    </a:lnTo>
                    <a:lnTo>
                      <a:pt x="2" y="539"/>
                    </a:lnTo>
                    <a:lnTo>
                      <a:pt x="1" y="565"/>
                    </a:lnTo>
                    <a:lnTo>
                      <a:pt x="0" y="591"/>
                    </a:lnTo>
                    <a:lnTo>
                      <a:pt x="0" y="1248"/>
                    </a:lnTo>
                    <a:lnTo>
                      <a:pt x="1" y="1279"/>
                    </a:lnTo>
                    <a:lnTo>
                      <a:pt x="2" y="1311"/>
                    </a:lnTo>
                    <a:lnTo>
                      <a:pt x="5" y="1341"/>
                    </a:lnTo>
                    <a:lnTo>
                      <a:pt x="8" y="1371"/>
                    </a:lnTo>
                    <a:lnTo>
                      <a:pt x="13" y="1401"/>
                    </a:lnTo>
                    <a:lnTo>
                      <a:pt x="18" y="1430"/>
                    </a:lnTo>
                    <a:lnTo>
                      <a:pt x="25" y="1459"/>
                    </a:lnTo>
                    <a:lnTo>
                      <a:pt x="34" y="1487"/>
                    </a:lnTo>
                    <a:lnTo>
                      <a:pt x="43" y="1515"/>
                    </a:lnTo>
                    <a:lnTo>
                      <a:pt x="53" y="1543"/>
                    </a:lnTo>
                    <a:lnTo>
                      <a:pt x="64" y="1569"/>
                    </a:lnTo>
                    <a:lnTo>
                      <a:pt x="76" y="1594"/>
                    </a:lnTo>
                    <a:lnTo>
                      <a:pt x="89" y="1619"/>
                    </a:lnTo>
                    <a:lnTo>
                      <a:pt x="104" y="1643"/>
                    </a:lnTo>
                    <a:lnTo>
                      <a:pt x="120" y="1666"/>
                    </a:lnTo>
                    <a:lnTo>
                      <a:pt x="137" y="1688"/>
                    </a:lnTo>
                    <a:lnTo>
                      <a:pt x="155" y="1709"/>
                    </a:lnTo>
                    <a:lnTo>
                      <a:pt x="175" y="1729"/>
                    </a:lnTo>
                    <a:lnTo>
                      <a:pt x="196" y="1747"/>
                    </a:lnTo>
                    <a:lnTo>
                      <a:pt x="218" y="1765"/>
                    </a:lnTo>
                    <a:lnTo>
                      <a:pt x="241" y="1781"/>
                    </a:lnTo>
                    <a:lnTo>
                      <a:pt x="267" y="1797"/>
                    </a:lnTo>
                    <a:lnTo>
                      <a:pt x="293" y="1811"/>
                    </a:lnTo>
                    <a:lnTo>
                      <a:pt x="321" y="1824"/>
                    </a:lnTo>
                    <a:lnTo>
                      <a:pt x="335" y="1830"/>
                    </a:lnTo>
                    <a:lnTo>
                      <a:pt x="349" y="1836"/>
                    </a:lnTo>
                    <a:lnTo>
                      <a:pt x="364" y="1841"/>
                    </a:lnTo>
                    <a:lnTo>
                      <a:pt x="379" y="1846"/>
                    </a:lnTo>
                    <a:lnTo>
                      <a:pt x="411" y="1855"/>
                    </a:lnTo>
                    <a:lnTo>
                      <a:pt x="444" y="1862"/>
                    </a:lnTo>
                    <a:lnTo>
                      <a:pt x="479" y="1868"/>
                    </a:lnTo>
                    <a:lnTo>
                      <a:pt x="516" y="1872"/>
                    </a:lnTo>
                    <a:lnTo>
                      <a:pt x="554" y="1874"/>
                    </a:lnTo>
                    <a:lnTo>
                      <a:pt x="593" y="1875"/>
                    </a:lnTo>
                    <a:lnTo>
                      <a:pt x="621" y="1874"/>
                    </a:lnTo>
                    <a:lnTo>
                      <a:pt x="648" y="1873"/>
                    </a:lnTo>
                    <a:lnTo>
                      <a:pt x="675" y="1871"/>
                    </a:lnTo>
                    <a:lnTo>
                      <a:pt x="701" y="1867"/>
                    </a:lnTo>
                    <a:lnTo>
                      <a:pt x="726" y="1863"/>
                    </a:lnTo>
                    <a:lnTo>
                      <a:pt x="753" y="1858"/>
                    </a:lnTo>
                    <a:lnTo>
                      <a:pt x="777" y="1851"/>
                    </a:lnTo>
                    <a:lnTo>
                      <a:pt x="801" y="1844"/>
                    </a:lnTo>
                    <a:lnTo>
                      <a:pt x="825" y="1836"/>
                    </a:lnTo>
                    <a:lnTo>
                      <a:pt x="848" y="1827"/>
                    </a:lnTo>
                    <a:lnTo>
                      <a:pt x="870" y="1817"/>
                    </a:lnTo>
                    <a:lnTo>
                      <a:pt x="892" y="1806"/>
                    </a:lnTo>
                    <a:lnTo>
                      <a:pt x="913" y="1794"/>
                    </a:lnTo>
                    <a:lnTo>
                      <a:pt x="934" y="1782"/>
                    </a:lnTo>
                    <a:lnTo>
                      <a:pt x="954" y="1768"/>
                    </a:lnTo>
                    <a:lnTo>
                      <a:pt x="975" y="1753"/>
                    </a:lnTo>
                    <a:lnTo>
                      <a:pt x="994" y="1737"/>
                    </a:lnTo>
                    <a:lnTo>
                      <a:pt x="1012" y="1721"/>
                    </a:lnTo>
                    <a:lnTo>
                      <a:pt x="1030" y="1704"/>
                    </a:lnTo>
                    <a:lnTo>
                      <a:pt x="1046" y="1686"/>
                    </a:lnTo>
                    <a:lnTo>
                      <a:pt x="1061" y="1668"/>
                    </a:lnTo>
                    <a:lnTo>
                      <a:pt x="1076" y="1649"/>
                    </a:lnTo>
                    <a:lnTo>
                      <a:pt x="1089" y="1629"/>
                    </a:lnTo>
                    <a:lnTo>
                      <a:pt x="1102" y="1607"/>
                    </a:lnTo>
                    <a:lnTo>
                      <a:pt x="1114" y="1586"/>
                    </a:lnTo>
                    <a:lnTo>
                      <a:pt x="1125" y="1564"/>
                    </a:lnTo>
                    <a:lnTo>
                      <a:pt x="1135" y="1541"/>
                    </a:lnTo>
                    <a:lnTo>
                      <a:pt x="1144" y="1517"/>
                    </a:lnTo>
                    <a:lnTo>
                      <a:pt x="1152" y="1493"/>
                    </a:lnTo>
                    <a:lnTo>
                      <a:pt x="1159" y="1468"/>
                    </a:lnTo>
                    <a:lnTo>
                      <a:pt x="1165" y="1442"/>
                    </a:lnTo>
                    <a:lnTo>
                      <a:pt x="1171" y="1416"/>
                    </a:lnTo>
                    <a:lnTo>
                      <a:pt x="806" y="1310"/>
                    </a:lnTo>
                    <a:lnTo>
                      <a:pt x="802" y="1332"/>
                    </a:lnTo>
                    <a:lnTo>
                      <a:pt x="797" y="1353"/>
                    </a:lnTo>
                    <a:lnTo>
                      <a:pt x="790" y="1372"/>
                    </a:lnTo>
                    <a:lnTo>
                      <a:pt x="782" y="1390"/>
                    </a:lnTo>
                    <a:lnTo>
                      <a:pt x="772" y="1408"/>
                    </a:lnTo>
                    <a:lnTo>
                      <a:pt x="761" y="1423"/>
                    </a:lnTo>
                    <a:lnTo>
                      <a:pt x="748" y="1438"/>
                    </a:lnTo>
                    <a:lnTo>
                      <a:pt x="733" y="1452"/>
                    </a:lnTo>
                    <a:lnTo>
                      <a:pt x="717" y="1464"/>
                    </a:lnTo>
                    <a:lnTo>
                      <a:pt x="701" y="1474"/>
                    </a:lnTo>
                    <a:lnTo>
                      <a:pt x="685" y="1483"/>
                    </a:lnTo>
                    <a:lnTo>
                      <a:pt x="667" y="1490"/>
                    </a:lnTo>
                    <a:lnTo>
                      <a:pt x="650" y="1496"/>
                    </a:lnTo>
                    <a:lnTo>
                      <a:pt x="631" y="1500"/>
                    </a:lnTo>
                    <a:lnTo>
                      <a:pt x="612" y="1502"/>
                    </a:lnTo>
                    <a:lnTo>
                      <a:pt x="593" y="1503"/>
                    </a:lnTo>
                    <a:lnTo>
                      <a:pt x="579" y="1503"/>
                    </a:lnTo>
                    <a:lnTo>
                      <a:pt x="565" y="1502"/>
                    </a:lnTo>
                    <a:lnTo>
                      <a:pt x="552" y="1501"/>
                    </a:lnTo>
                    <a:lnTo>
                      <a:pt x="540" y="1499"/>
                    </a:lnTo>
                    <a:lnTo>
                      <a:pt x="528" y="1497"/>
                    </a:lnTo>
                    <a:lnTo>
                      <a:pt x="517" y="1494"/>
                    </a:lnTo>
                    <a:lnTo>
                      <a:pt x="506" y="1490"/>
                    </a:lnTo>
                    <a:lnTo>
                      <a:pt x="495" y="1486"/>
                    </a:lnTo>
                    <a:lnTo>
                      <a:pt x="485" y="1482"/>
                    </a:lnTo>
                    <a:lnTo>
                      <a:pt x="476" y="1477"/>
                    </a:lnTo>
                    <a:lnTo>
                      <a:pt x="467" y="1471"/>
                    </a:lnTo>
                    <a:lnTo>
                      <a:pt x="459" y="1465"/>
                    </a:lnTo>
                    <a:lnTo>
                      <a:pt x="451" y="1458"/>
                    </a:lnTo>
                    <a:lnTo>
                      <a:pt x="444" y="1451"/>
                    </a:lnTo>
                    <a:lnTo>
                      <a:pt x="438" y="1443"/>
                    </a:lnTo>
                    <a:lnTo>
                      <a:pt x="432" y="1435"/>
                    </a:lnTo>
                    <a:lnTo>
                      <a:pt x="421" y="1417"/>
                    </a:lnTo>
                    <a:lnTo>
                      <a:pt x="411" y="1398"/>
                    </a:lnTo>
                    <a:lnTo>
                      <a:pt x="403" y="1378"/>
                    </a:lnTo>
                    <a:lnTo>
                      <a:pt x="397" y="1357"/>
                    </a:lnTo>
                    <a:lnTo>
                      <a:pt x="392" y="1334"/>
                    </a:lnTo>
                    <a:lnTo>
                      <a:pt x="388" y="1311"/>
                    </a:lnTo>
                    <a:lnTo>
                      <a:pt x="386" y="1285"/>
                    </a:lnTo>
                    <a:lnTo>
                      <a:pt x="385" y="1259"/>
                    </a:lnTo>
                    <a:lnTo>
                      <a:pt x="385" y="575"/>
                    </a:lnTo>
                    <a:lnTo>
                      <a:pt x="386" y="558"/>
                    </a:lnTo>
                    <a:lnTo>
                      <a:pt x="388" y="542"/>
                    </a:lnTo>
                    <a:lnTo>
                      <a:pt x="391" y="525"/>
                    </a:lnTo>
                    <a:lnTo>
                      <a:pt x="396" y="50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58" name="Freeform 9"/>
              <p:cNvSpPr>
                <a:spLocks/>
              </p:cNvSpPr>
              <p:nvPr/>
            </p:nvSpPr>
            <p:spPr bwMode="auto">
              <a:xfrm>
                <a:off x="1239875" y="260485"/>
                <a:ext cx="111366" cy="190560"/>
              </a:xfrm>
              <a:custGeom>
                <a:avLst/>
                <a:gdLst>
                  <a:gd name="T0" fmla="*/ 0 w 1075"/>
                  <a:gd name="T1" fmla="*/ 1845 h 1845"/>
                  <a:gd name="T2" fmla="*/ 1075 w 1075"/>
                  <a:gd name="T3" fmla="*/ 1845 h 1845"/>
                  <a:gd name="T4" fmla="*/ 1075 w 1075"/>
                  <a:gd name="T5" fmla="*/ 1482 h 1845"/>
                  <a:gd name="T6" fmla="*/ 385 w 1075"/>
                  <a:gd name="T7" fmla="*/ 1482 h 1845"/>
                  <a:gd name="T8" fmla="*/ 385 w 1075"/>
                  <a:gd name="T9" fmla="*/ 1090 h 1845"/>
                  <a:gd name="T10" fmla="*/ 979 w 1075"/>
                  <a:gd name="T11" fmla="*/ 1090 h 1845"/>
                  <a:gd name="T12" fmla="*/ 979 w 1075"/>
                  <a:gd name="T13" fmla="*/ 737 h 1845"/>
                  <a:gd name="T14" fmla="*/ 385 w 1075"/>
                  <a:gd name="T15" fmla="*/ 737 h 1845"/>
                  <a:gd name="T16" fmla="*/ 385 w 1075"/>
                  <a:gd name="T17" fmla="*/ 355 h 1845"/>
                  <a:gd name="T18" fmla="*/ 1075 w 1075"/>
                  <a:gd name="T19" fmla="*/ 355 h 1845"/>
                  <a:gd name="T20" fmla="*/ 1075 w 1075"/>
                  <a:gd name="T21" fmla="*/ 0 h 1845"/>
                  <a:gd name="T22" fmla="*/ 0 w 1075"/>
                  <a:gd name="T23" fmla="*/ 0 h 1845"/>
                  <a:gd name="T24" fmla="*/ 0 w 1075"/>
                  <a:gd name="T25" fmla="*/ 1845 h 1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75" h="1845">
                    <a:moveTo>
                      <a:pt x="0" y="1845"/>
                    </a:moveTo>
                    <a:lnTo>
                      <a:pt x="1075" y="1845"/>
                    </a:lnTo>
                    <a:lnTo>
                      <a:pt x="1075" y="1482"/>
                    </a:lnTo>
                    <a:lnTo>
                      <a:pt x="385" y="1482"/>
                    </a:lnTo>
                    <a:lnTo>
                      <a:pt x="385" y="1090"/>
                    </a:lnTo>
                    <a:lnTo>
                      <a:pt x="979" y="1090"/>
                    </a:lnTo>
                    <a:lnTo>
                      <a:pt x="979" y="737"/>
                    </a:lnTo>
                    <a:lnTo>
                      <a:pt x="385" y="737"/>
                    </a:lnTo>
                    <a:lnTo>
                      <a:pt x="385" y="355"/>
                    </a:lnTo>
                    <a:lnTo>
                      <a:pt x="1075" y="355"/>
                    </a:lnTo>
                    <a:lnTo>
                      <a:pt x="1075" y="0"/>
                    </a:lnTo>
                    <a:lnTo>
                      <a:pt x="0" y="0"/>
                    </a:lnTo>
                    <a:lnTo>
                      <a:pt x="0" y="18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59" name="Freeform 10"/>
              <p:cNvSpPr>
                <a:spLocks/>
              </p:cNvSpPr>
              <p:nvPr/>
            </p:nvSpPr>
            <p:spPr bwMode="auto">
              <a:xfrm>
                <a:off x="1373515" y="260485"/>
                <a:ext cx="121265" cy="190560"/>
              </a:xfrm>
              <a:custGeom>
                <a:avLst/>
                <a:gdLst>
                  <a:gd name="T0" fmla="*/ 0 w 1174"/>
                  <a:gd name="T1" fmla="*/ 350 h 1845"/>
                  <a:gd name="T2" fmla="*/ 396 w 1174"/>
                  <a:gd name="T3" fmla="*/ 350 h 1845"/>
                  <a:gd name="T4" fmla="*/ 396 w 1174"/>
                  <a:gd name="T5" fmla="*/ 1845 h 1845"/>
                  <a:gd name="T6" fmla="*/ 779 w 1174"/>
                  <a:gd name="T7" fmla="*/ 1845 h 1845"/>
                  <a:gd name="T8" fmla="*/ 779 w 1174"/>
                  <a:gd name="T9" fmla="*/ 350 h 1845"/>
                  <a:gd name="T10" fmla="*/ 1174 w 1174"/>
                  <a:gd name="T11" fmla="*/ 350 h 1845"/>
                  <a:gd name="T12" fmla="*/ 1174 w 1174"/>
                  <a:gd name="T13" fmla="*/ 0 h 1845"/>
                  <a:gd name="T14" fmla="*/ 0 w 1174"/>
                  <a:gd name="T15" fmla="*/ 0 h 1845"/>
                  <a:gd name="T16" fmla="*/ 0 w 1174"/>
                  <a:gd name="T17" fmla="*/ 350 h 1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74" h="1845">
                    <a:moveTo>
                      <a:pt x="0" y="350"/>
                    </a:moveTo>
                    <a:lnTo>
                      <a:pt x="396" y="350"/>
                    </a:lnTo>
                    <a:lnTo>
                      <a:pt x="396" y="1845"/>
                    </a:lnTo>
                    <a:lnTo>
                      <a:pt x="779" y="1845"/>
                    </a:lnTo>
                    <a:lnTo>
                      <a:pt x="779" y="350"/>
                    </a:lnTo>
                    <a:lnTo>
                      <a:pt x="1174" y="350"/>
                    </a:lnTo>
                    <a:lnTo>
                      <a:pt x="1174" y="0"/>
                    </a:lnTo>
                    <a:lnTo>
                      <a:pt x="0" y="0"/>
                    </a:lnTo>
                    <a:lnTo>
                      <a:pt x="0" y="3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60" name="Freeform 11"/>
              <p:cNvSpPr>
                <a:spLocks/>
              </p:cNvSpPr>
              <p:nvPr/>
            </p:nvSpPr>
            <p:spPr bwMode="auto">
              <a:xfrm>
                <a:off x="1526952" y="260485"/>
                <a:ext cx="129927" cy="190560"/>
              </a:xfrm>
              <a:custGeom>
                <a:avLst/>
                <a:gdLst>
                  <a:gd name="T0" fmla="*/ 917 w 1264"/>
                  <a:gd name="T1" fmla="*/ 0 h 1845"/>
                  <a:gd name="T2" fmla="*/ 388 w 1264"/>
                  <a:gd name="T3" fmla="*/ 1072 h 1845"/>
                  <a:gd name="T4" fmla="*/ 382 w 1264"/>
                  <a:gd name="T5" fmla="*/ 1072 h 1845"/>
                  <a:gd name="T6" fmla="*/ 382 w 1264"/>
                  <a:gd name="T7" fmla="*/ 0 h 1845"/>
                  <a:gd name="T8" fmla="*/ 0 w 1264"/>
                  <a:gd name="T9" fmla="*/ 0 h 1845"/>
                  <a:gd name="T10" fmla="*/ 0 w 1264"/>
                  <a:gd name="T11" fmla="*/ 1845 h 1845"/>
                  <a:gd name="T12" fmla="*/ 361 w 1264"/>
                  <a:gd name="T13" fmla="*/ 1845 h 1845"/>
                  <a:gd name="T14" fmla="*/ 876 w 1264"/>
                  <a:gd name="T15" fmla="*/ 841 h 1845"/>
                  <a:gd name="T16" fmla="*/ 878 w 1264"/>
                  <a:gd name="T17" fmla="*/ 841 h 1845"/>
                  <a:gd name="T18" fmla="*/ 878 w 1264"/>
                  <a:gd name="T19" fmla="*/ 1845 h 1845"/>
                  <a:gd name="T20" fmla="*/ 1264 w 1264"/>
                  <a:gd name="T21" fmla="*/ 1845 h 1845"/>
                  <a:gd name="T22" fmla="*/ 1264 w 1264"/>
                  <a:gd name="T23" fmla="*/ 0 h 1845"/>
                  <a:gd name="T24" fmla="*/ 917 w 1264"/>
                  <a:gd name="T25" fmla="*/ 0 h 1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64" h="1845">
                    <a:moveTo>
                      <a:pt x="917" y="0"/>
                    </a:moveTo>
                    <a:lnTo>
                      <a:pt x="388" y="1072"/>
                    </a:lnTo>
                    <a:lnTo>
                      <a:pt x="382" y="1072"/>
                    </a:lnTo>
                    <a:lnTo>
                      <a:pt x="382" y="0"/>
                    </a:lnTo>
                    <a:lnTo>
                      <a:pt x="0" y="0"/>
                    </a:lnTo>
                    <a:lnTo>
                      <a:pt x="0" y="1845"/>
                    </a:lnTo>
                    <a:lnTo>
                      <a:pt x="361" y="1845"/>
                    </a:lnTo>
                    <a:lnTo>
                      <a:pt x="876" y="841"/>
                    </a:lnTo>
                    <a:lnTo>
                      <a:pt x="878" y="841"/>
                    </a:lnTo>
                    <a:lnTo>
                      <a:pt x="878" y="1845"/>
                    </a:lnTo>
                    <a:lnTo>
                      <a:pt x="1264" y="1845"/>
                    </a:lnTo>
                    <a:lnTo>
                      <a:pt x="1264" y="0"/>
                    </a:lnTo>
                    <a:lnTo>
                      <a:pt x="9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</p:grpSp>
        <p:grpSp>
          <p:nvGrpSpPr>
            <p:cNvPr id="29" name="Группа 28"/>
            <p:cNvGrpSpPr/>
            <p:nvPr userDrawn="1"/>
          </p:nvGrpSpPr>
          <p:grpSpPr>
            <a:xfrm>
              <a:off x="0" y="687388"/>
              <a:ext cx="407368" cy="406401"/>
              <a:chOff x="0" y="167680"/>
              <a:chExt cx="520945" cy="519708"/>
            </a:xfrm>
            <a:grpFill/>
          </p:grpSpPr>
          <p:sp>
            <p:nvSpPr>
              <p:cNvPr id="30" name="Freeform 12"/>
              <p:cNvSpPr>
                <a:spLocks/>
              </p:cNvSpPr>
              <p:nvPr/>
            </p:nvSpPr>
            <p:spPr bwMode="auto">
              <a:xfrm>
                <a:off x="160862" y="323592"/>
                <a:ext cx="196746" cy="363796"/>
              </a:xfrm>
              <a:custGeom>
                <a:avLst/>
                <a:gdLst>
                  <a:gd name="T0" fmla="*/ 1471 w 1903"/>
                  <a:gd name="T1" fmla="*/ 0 h 3523"/>
                  <a:gd name="T2" fmla="*/ 0 w 1903"/>
                  <a:gd name="T3" fmla="*/ 3334 h 3523"/>
                  <a:gd name="T4" fmla="*/ 56 w 1903"/>
                  <a:gd name="T5" fmla="*/ 3357 h 3523"/>
                  <a:gd name="T6" fmla="*/ 112 w 1903"/>
                  <a:gd name="T7" fmla="*/ 3377 h 3523"/>
                  <a:gd name="T8" fmla="*/ 169 w 1903"/>
                  <a:gd name="T9" fmla="*/ 3397 h 3523"/>
                  <a:gd name="T10" fmla="*/ 227 w 1903"/>
                  <a:gd name="T11" fmla="*/ 3415 h 3523"/>
                  <a:gd name="T12" fmla="*/ 286 w 1903"/>
                  <a:gd name="T13" fmla="*/ 3432 h 3523"/>
                  <a:gd name="T14" fmla="*/ 344 w 1903"/>
                  <a:gd name="T15" fmla="*/ 3447 h 3523"/>
                  <a:gd name="T16" fmla="*/ 403 w 1903"/>
                  <a:gd name="T17" fmla="*/ 3461 h 3523"/>
                  <a:gd name="T18" fmla="*/ 464 w 1903"/>
                  <a:gd name="T19" fmla="*/ 3474 h 3523"/>
                  <a:gd name="T20" fmla="*/ 524 w 1903"/>
                  <a:gd name="T21" fmla="*/ 3485 h 3523"/>
                  <a:gd name="T22" fmla="*/ 585 w 1903"/>
                  <a:gd name="T23" fmla="*/ 3495 h 3523"/>
                  <a:gd name="T24" fmla="*/ 646 w 1903"/>
                  <a:gd name="T25" fmla="*/ 3504 h 3523"/>
                  <a:gd name="T26" fmla="*/ 709 w 1903"/>
                  <a:gd name="T27" fmla="*/ 3511 h 3523"/>
                  <a:gd name="T28" fmla="*/ 771 w 1903"/>
                  <a:gd name="T29" fmla="*/ 3516 h 3523"/>
                  <a:gd name="T30" fmla="*/ 834 w 1903"/>
                  <a:gd name="T31" fmla="*/ 3520 h 3523"/>
                  <a:gd name="T32" fmla="*/ 897 w 1903"/>
                  <a:gd name="T33" fmla="*/ 3522 h 3523"/>
                  <a:gd name="T34" fmla="*/ 962 w 1903"/>
                  <a:gd name="T35" fmla="*/ 3523 h 3523"/>
                  <a:gd name="T36" fmla="*/ 1024 w 1903"/>
                  <a:gd name="T37" fmla="*/ 3522 h 3523"/>
                  <a:gd name="T38" fmla="*/ 1085 w 1903"/>
                  <a:gd name="T39" fmla="*/ 3520 h 3523"/>
                  <a:gd name="T40" fmla="*/ 1146 w 1903"/>
                  <a:gd name="T41" fmla="*/ 3516 h 3523"/>
                  <a:gd name="T42" fmla="*/ 1208 w 1903"/>
                  <a:gd name="T43" fmla="*/ 3511 h 3523"/>
                  <a:gd name="T44" fmla="*/ 1268 w 1903"/>
                  <a:gd name="T45" fmla="*/ 3504 h 3523"/>
                  <a:gd name="T46" fmla="*/ 1328 w 1903"/>
                  <a:gd name="T47" fmla="*/ 3496 h 3523"/>
                  <a:gd name="T48" fmla="*/ 1388 w 1903"/>
                  <a:gd name="T49" fmla="*/ 3487 h 3523"/>
                  <a:gd name="T50" fmla="*/ 1448 w 1903"/>
                  <a:gd name="T51" fmla="*/ 3476 h 3523"/>
                  <a:gd name="T52" fmla="*/ 1506 w 1903"/>
                  <a:gd name="T53" fmla="*/ 3464 h 3523"/>
                  <a:gd name="T54" fmla="*/ 1564 w 1903"/>
                  <a:gd name="T55" fmla="*/ 3450 h 3523"/>
                  <a:gd name="T56" fmla="*/ 1622 w 1903"/>
                  <a:gd name="T57" fmla="*/ 3435 h 3523"/>
                  <a:gd name="T58" fmla="*/ 1680 w 1903"/>
                  <a:gd name="T59" fmla="*/ 3419 h 3523"/>
                  <a:gd name="T60" fmla="*/ 1736 w 1903"/>
                  <a:gd name="T61" fmla="*/ 3402 h 3523"/>
                  <a:gd name="T62" fmla="*/ 1792 w 1903"/>
                  <a:gd name="T63" fmla="*/ 3383 h 3523"/>
                  <a:gd name="T64" fmla="*/ 1847 w 1903"/>
                  <a:gd name="T65" fmla="*/ 3363 h 3523"/>
                  <a:gd name="T66" fmla="*/ 1903 w 1903"/>
                  <a:gd name="T67" fmla="*/ 3340 h 3523"/>
                  <a:gd name="T68" fmla="*/ 1537 w 1903"/>
                  <a:gd name="T69" fmla="*/ 10 h 3523"/>
                  <a:gd name="T70" fmla="*/ 1520 w 1903"/>
                  <a:gd name="T71" fmla="*/ 8 h 3523"/>
                  <a:gd name="T72" fmla="*/ 1503 w 1903"/>
                  <a:gd name="T73" fmla="*/ 6 h 3523"/>
                  <a:gd name="T74" fmla="*/ 1487 w 1903"/>
                  <a:gd name="T75" fmla="*/ 4 h 3523"/>
                  <a:gd name="T76" fmla="*/ 1471 w 1903"/>
                  <a:gd name="T77" fmla="*/ 0 h 35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903" h="3523">
                    <a:moveTo>
                      <a:pt x="1471" y="0"/>
                    </a:moveTo>
                    <a:lnTo>
                      <a:pt x="0" y="3334"/>
                    </a:lnTo>
                    <a:lnTo>
                      <a:pt x="56" y="3357"/>
                    </a:lnTo>
                    <a:lnTo>
                      <a:pt x="112" y="3377"/>
                    </a:lnTo>
                    <a:lnTo>
                      <a:pt x="169" y="3397"/>
                    </a:lnTo>
                    <a:lnTo>
                      <a:pt x="227" y="3415"/>
                    </a:lnTo>
                    <a:lnTo>
                      <a:pt x="286" y="3432"/>
                    </a:lnTo>
                    <a:lnTo>
                      <a:pt x="344" y="3447"/>
                    </a:lnTo>
                    <a:lnTo>
                      <a:pt x="403" y="3461"/>
                    </a:lnTo>
                    <a:lnTo>
                      <a:pt x="464" y="3474"/>
                    </a:lnTo>
                    <a:lnTo>
                      <a:pt x="524" y="3485"/>
                    </a:lnTo>
                    <a:lnTo>
                      <a:pt x="585" y="3495"/>
                    </a:lnTo>
                    <a:lnTo>
                      <a:pt x="646" y="3504"/>
                    </a:lnTo>
                    <a:lnTo>
                      <a:pt x="709" y="3511"/>
                    </a:lnTo>
                    <a:lnTo>
                      <a:pt x="771" y="3516"/>
                    </a:lnTo>
                    <a:lnTo>
                      <a:pt x="834" y="3520"/>
                    </a:lnTo>
                    <a:lnTo>
                      <a:pt x="897" y="3522"/>
                    </a:lnTo>
                    <a:lnTo>
                      <a:pt x="962" y="3523"/>
                    </a:lnTo>
                    <a:lnTo>
                      <a:pt x="1024" y="3522"/>
                    </a:lnTo>
                    <a:lnTo>
                      <a:pt x="1085" y="3520"/>
                    </a:lnTo>
                    <a:lnTo>
                      <a:pt x="1146" y="3516"/>
                    </a:lnTo>
                    <a:lnTo>
                      <a:pt x="1208" y="3511"/>
                    </a:lnTo>
                    <a:lnTo>
                      <a:pt x="1268" y="3504"/>
                    </a:lnTo>
                    <a:lnTo>
                      <a:pt x="1328" y="3496"/>
                    </a:lnTo>
                    <a:lnTo>
                      <a:pt x="1388" y="3487"/>
                    </a:lnTo>
                    <a:lnTo>
                      <a:pt x="1448" y="3476"/>
                    </a:lnTo>
                    <a:lnTo>
                      <a:pt x="1506" y="3464"/>
                    </a:lnTo>
                    <a:lnTo>
                      <a:pt x="1564" y="3450"/>
                    </a:lnTo>
                    <a:lnTo>
                      <a:pt x="1622" y="3435"/>
                    </a:lnTo>
                    <a:lnTo>
                      <a:pt x="1680" y="3419"/>
                    </a:lnTo>
                    <a:lnTo>
                      <a:pt x="1736" y="3402"/>
                    </a:lnTo>
                    <a:lnTo>
                      <a:pt x="1792" y="3383"/>
                    </a:lnTo>
                    <a:lnTo>
                      <a:pt x="1847" y="3363"/>
                    </a:lnTo>
                    <a:lnTo>
                      <a:pt x="1903" y="3340"/>
                    </a:lnTo>
                    <a:lnTo>
                      <a:pt x="1537" y="10"/>
                    </a:lnTo>
                    <a:lnTo>
                      <a:pt x="1520" y="8"/>
                    </a:lnTo>
                    <a:lnTo>
                      <a:pt x="1503" y="6"/>
                    </a:lnTo>
                    <a:lnTo>
                      <a:pt x="1487" y="4"/>
                    </a:lnTo>
                    <a:lnTo>
                      <a:pt x="147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31" name="Freeform 13"/>
              <p:cNvSpPr>
                <a:spLocks/>
              </p:cNvSpPr>
              <p:nvPr/>
            </p:nvSpPr>
            <p:spPr bwMode="auto">
              <a:xfrm>
                <a:off x="11136" y="313693"/>
                <a:ext cx="289552" cy="341522"/>
              </a:xfrm>
              <a:custGeom>
                <a:avLst/>
                <a:gdLst>
                  <a:gd name="T0" fmla="*/ 2765 w 2816"/>
                  <a:gd name="T1" fmla="*/ 0 h 3305"/>
                  <a:gd name="T2" fmla="*/ 0 w 2816"/>
                  <a:gd name="T3" fmla="*/ 1820 h 3305"/>
                  <a:gd name="T4" fmla="*/ 19 w 2816"/>
                  <a:gd name="T5" fmla="*/ 1879 h 3305"/>
                  <a:gd name="T6" fmla="*/ 39 w 2816"/>
                  <a:gd name="T7" fmla="*/ 1938 h 3305"/>
                  <a:gd name="T8" fmla="*/ 60 w 2816"/>
                  <a:gd name="T9" fmla="*/ 1996 h 3305"/>
                  <a:gd name="T10" fmla="*/ 83 w 2816"/>
                  <a:gd name="T11" fmla="*/ 2053 h 3305"/>
                  <a:gd name="T12" fmla="*/ 107 w 2816"/>
                  <a:gd name="T13" fmla="*/ 2109 h 3305"/>
                  <a:gd name="T14" fmla="*/ 132 w 2816"/>
                  <a:gd name="T15" fmla="*/ 2166 h 3305"/>
                  <a:gd name="T16" fmla="*/ 159 w 2816"/>
                  <a:gd name="T17" fmla="*/ 2221 h 3305"/>
                  <a:gd name="T18" fmla="*/ 186 w 2816"/>
                  <a:gd name="T19" fmla="*/ 2276 h 3305"/>
                  <a:gd name="T20" fmla="*/ 215 w 2816"/>
                  <a:gd name="T21" fmla="*/ 2329 h 3305"/>
                  <a:gd name="T22" fmla="*/ 246 w 2816"/>
                  <a:gd name="T23" fmla="*/ 2382 h 3305"/>
                  <a:gd name="T24" fmla="*/ 278 w 2816"/>
                  <a:gd name="T25" fmla="*/ 2434 h 3305"/>
                  <a:gd name="T26" fmla="*/ 311 w 2816"/>
                  <a:gd name="T27" fmla="*/ 2486 h 3305"/>
                  <a:gd name="T28" fmla="*/ 345 w 2816"/>
                  <a:gd name="T29" fmla="*/ 2536 h 3305"/>
                  <a:gd name="T30" fmla="*/ 380 w 2816"/>
                  <a:gd name="T31" fmla="*/ 2586 h 3305"/>
                  <a:gd name="T32" fmla="*/ 417 w 2816"/>
                  <a:gd name="T33" fmla="*/ 2634 h 3305"/>
                  <a:gd name="T34" fmla="*/ 454 w 2816"/>
                  <a:gd name="T35" fmla="*/ 2682 h 3305"/>
                  <a:gd name="T36" fmla="*/ 494 w 2816"/>
                  <a:gd name="T37" fmla="*/ 2728 h 3305"/>
                  <a:gd name="T38" fmla="*/ 533 w 2816"/>
                  <a:gd name="T39" fmla="*/ 2774 h 3305"/>
                  <a:gd name="T40" fmla="*/ 574 w 2816"/>
                  <a:gd name="T41" fmla="*/ 2820 h 3305"/>
                  <a:gd name="T42" fmla="*/ 616 w 2816"/>
                  <a:gd name="T43" fmla="*/ 2864 h 3305"/>
                  <a:gd name="T44" fmla="*/ 658 w 2816"/>
                  <a:gd name="T45" fmla="*/ 2906 h 3305"/>
                  <a:gd name="T46" fmla="*/ 702 w 2816"/>
                  <a:gd name="T47" fmla="*/ 2948 h 3305"/>
                  <a:gd name="T48" fmla="*/ 748 w 2816"/>
                  <a:gd name="T49" fmla="*/ 2989 h 3305"/>
                  <a:gd name="T50" fmla="*/ 794 w 2816"/>
                  <a:gd name="T51" fmla="*/ 3028 h 3305"/>
                  <a:gd name="T52" fmla="*/ 840 w 2816"/>
                  <a:gd name="T53" fmla="*/ 3067 h 3305"/>
                  <a:gd name="T54" fmla="*/ 888 w 2816"/>
                  <a:gd name="T55" fmla="*/ 3104 h 3305"/>
                  <a:gd name="T56" fmla="*/ 936 w 2816"/>
                  <a:gd name="T57" fmla="*/ 3141 h 3305"/>
                  <a:gd name="T58" fmla="*/ 987 w 2816"/>
                  <a:gd name="T59" fmla="*/ 3176 h 3305"/>
                  <a:gd name="T60" fmla="*/ 1037 w 2816"/>
                  <a:gd name="T61" fmla="*/ 3210 h 3305"/>
                  <a:gd name="T62" fmla="*/ 1088 w 2816"/>
                  <a:gd name="T63" fmla="*/ 3243 h 3305"/>
                  <a:gd name="T64" fmla="*/ 1140 w 2816"/>
                  <a:gd name="T65" fmla="*/ 3274 h 3305"/>
                  <a:gd name="T66" fmla="*/ 1193 w 2816"/>
                  <a:gd name="T67" fmla="*/ 3305 h 3305"/>
                  <a:gd name="T68" fmla="*/ 2816 w 2816"/>
                  <a:gd name="T69" fmla="*/ 46 h 3305"/>
                  <a:gd name="T70" fmla="*/ 2802 w 2816"/>
                  <a:gd name="T71" fmla="*/ 35 h 3305"/>
                  <a:gd name="T72" fmla="*/ 2789 w 2816"/>
                  <a:gd name="T73" fmla="*/ 24 h 3305"/>
                  <a:gd name="T74" fmla="*/ 2777 w 2816"/>
                  <a:gd name="T75" fmla="*/ 12 h 3305"/>
                  <a:gd name="T76" fmla="*/ 2765 w 2816"/>
                  <a:gd name="T77" fmla="*/ 0 h 3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16" h="3305">
                    <a:moveTo>
                      <a:pt x="2765" y="0"/>
                    </a:moveTo>
                    <a:lnTo>
                      <a:pt x="0" y="1820"/>
                    </a:lnTo>
                    <a:lnTo>
                      <a:pt x="19" y="1879"/>
                    </a:lnTo>
                    <a:lnTo>
                      <a:pt x="39" y="1938"/>
                    </a:lnTo>
                    <a:lnTo>
                      <a:pt x="60" y="1996"/>
                    </a:lnTo>
                    <a:lnTo>
                      <a:pt x="83" y="2053"/>
                    </a:lnTo>
                    <a:lnTo>
                      <a:pt x="107" y="2109"/>
                    </a:lnTo>
                    <a:lnTo>
                      <a:pt x="132" y="2166"/>
                    </a:lnTo>
                    <a:lnTo>
                      <a:pt x="159" y="2221"/>
                    </a:lnTo>
                    <a:lnTo>
                      <a:pt x="186" y="2276"/>
                    </a:lnTo>
                    <a:lnTo>
                      <a:pt x="215" y="2329"/>
                    </a:lnTo>
                    <a:lnTo>
                      <a:pt x="246" y="2382"/>
                    </a:lnTo>
                    <a:lnTo>
                      <a:pt x="278" y="2434"/>
                    </a:lnTo>
                    <a:lnTo>
                      <a:pt x="311" y="2486"/>
                    </a:lnTo>
                    <a:lnTo>
                      <a:pt x="345" y="2536"/>
                    </a:lnTo>
                    <a:lnTo>
                      <a:pt x="380" y="2586"/>
                    </a:lnTo>
                    <a:lnTo>
                      <a:pt x="417" y="2634"/>
                    </a:lnTo>
                    <a:lnTo>
                      <a:pt x="454" y="2682"/>
                    </a:lnTo>
                    <a:lnTo>
                      <a:pt x="494" y="2728"/>
                    </a:lnTo>
                    <a:lnTo>
                      <a:pt x="533" y="2774"/>
                    </a:lnTo>
                    <a:lnTo>
                      <a:pt x="574" y="2820"/>
                    </a:lnTo>
                    <a:lnTo>
                      <a:pt x="616" y="2864"/>
                    </a:lnTo>
                    <a:lnTo>
                      <a:pt x="658" y="2906"/>
                    </a:lnTo>
                    <a:lnTo>
                      <a:pt x="702" y="2948"/>
                    </a:lnTo>
                    <a:lnTo>
                      <a:pt x="748" y="2989"/>
                    </a:lnTo>
                    <a:lnTo>
                      <a:pt x="794" y="3028"/>
                    </a:lnTo>
                    <a:lnTo>
                      <a:pt x="840" y="3067"/>
                    </a:lnTo>
                    <a:lnTo>
                      <a:pt x="888" y="3104"/>
                    </a:lnTo>
                    <a:lnTo>
                      <a:pt x="936" y="3141"/>
                    </a:lnTo>
                    <a:lnTo>
                      <a:pt x="987" y="3176"/>
                    </a:lnTo>
                    <a:lnTo>
                      <a:pt x="1037" y="3210"/>
                    </a:lnTo>
                    <a:lnTo>
                      <a:pt x="1088" y="3243"/>
                    </a:lnTo>
                    <a:lnTo>
                      <a:pt x="1140" y="3274"/>
                    </a:lnTo>
                    <a:lnTo>
                      <a:pt x="1193" y="3305"/>
                    </a:lnTo>
                    <a:lnTo>
                      <a:pt x="2816" y="46"/>
                    </a:lnTo>
                    <a:lnTo>
                      <a:pt x="2802" y="35"/>
                    </a:lnTo>
                    <a:lnTo>
                      <a:pt x="2789" y="24"/>
                    </a:lnTo>
                    <a:lnTo>
                      <a:pt x="2777" y="12"/>
                    </a:lnTo>
                    <a:lnTo>
                      <a:pt x="276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32" name="Freeform 14"/>
              <p:cNvSpPr>
                <a:spLocks/>
              </p:cNvSpPr>
              <p:nvPr/>
            </p:nvSpPr>
            <p:spPr bwMode="auto">
              <a:xfrm>
                <a:off x="332860" y="319881"/>
                <a:ext cx="176948" cy="335336"/>
              </a:xfrm>
              <a:custGeom>
                <a:avLst/>
                <a:gdLst>
                  <a:gd name="T0" fmla="*/ 0 w 1719"/>
                  <a:gd name="T1" fmla="*/ 38 h 3256"/>
                  <a:gd name="T2" fmla="*/ 517 w 1719"/>
                  <a:gd name="T3" fmla="*/ 3256 h 3256"/>
                  <a:gd name="T4" fmla="*/ 571 w 1719"/>
                  <a:gd name="T5" fmla="*/ 3226 h 3256"/>
                  <a:gd name="T6" fmla="*/ 623 w 1719"/>
                  <a:gd name="T7" fmla="*/ 3194 h 3256"/>
                  <a:gd name="T8" fmla="*/ 676 w 1719"/>
                  <a:gd name="T9" fmla="*/ 3161 h 3256"/>
                  <a:gd name="T10" fmla="*/ 726 w 1719"/>
                  <a:gd name="T11" fmla="*/ 3127 h 3256"/>
                  <a:gd name="T12" fmla="*/ 776 w 1719"/>
                  <a:gd name="T13" fmla="*/ 3092 h 3256"/>
                  <a:gd name="T14" fmla="*/ 825 w 1719"/>
                  <a:gd name="T15" fmla="*/ 3054 h 3256"/>
                  <a:gd name="T16" fmla="*/ 873 w 1719"/>
                  <a:gd name="T17" fmla="*/ 3017 h 3256"/>
                  <a:gd name="T18" fmla="*/ 921 w 1719"/>
                  <a:gd name="T19" fmla="*/ 2978 h 3256"/>
                  <a:gd name="T20" fmla="*/ 967 w 1719"/>
                  <a:gd name="T21" fmla="*/ 2938 h 3256"/>
                  <a:gd name="T22" fmla="*/ 1013 w 1719"/>
                  <a:gd name="T23" fmla="*/ 2898 h 3256"/>
                  <a:gd name="T24" fmla="*/ 1057 w 1719"/>
                  <a:gd name="T25" fmla="*/ 2856 h 3256"/>
                  <a:gd name="T26" fmla="*/ 1100 w 1719"/>
                  <a:gd name="T27" fmla="*/ 2813 h 3256"/>
                  <a:gd name="T28" fmla="*/ 1142 w 1719"/>
                  <a:gd name="T29" fmla="*/ 2769 h 3256"/>
                  <a:gd name="T30" fmla="*/ 1184 w 1719"/>
                  <a:gd name="T31" fmla="*/ 2723 h 3256"/>
                  <a:gd name="T32" fmla="*/ 1224 w 1719"/>
                  <a:gd name="T33" fmla="*/ 2676 h 3256"/>
                  <a:gd name="T34" fmla="*/ 1263 w 1719"/>
                  <a:gd name="T35" fmla="*/ 2630 h 3256"/>
                  <a:gd name="T36" fmla="*/ 1300 w 1719"/>
                  <a:gd name="T37" fmla="*/ 2582 h 3256"/>
                  <a:gd name="T38" fmla="*/ 1337 w 1719"/>
                  <a:gd name="T39" fmla="*/ 2533 h 3256"/>
                  <a:gd name="T40" fmla="*/ 1372 w 1719"/>
                  <a:gd name="T41" fmla="*/ 2483 h 3256"/>
                  <a:gd name="T42" fmla="*/ 1408 w 1719"/>
                  <a:gd name="T43" fmla="*/ 2432 h 3256"/>
                  <a:gd name="T44" fmla="*/ 1441 w 1719"/>
                  <a:gd name="T45" fmla="*/ 2380 h 3256"/>
                  <a:gd name="T46" fmla="*/ 1472 w 1719"/>
                  <a:gd name="T47" fmla="*/ 2327 h 3256"/>
                  <a:gd name="T48" fmla="*/ 1503 w 1719"/>
                  <a:gd name="T49" fmla="*/ 2274 h 3256"/>
                  <a:gd name="T50" fmla="*/ 1532 w 1719"/>
                  <a:gd name="T51" fmla="*/ 2220 h 3256"/>
                  <a:gd name="T52" fmla="*/ 1560 w 1719"/>
                  <a:gd name="T53" fmla="*/ 2165 h 3256"/>
                  <a:gd name="T54" fmla="*/ 1587 w 1719"/>
                  <a:gd name="T55" fmla="*/ 2110 h 3256"/>
                  <a:gd name="T56" fmla="*/ 1612 w 1719"/>
                  <a:gd name="T57" fmla="*/ 2052 h 3256"/>
                  <a:gd name="T58" fmla="*/ 1637 w 1719"/>
                  <a:gd name="T59" fmla="*/ 1995 h 3256"/>
                  <a:gd name="T60" fmla="*/ 1659 w 1719"/>
                  <a:gd name="T61" fmla="*/ 1938 h 3256"/>
                  <a:gd name="T62" fmla="*/ 1681 w 1719"/>
                  <a:gd name="T63" fmla="*/ 1879 h 3256"/>
                  <a:gd name="T64" fmla="*/ 1700 w 1719"/>
                  <a:gd name="T65" fmla="*/ 1820 h 3256"/>
                  <a:gd name="T66" fmla="*/ 1719 w 1719"/>
                  <a:gd name="T67" fmla="*/ 1760 h 3256"/>
                  <a:gd name="T68" fmla="*/ 81 w 1719"/>
                  <a:gd name="T69" fmla="*/ 0 h 3256"/>
                  <a:gd name="T70" fmla="*/ 62 w 1719"/>
                  <a:gd name="T71" fmla="*/ 11 h 3256"/>
                  <a:gd name="T72" fmla="*/ 42 w 1719"/>
                  <a:gd name="T73" fmla="*/ 22 h 3256"/>
                  <a:gd name="T74" fmla="*/ 21 w 1719"/>
                  <a:gd name="T75" fmla="*/ 31 h 3256"/>
                  <a:gd name="T76" fmla="*/ 0 w 1719"/>
                  <a:gd name="T77" fmla="*/ 38 h 3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719" h="3256">
                    <a:moveTo>
                      <a:pt x="0" y="38"/>
                    </a:moveTo>
                    <a:lnTo>
                      <a:pt x="517" y="3256"/>
                    </a:lnTo>
                    <a:lnTo>
                      <a:pt x="571" y="3226"/>
                    </a:lnTo>
                    <a:lnTo>
                      <a:pt x="623" y="3194"/>
                    </a:lnTo>
                    <a:lnTo>
                      <a:pt x="676" y="3161"/>
                    </a:lnTo>
                    <a:lnTo>
                      <a:pt x="726" y="3127"/>
                    </a:lnTo>
                    <a:lnTo>
                      <a:pt x="776" y="3092"/>
                    </a:lnTo>
                    <a:lnTo>
                      <a:pt x="825" y="3054"/>
                    </a:lnTo>
                    <a:lnTo>
                      <a:pt x="873" y="3017"/>
                    </a:lnTo>
                    <a:lnTo>
                      <a:pt x="921" y="2978"/>
                    </a:lnTo>
                    <a:lnTo>
                      <a:pt x="967" y="2938"/>
                    </a:lnTo>
                    <a:lnTo>
                      <a:pt x="1013" y="2898"/>
                    </a:lnTo>
                    <a:lnTo>
                      <a:pt x="1057" y="2856"/>
                    </a:lnTo>
                    <a:lnTo>
                      <a:pt x="1100" y="2813"/>
                    </a:lnTo>
                    <a:lnTo>
                      <a:pt x="1142" y="2769"/>
                    </a:lnTo>
                    <a:lnTo>
                      <a:pt x="1184" y="2723"/>
                    </a:lnTo>
                    <a:lnTo>
                      <a:pt x="1224" y="2676"/>
                    </a:lnTo>
                    <a:lnTo>
                      <a:pt x="1263" y="2630"/>
                    </a:lnTo>
                    <a:lnTo>
                      <a:pt x="1300" y="2582"/>
                    </a:lnTo>
                    <a:lnTo>
                      <a:pt x="1337" y="2533"/>
                    </a:lnTo>
                    <a:lnTo>
                      <a:pt x="1372" y="2483"/>
                    </a:lnTo>
                    <a:lnTo>
                      <a:pt x="1408" y="2432"/>
                    </a:lnTo>
                    <a:lnTo>
                      <a:pt x="1441" y="2380"/>
                    </a:lnTo>
                    <a:lnTo>
                      <a:pt x="1472" y="2327"/>
                    </a:lnTo>
                    <a:lnTo>
                      <a:pt x="1503" y="2274"/>
                    </a:lnTo>
                    <a:lnTo>
                      <a:pt x="1532" y="2220"/>
                    </a:lnTo>
                    <a:lnTo>
                      <a:pt x="1560" y="2165"/>
                    </a:lnTo>
                    <a:lnTo>
                      <a:pt x="1587" y="2110"/>
                    </a:lnTo>
                    <a:lnTo>
                      <a:pt x="1612" y="2052"/>
                    </a:lnTo>
                    <a:lnTo>
                      <a:pt x="1637" y="1995"/>
                    </a:lnTo>
                    <a:lnTo>
                      <a:pt x="1659" y="1938"/>
                    </a:lnTo>
                    <a:lnTo>
                      <a:pt x="1681" y="1879"/>
                    </a:lnTo>
                    <a:lnTo>
                      <a:pt x="1700" y="1820"/>
                    </a:lnTo>
                    <a:lnTo>
                      <a:pt x="1719" y="1760"/>
                    </a:lnTo>
                    <a:lnTo>
                      <a:pt x="81" y="0"/>
                    </a:lnTo>
                    <a:lnTo>
                      <a:pt x="62" y="11"/>
                    </a:lnTo>
                    <a:lnTo>
                      <a:pt x="42" y="22"/>
                    </a:lnTo>
                    <a:lnTo>
                      <a:pt x="21" y="31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34" name="Freeform 15"/>
              <p:cNvSpPr>
                <a:spLocks/>
              </p:cNvSpPr>
              <p:nvPr/>
            </p:nvSpPr>
            <p:spPr bwMode="auto">
              <a:xfrm>
                <a:off x="66820" y="167680"/>
                <a:ext cx="232631" cy="112604"/>
              </a:xfrm>
              <a:custGeom>
                <a:avLst/>
                <a:gdLst>
                  <a:gd name="T0" fmla="*/ 2261 w 2261"/>
                  <a:gd name="T1" fmla="*/ 923 h 1092"/>
                  <a:gd name="T2" fmla="*/ 1733 w 2261"/>
                  <a:gd name="T3" fmla="*/ 0 h 1092"/>
                  <a:gd name="T4" fmla="*/ 1669 w 2261"/>
                  <a:gd name="T5" fmla="*/ 5 h 1092"/>
                  <a:gd name="T6" fmla="*/ 1605 w 2261"/>
                  <a:gd name="T7" fmla="*/ 11 h 1092"/>
                  <a:gd name="T8" fmla="*/ 1541 w 2261"/>
                  <a:gd name="T9" fmla="*/ 18 h 1092"/>
                  <a:gd name="T10" fmla="*/ 1479 w 2261"/>
                  <a:gd name="T11" fmla="*/ 27 h 1092"/>
                  <a:gd name="T12" fmla="*/ 1417 w 2261"/>
                  <a:gd name="T13" fmla="*/ 38 h 1092"/>
                  <a:gd name="T14" fmla="*/ 1354 w 2261"/>
                  <a:gd name="T15" fmla="*/ 50 h 1092"/>
                  <a:gd name="T16" fmla="*/ 1293 w 2261"/>
                  <a:gd name="T17" fmla="*/ 64 h 1092"/>
                  <a:gd name="T18" fmla="*/ 1233 w 2261"/>
                  <a:gd name="T19" fmla="*/ 79 h 1092"/>
                  <a:gd name="T20" fmla="*/ 1173 w 2261"/>
                  <a:gd name="T21" fmla="*/ 96 h 1092"/>
                  <a:gd name="T22" fmla="*/ 1113 w 2261"/>
                  <a:gd name="T23" fmla="*/ 114 h 1092"/>
                  <a:gd name="T24" fmla="*/ 1054 w 2261"/>
                  <a:gd name="T25" fmla="*/ 133 h 1092"/>
                  <a:gd name="T26" fmla="*/ 996 w 2261"/>
                  <a:gd name="T27" fmla="*/ 154 h 1092"/>
                  <a:gd name="T28" fmla="*/ 939 w 2261"/>
                  <a:gd name="T29" fmla="*/ 177 h 1092"/>
                  <a:gd name="T30" fmla="*/ 881 w 2261"/>
                  <a:gd name="T31" fmla="*/ 201 h 1092"/>
                  <a:gd name="T32" fmla="*/ 826 w 2261"/>
                  <a:gd name="T33" fmla="*/ 226 h 1092"/>
                  <a:gd name="T34" fmla="*/ 770 w 2261"/>
                  <a:gd name="T35" fmla="*/ 252 h 1092"/>
                  <a:gd name="T36" fmla="*/ 716 w 2261"/>
                  <a:gd name="T37" fmla="*/ 280 h 1092"/>
                  <a:gd name="T38" fmla="*/ 662 w 2261"/>
                  <a:gd name="T39" fmla="*/ 308 h 1092"/>
                  <a:gd name="T40" fmla="*/ 609 w 2261"/>
                  <a:gd name="T41" fmla="*/ 338 h 1092"/>
                  <a:gd name="T42" fmla="*/ 557 w 2261"/>
                  <a:gd name="T43" fmla="*/ 370 h 1092"/>
                  <a:gd name="T44" fmla="*/ 505 w 2261"/>
                  <a:gd name="T45" fmla="*/ 402 h 1092"/>
                  <a:gd name="T46" fmla="*/ 455 w 2261"/>
                  <a:gd name="T47" fmla="*/ 436 h 1092"/>
                  <a:gd name="T48" fmla="*/ 405 w 2261"/>
                  <a:gd name="T49" fmla="*/ 471 h 1092"/>
                  <a:gd name="T50" fmla="*/ 356 w 2261"/>
                  <a:gd name="T51" fmla="*/ 507 h 1092"/>
                  <a:gd name="T52" fmla="*/ 308 w 2261"/>
                  <a:gd name="T53" fmla="*/ 545 h 1092"/>
                  <a:gd name="T54" fmla="*/ 261 w 2261"/>
                  <a:gd name="T55" fmla="*/ 583 h 1092"/>
                  <a:gd name="T56" fmla="*/ 216 w 2261"/>
                  <a:gd name="T57" fmla="*/ 622 h 1092"/>
                  <a:gd name="T58" fmla="*/ 170 w 2261"/>
                  <a:gd name="T59" fmla="*/ 663 h 1092"/>
                  <a:gd name="T60" fmla="*/ 126 w 2261"/>
                  <a:gd name="T61" fmla="*/ 704 h 1092"/>
                  <a:gd name="T62" fmla="*/ 83 w 2261"/>
                  <a:gd name="T63" fmla="*/ 746 h 1092"/>
                  <a:gd name="T64" fmla="*/ 41 w 2261"/>
                  <a:gd name="T65" fmla="*/ 790 h 1092"/>
                  <a:gd name="T66" fmla="*/ 0 w 2261"/>
                  <a:gd name="T67" fmla="*/ 834 h 1092"/>
                  <a:gd name="T68" fmla="*/ 2148 w 2261"/>
                  <a:gd name="T69" fmla="*/ 1092 h 1092"/>
                  <a:gd name="T70" fmla="*/ 2152 w 2261"/>
                  <a:gd name="T71" fmla="*/ 1079 h 1092"/>
                  <a:gd name="T72" fmla="*/ 2157 w 2261"/>
                  <a:gd name="T73" fmla="*/ 1067 h 1092"/>
                  <a:gd name="T74" fmla="*/ 2162 w 2261"/>
                  <a:gd name="T75" fmla="*/ 1055 h 1092"/>
                  <a:gd name="T76" fmla="*/ 2167 w 2261"/>
                  <a:gd name="T77" fmla="*/ 1043 h 1092"/>
                  <a:gd name="T78" fmla="*/ 2179 w 2261"/>
                  <a:gd name="T79" fmla="*/ 1020 h 1092"/>
                  <a:gd name="T80" fmla="*/ 2192 w 2261"/>
                  <a:gd name="T81" fmla="*/ 998 h 1092"/>
                  <a:gd name="T82" fmla="*/ 2207 w 2261"/>
                  <a:gd name="T83" fmla="*/ 978 h 1092"/>
                  <a:gd name="T84" fmla="*/ 2223 w 2261"/>
                  <a:gd name="T85" fmla="*/ 958 h 1092"/>
                  <a:gd name="T86" fmla="*/ 2241 w 2261"/>
                  <a:gd name="T87" fmla="*/ 940 h 1092"/>
                  <a:gd name="T88" fmla="*/ 2261 w 2261"/>
                  <a:gd name="T89" fmla="*/ 923 h 10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261" h="1092">
                    <a:moveTo>
                      <a:pt x="2261" y="923"/>
                    </a:moveTo>
                    <a:lnTo>
                      <a:pt x="1733" y="0"/>
                    </a:lnTo>
                    <a:lnTo>
                      <a:pt x="1669" y="5"/>
                    </a:lnTo>
                    <a:lnTo>
                      <a:pt x="1605" y="11"/>
                    </a:lnTo>
                    <a:lnTo>
                      <a:pt x="1541" y="18"/>
                    </a:lnTo>
                    <a:lnTo>
                      <a:pt x="1479" y="27"/>
                    </a:lnTo>
                    <a:lnTo>
                      <a:pt x="1417" y="38"/>
                    </a:lnTo>
                    <a:lnTo>
                      <a:pt x="1354" y="50"/>
                    </a:lnTo>
                    <a:lnTo>
                      <a:pt x="1293" y="64"/>
                    </a:lnTo>
                    <a:lnTo>
                      <a:pt x="1233" y="79"/>
                    </a:lnTo>
                    <a:lnTo>
                      <a:pt x="1173" y="96"/>
                    </a:lnTo>
                    <a:lnTo>
                      <a:pt x="1113" y="114"/>
                    </a:lnTo>
                    <a:lnTo>
                      <a:pt x="1054" y="133"/>
                    </a:lnTo>
                    <a:lnTo>
                      <a:pt x="996" y="154"/>
                    </a:lnTo>
                    <a:lnTo>
                      <a:pt x="939" y="177"/>
                    </a:lnTo>
                    <a:lnTo>
                      <a:pt x="881" y="201"/>
                    </a:lnTo>
                    <a:lnTo>
                      <a:pt x="826" y="226"/>
                    </a:lnTo>
                    <a:lnTo>
                      <a:pt x="770" y="252"/>
                    </a:lnTo>
                    <a:lnTo>
                      <a:pt x="716" y="280"/>
                    </a:lnTo>
                    <a:lnTo>
                      <a:pt x="662" y="308"/>
                    </a:lnTo>
                    <a:lnTo>
                      <a:pt x="609" y="338"/>
                    </a:lnTo>
                    <a:lnTo>
                      <a:pt x="557" y="370"/>
                    </a:lnTo>
                    <a:lnTo>
                      <a:pt x="505" y="402"/>
                    </a:lnTo>
                    <a:lnTo>
                      <a:pt x="455" y="436"/>
                    </a:lnTo>
                    <a:lnTo>
                      <a:pt x="405" y="471"/>
                    </a:lnTo>
                    <a:lnTo>
                      <a:pt x="356" y="507"/>
                    </a:lnTo>
                    <a:lnTo>
                      <a:pt x="308" y="545"/>
                    </a:lnTo>
                    <a:lnTo>
                      <a:pt x="261" y="583"/>
                    </a:lnTo>
                    <a:lnTo>
                      <a:pt x="216" y="622"/>
                    </a:lnTo>
                    <a:lnTo>
                      <a:pt x="170" y="663"/>
                    </a:lnTo>
                    <a:lnTo>
                      <a:pt x="126" y="704"/>
                    </a:lnTo>
                    <a:lnTo>
                      <a:pt x="83" y="746"/>
                    </a:lnTo>
                    <a:lnTo>
                      <a:pt x="41" y="790"/>
                    </a:lnTo>
                    <a:lnTo>
                      <a:pt x="0" y="834"/>
                    </a:lnTo>
                    <a:lnTo>
                      <a:pt x="2148" y="1092"/>
                    </a:lnTo>
                    <a:lnTo>
                      <a:pt x="2152" y="1079"/>
                    </a:lnTo>
                    <a:lnTo>
                      <a:pt x="2157" y="1067"/>
                    </a:lnTo>
                    <a:lnTo>
                      <a:pt x="2162" y="1055"/>
                    </a:lnTo>
                    <a:lnTo>
                      <a:pt x="2167" y="1043"/>
                    </a:lnTo>
                    <a:lnTo>
                      <a:pt x="2179" y="1020"/>
                    </a:lnTo>
                    <a:lnTo>
                      <a:pt x="2192" y="998"/>
                    </a:lnTo>
                    <a:lnTo>
                      <a:pt x="2207" y="978"/>
                    </a:lnTo>
                    <a:lnTo>
                      <a:pt x="2223" y="958"/>
                    </a:lnTo>
                    <a:lnTo>
                      <a:pt x="2241" y="940"/>
                    </a:lnTo>
                    <a:lnTo>
                      <a:pt x="2261" y="9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37" name="Freeform 16"/>
              <p:cNvSpPr>
                <a:spLocks/>
              </p:cNvSpPr>
              <p:nvPr/>
            </p:nvSpPr>
            <p:spPr bwMode="auto">
              <a:xfrm>
                <a:off x="351422" y="277809"/>
                <a:ext cx="169523" cy="189323"/>
              </a:xfrm>
              <a:custGeom>
                <a:avLst/>
                <a:gdLst>
                  <a:gd name="T0" fmla="*/ 58 w 1648"/>
                  <a:gd name="T1" fmla="*/ 136 h 1845"/>
                  <a:gd name="T2" fmla="*/ 56 w 1648"/>
                  <a:gd name="T3" fmla="*/ 160 h 1845"/>
                  <a:gd name="T4" fmla="*/ 53 w 1648"/>
                  <a:gd name="T5" fmla="*/ 184 h 1845"/>
                  <a:gd name="T6" fmla="*/ 48 w 1648"/>
                  <a:gd name="T7" fmla="*/ 207 h 1845"/>
                  <a:gd name="T8" fmla="*/ 41 w 1648"/>
                  <a:gd name="T9" fmla="*/ 230 h 1845"/>
                  <a:gd name="T10" fmla="*/ 33 w 1648"/>
                  <a:gd name="T11" fmla="*/ 252 h 1845"/>
                  <a:gd name="T12" fmla="*/ 23 w 1648"/>
                  <a:gd name="T13" fmla="*/ 273 h 1845"/>
                  <a:gd name="T14" fmla="*/ 12 w 1648"/>
                  <a:gd name="T15" fmla="*/ 293 h 1845"/>
                  <a:gd name="T16" fmla="*/ 0 w 1648"/>
                  <a:gd name="T17" fmla="*/ 313 h 1845"/>
                  <a:gd name="T18" fmla="*/ 1617 w 1648"/>
                  <a:gd name="T19" fmla="*/ 1845 h 1845"/>
                  <a:gd name="T20" fmla="*/ 1624 w 1648"/>
                  <a:gd name="T21" fmla="*/ 1797 h 1845"/>
                  <a:gd name="T22" fmla="*/ 1630 w 1648"/>
                  <a:gd name="T23" fmla="*/ 1748 h 1845"/>
                  <a:gd name="T24" fmla="*/ 1635 w 1648"/>
                  <a:gd name="T25" fmla="*/ 1700 h 1845"/>
                  <a:gd name="T26" fmla="*/ 1640 w 1648"/>
                  <a:gd name="T27" fmla="*/ 1651 h 1845"/>
                  <a:gd name="T28" fmla="*/ 1643 w 1648"/>
                  <a:gd name="T29" fmla="*/ 1602 h 1845"/>
                  <a:gd name="T30" fmla="*/ 1646 w 1648"/>
                  <a:gd name="T31" fmla="*/ 1552 h 1845"/>
                  <a:gd name="T32" fmla="*/ 1647 w 1648"/>
                  <a:gd name="T33" fmla="*/ 1503 h 1845"/>
                  <a:gd name="T34" fmla="*/ 1648 w 1648"/>
                  <a:gd name="T35" fmla="*/ 1452 h 1845"/>
                  <a:gd name="T36" fmla="*/ 1647 w 1648"/>
                  <a:gd name="T37" fmla="*/ 1401 h 1845"/>
                  <a:gd name="T38" fmla="*/ 1646 w 1648"/>
                  <a:gd name="T39" fmla="*/ 1351 h 1845"/>
                  <a:gd name="T40" fmla="*/ 1643 w 1648"/>
                  <a:gd name="T41" fmla="*/ 1301 h 1845"/>
                  <a:gd name="T42" fmla="*/ 1640 w 1648"/>
                  <a:gd name="T43" fmla="*/ 1251 h 1845"/>
                  <a:gd name="T44" fmla="*/ 1635 w 1648"/>
                  <a:gd name="T45" fmla="*/ 1202 h 1845"/>
                  <a:gd name="T46" fmla="*/ 1630 w 1648"/>
                  <a:gd name="T47" fmla="*/ 1153 h 1845"/>
                  <a:gd name="T48" fmla="*/ 1624 w 1648"/>
                  <a:gd name="T49" fmla="*/ 1103 h 1845"/>
                  <a:gd name="T50" fmla="*/ 1616 w 1648"/>
                  <a:gd name="T51" fmla="*/ 1054 h 1845"/>
                  <a:gd name="T52" fmla="*/ 1608 w 1648"/>
                  <a:gd name="T53" fmla="*/ 1006 h 1845"/>
                  <a:gd name="T54" fmla="*/ 1599 w 1648"/>
                  <a:gd name="T55" fmla="*/ 958 h 1845"/>
                  <a:gd name="T56" fmla="*/ 1589 w 1648"/>
                  <a:gd name="T57" fmla="*/ 911 h 1845"/>
                  <a:gd name="T58" fmla="*/ 1578 w 1648"/>
                  <a:gd name="T59" fmla="*/ 863 h 1845"/>
                  <a:gd name="T60" fmla="*/ 1567 w 1648"/>
                  <a:gd name="T61" fmla="*/ 816 h 1845"/>
                  <a:gd name="T62" fmla="*/ 1554 w 1648"/>
                  <a:gd name="T63" fmla="*/ 769 h 1845"/>
                  <a:gd name="T64" fmla="*/ 1540 w 1648"/>
                  <a:gd name="T65" fmla="*/ 723 h 1845"/>
                  <a:gd name="T66" fmla="*/ 1526 w 1648"/>
                  <a:gd name="T67" fmla="*/ 677 h 1845"/>
                  <a:gd name="T68" fmla="*/ 1511 w 1648"/>
                  <a:gd name="T69" fmla="*/ 631 h 1845"/>
                  <a:gd name="T70" fmla="*/ 1495 w 1648"/>
                  <a:gd name="T71" fmla="*/ 586 h 1845"/>
                  <a:gd name="T72" fmla="*/ 1478 w 1648"/>
                  <a:gd name="T73" fmla="*/ 542 h 1845"/>
                  <a:gd name="T74" fmla="*/ 1460 w 1648"/>
                  <a:gd name="T75" fmla="*/ 497 h 1845"/>
                  <a:gd name="T76" fmla="*/ 1441 w 1648"/>
                  <a:gd name="T77" fmla="*/ 453 h 1845"/>
                  <a:gd name="T78" fmla="*/ 1421 w 1648"/>
                  <a:gd name="T79" fmla="*/ 409 h 1845"/>
                  <a:gd name="T80" fmla="*/ 1401 w 1648"/>
                  <a:gd name="T81" fmla="*/ 366 h 1845"/>
                  <a:gd name="T82" fmla="*/ 1381 w 1648"/>
                  <a:gd name="T83" fmla="*/ 324 h 1845"/>
                  <a:gd name="T84" fmla="*/ 1359 w 1648"/>
                  <a:gd name="T85" fmla="*/ 281 h 1845"/>
                  <a:gd name="T86" fmla="*/ 1337 w 1648"/>
                  <a:gd name="T87" fmla="*/ 240 h 1845"/>
                  <a:gd name="T88" fmla="*/ 1313 w 1648"/>
                  <a:gd name="T89" fmla="*/ 199 h 1845"/>
                  <a:gd name="T90" fmla="*/ 1289 w 1648"/>
                  <a:gd name="T91" fmla="*/ 158 h 1845"/>
                  <a:gd name="T92" fmla="*/ 1265 w 1648"/>
                  <a:gd name="T93" fmla="*/ 118 h 1845"/>
                  <a:gd name="T94" fmla="*/ 1240 w 1648"/>
                  <a:gd name="T95" fmla="*/ 77 h 1845"/>
                  <a:gd name="T96" fmla="*/ 1214 w 1648"/>
                  <a:gd name="T97" fmla="*/ 38 h 1845"/>
                  <a:gd name="T98" fmla="*/ 1186 w 1648"/>
                  <a:gd name="T99" fmla="*/ 0 h 1845"/>
                  <a:gd name="T100" fmla="*/ 58 w 1648"/>
                  <a:gd name="T101" fmla="*/ 136 h 1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48" h="1845">
                    <a:moveTo>
                      <a:pt x="58" y="136"/>
                    </a:moveTo>
                    <a:lnTo>
                      <a:pt x="56" y="160"/>
                    </a:lnTo>
                    <a:lnTo>
                      <a:pt x="53" y="184"/>
                    </a:lnTo>
                    <a:lnTo>
                      <a:pt x="48" y="207"/>
                    </a:lnTo>
                    <a:lnTo>
                      <a:pt x="41" y="230"/>
                    </a:lnTo>
                    <a:lnTo>
                      <a:pt x="33" y="252"/>
                    </a:lnTo>
                    <a:lnTo>
                      <a:pt x="23" y="273"/>
                    </a:lnTo>
                    <a:lnTo>
                      <a:pt x="12" y="293"/>
                    </a:lnTo>
                    <a:lnTo>
                      <a:pt x="0" y="313"/>
                    </a:lnTo>
                    <a:lnTo>
                      <a:pt x="1617" y="1845"/>
                    </a:lnTo>
                    <a:lnTo>
                      <a:pt x="1624" y="1797"/>
                    </a:lnTo>
                    <a:lnTo>
                      <a:pt x="1630" y="1748"/>
                    </a:lnTo>
                    <a:lnTo>
                      <a:pt x="1635" y="1700"/>
                    </a:lnTo>
                    <a:lnTo>
                      <a:pt x="1640" y="1651"/>
                    </a:lnTo>
                    <a:lnTo>
                      <a:pt x="1643" y="1602"/>
                    </a:lnTo>
                    <a:lnTo>
                      <a:pt x="1646" y="1552"/>
                    </a:lnTo>
                    <a:lnTo>
                      <a:pt x="1647" y="1503"/>
                    </a:lnTo>
                    <a:lnTo>
                      <a:pt x="1648" y="1452"/>
                    </a:lnTo>
                    <a:lnTo>
                      <a:pt x="1647" y="1401"/>
                    </a:lnTo>
                    <a:lnTo>
                      <a:pt x="1646" y="1351"/>
                    </a:lnTo>
                    <a:lnTo>
                      <a:pt x="1643" y="1301"/>
                    </a:lnTo>
                    <a:lnTo>
                      <a:pt x="1640" y="1251"/>
                    </a:lnTo>
                    <a:lnTo>
                      <a:pt x="1635" y="1202"/>
                    </a:lnTo>
                    <a:lnTo>
                      <a:pt x="1630" y="1153"/>
                    </a:lnTo>
                    <a:lnTo>
                      <a:pt x="1624" y="1103"/>
                    </a:lnTo>
                    <a:lnTo>
                      <a:pt x="1616" y="1054"/>
                    </a:lnTo>
                    <a:lnTo>
                      <a:pt x="1608" y="1006"/>
                    </a:lnTo>
                    <a:lnTo>
                      <a:pt x="1599" y="958"/>
                    </a:lnTo>
                    <a:lnTo>
                      <a:pt x="1589" y="911"/>
                    </a:lnTo>
                    <a:lnTo>
                      <a:pt x="1578" y="863"/>
                    </a:lnTo>
                    <a:lnTo>
                      <a:pt x="1567" y="816"/>
                    </a:lnTo>
                    <a:lnTo>
                      <a:pt x="1554" y="769"/>
                    </a:lnTo>
                    <a:lnTo>
                      <a:pt x="1540" y="723"/>
                    </a:lnTo>
                    <a:lnTo>
                      <a:pt x="1526" y="677"/>
                    </a:lnTo>
                    <a:lnTo>
                      <a:pt x="1511" y="631"/>
                    </a:lnTo>
                    <a:lnTo>
                      <a:pt x="1495" y="586"/>
                    </a:lnTo>
                    <a:lnTo>
                      <a:pt x="1478" y="542"/>
                    </a:lnTo>
                    <a:lnTo>
                      <a:pt x="1460" y="497"/>
                    </a:lnTo>
                    <a:lnTo>
                      <a:pt x="1441" y="453"/>
                    </a:lnTo>
                    <a:lnTo>
                      <a:pt x="1421" y="409"/>
                    </a:lnTo>
                    <a:lnTo>
                      <a:pt x="1401" y="366"/>
                    </a:lnTo>
                    <a:lnTo>
                      <a:pt x="1381" y="324"/>
                    </a:lnTo>
                    <a:lnTo>
                      <a:pt x="1359" y="281"/>
                    </a:lnTo>
                    <a:lnTo>
                      <a:pt x="1337" y="240"/>
                    </a:lnTo>
                    <a:lnTo>
                      <a:pt x="1313" y="199"/>
                    </a:lnTo>
                    <a:lnTo>
                      <a:pt x="1289" y="158"/>
                    </a:lnTo>
                    <a:lnTo>
                      <a:pt x="1265" y="118"/>
                    </a:lnTo>
                    <a:lnTo>
                      <a:pt x="1240" y="77"/>
                    </a:lnTo>
                    <a:lnTo>
                      <a:pt x="1214" y="38"/>
                    </a:lnTo>
                    <a:lnTo>
                      <a:pt x="1186" y="0"/>
                    </a:lnTo>
                    <a:lnTo>
                      <a:pt x="58" y="1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52" name="Freeform 17"/>
              <p:cNvSpPr>
                <a:spLocks/>
              </p:cNvSpPr>
              <p:nvPr/>
            </p:nvSpPr>
            <p:spPr bwMode="auto">
              <a:xfrm>
                <a:off x="0" y="281521"/>
                <a:ext cx="288314" cy="188085"/>
              </a:xfrm>
              <a:custGeom>
                <a:avLst/>
                <a:gdLst>
                  <a:gd name="T0" fmla="*/ 2782 w 2801"/>
                  <a:gd name="T1" fmla="*/ 123 h 1832"/>
                  <a:gd name="T2" fmla="*/ 436 w 2801"/>
                  <a:gd name="T3" fmla="*/ 0 h 1832"/>
                  <a:gd name="T4" fmla="*/ 410 w 2801"/>
                  <a:gd name="T5" fmla="*/ 38 h 1832"/>
                  <a:gd name="T6" fmla="*/ 386 w 2801"/>
                  <a:gd name="T7" fmla="*/ 77 h 1832"/>
                  <a:gd name="T8" fmla="*/ 362 w 2801"/>
                  <a:gd name="T9" fmla="*/ 116 h 1832"/>
                  <a:gd name="T10" fmla="*/ 337 w 2801"/>
                  <a:gd name="T11" fmla="*/ 155 h 1832"/>
                  <a:gd name="T12" fmla="*/ 315 w 2801"/>
                  <a:gd name="T13" fmla="*/ 195 h 1832"/>
                  <a:gd name="T14" fmla="*/ 293 w 2801"/>
                  <a:gd name="T15" fmla="*/ 236 h 1832"/>
                  <a:gd name="T16" fmla="*/ 272 w 2801"/>
                  <a:gd name="T17" fmla="*/ 276 h 1832"/>
                  <a:gd name="T18" fmla="*/ 251 w 2801"/>
                  <a:gd name="T19" fmla="*/ 317 h 1832"/>
                  <a:gd name="T20" fmla="*/ 232 w 2801"/>
                  <a:gd name="T21" fmla="*/ 359 h 1832"/>
                  <a:gd name="T22" fmla="*/ 213 w 2801"/>
                  <a:gd name="T23" fmla="*/ 401 h 1832"/>
                  <a:gd name="T24" fmla="*/ 195 w 2801"/>
                  <a:gd name="T25" fmla="*/ 444 h 1832"/>
                  <a:gd name="T26" fmla="*/ 177 w 2801"/>
                  <a:gd name="T27" fmla="*/ 487 h 1832"/>
                  <a:gd name="T28" fmla="*/ 160 w 2801"/>
                  <a:gd name="T29" fmla="*/ 530 h 1832"/>
                  <a:gd name="T30" fmla="*/ 145 w 2801"/>
                  <a:gd name="T31" fmla="*/ 574 h 1832"/>
                  <a:gd name="T32" fmla="*/ 129 w 2801"/>
                  <a:gd name="T33" fmla="*/ 618 h 1832"/>
                  <a:gd name="T34" fmla="*/ 114 w 2801"/>
                  <a:gd name="T35" fmla="*/ 662 h 1832"/>
                  <a:gd name="T36" fmla="*/ 101 w 2801"/>
                  <a:gd name="T37" fmla="*/ 707 h 1832"/>
                  <a:gd name="T38" fmla="*/ 88 w 2801"/>
                  <a:gd name="T39" fmla="*/ 753 h 1832"/>
                  <a:gd name="T40" fmla="*/ 76 w 2801"/>
                  <a:gd name="T41" fmla="*/ 798 h 1832"/>
                  <a:gd name="T42" fmla="*/ 65 w 2801"/>
                  <a:gd name="T43" fmla="*/ 844 h 1832"/>
                  <a:gd name="T44" fmla="*/ 55 w 2801"/>
                  <a:gd name="T45" fmla="*/ 890 h 1832"/>
                  <a:gd name="T46" fmla="*/ 45 w 2801"/>
                  <a:gd name="T47" fmla="*/ 936 h 1832"/>
                  <a:gd name="T48" fmla="*/ 37 w 2801"/>
                  <a:gd name="T49" fmla="*/ 983 h 1832"/>
                  <a:gd name="T50" fmla="*/ 29 w 2801"/>
                  <a:gd name="T51" fmla="*/ 1030 h 1832"/>
                  <a:gd name="T52" fmla="*/ 22 w 2801"/>
                  <a:gd name="T53" fmla="*/ 1077 h 1832"/>
                  <a:gd name="T54" fmla="*/ 17 w 2801"/>
                  <a:gd name="T55" fmla="*/ 1126 h 1832"/>
                  <a:gd name="T56" fmla="*/ 12 w 2801"/>
                  <a:gd name="T57" fmla="*/ 1173 h 1832"/>
                  <a:gd name="T58" fmla="*/ 7 w 2801"/>
                  <a:gd name="T59" fmla="*/ 1221 h 1832"/>
                  <a:gd name="T60" fmla="*/ 4 w 2801"/>
                  <a:gd name="T61" fmla="*/ 1270 h 1832"/>
                  <a:gd name="T62" fmla="*/ 2 w 2801"/>
                  <a:gd name="T63" fmla="*/ 1318 h 1832"/>
                  <a:gd name="T64" fmla="*/ 0 w 2801"/>
                  <a:gd name="T65" fmla="*/ 1367 h 1832"/>
                  <a:gd name="T66" fmla="*/ 0 w 2801"/>
                  <a:gd name="T67" fmla="*/ 1416 h 1832"/>
                  <a:gd name="T68" fmla="*/ 1 w 2801"/>
                  <a:gd name="T69" fmla="*/ 1470 h 1832"/>
                  <a:gd name="T70" fmla="*/ 2 w 2801"/>
                  <a:gd name="T71" fmla="*/ 1522 h 1832"/>
                  <a:gd name="T72" fmla="*/ 5 w 2801"/>
                  <a:gd name="T73" fmla="*/ 1575 h 1832"/>
                  <a:gd name="T74" fmla="*/ 9 w 2801"/>
                  <a:gd name="T75" fmla="*/ 1627 h 1832"/>
                  <a:gd name="T76" fmla="*/ 14 w 2801"/>
                  <a:gd name="T77" fmla="*/ 1678 h 1832"/>
                  <a:gd name="T78" fmla="*/ 20 w 2801"/>
                  <a:gd name="T79" fmla="*/ 1730 h 1832"/>
                  <a:gd name="T80" fmla="*/ 27 w 2801"/>
                  <a:gd name="T81" fmla="*/ 1782 h 1832"/>
                  <a:gd name="T82" fmla="*/ 35 w 2801"/>
                  <a:gd name="T83" fmla="*/ 1832 h 1832"/>
                  <a:gd name="T84" fmla="*/ 2801 w 2801"/>
                  <a:gd name="T85" fmla="*/ 208 h 1832"/>
                  <a:gd name="T86" fmla="*/ 2794 w 2801"/>
                  <a:gd name="T87" fmla="*/ 188 h 1832"/>
                  <a:gd name="T88" fmla="*/ 2789 w 2801"/>
                  <a:gd name="T89" fmla="*/ 167 h 1832"/>
                  <a:gd name="T90" fmla="*/ 2785 w 2801"/>
                  <a:gd name="T91" fmla="*/ 145 h 1832"/>
                  <a:gd name="T92" fmla="*/ 2782 w 2801"/>
                  <a:gd name="T93" fmla="*/ 123 h 1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801" h="1832">
                    <a:moveTo>
                      <a:pt x="2782" y="123"/>
                    </a:moveTo>
                    <a:lnTo>
                      <a:pt x="436" y="0"/>
                    </a:lnTo>
                    <a:lnTo>
                      <a:pt x="410" y="38"/>
                    </a:lnTo>
                    <a:lnTo>
                      <a:pt x="386" y="77"/>
                    </a:lnTo>
                    <a:lnTo>
                      <a:pt x="362" y="116"/>
                    </a:lnTo>
                    <a:lnTo>
                      <a:pt x="337" y="155"/>
                    </a:lnTo>
                    <a:lnTo>
                      <a:pt x="315" y="195"/>
                    </a:lnTo>
                    <a:lnTo>
                      <a:pt x="293" y="236"/>
                    </a:lnTo>
                    <a:lnTo>
                      <a:pt x="272" y="276"/>
                    </a:lnTo>
                    <a:lnTo>
                      <a:pt x="251" y="317"/>
                    </a:lnTo>
                    <a:lnTo>
                      <a:pt x="232" y="359"/>
                    </a:lnTo>
                    <a:lnTo>
                      <a:pt x="213" y="401"/>
                    </a:lnTo>
                    <a:lnTo>
                      <a:pt x="195" y="444"/>
                    </a:lnTo>
                    <a:lnTo>
                      <a:pt x="177" y="487"/>
                    </a:lnTo>
                    <a:lnTo>
                      <a:pt x="160" y="530"/>
                    </a:lnTo>
                    <a:lnTo>
                      <a:pt x="145" y="574"/>
                    </a:lnTo>
                    <a:lnTo>
                      <a:pt x="129" y="618"/>
                    </a:lnTo>
                    <a:lnTo>
                      <a:pt x="114" y="662"/>
                    </a:lnTo>
                    <a:lnTo>
                      <a:pt x="101" y="707"/>
                    </a:lnTo>
                    <a:lnTo>
                      <a:pt x="88" y="753"/>
                    </a:lnTo>
                    <a:lnTo>
                      <a:pt x="76" y="798"/>
                    </a:lnTo>
                    <a:lnTo>
                      <a:pt x="65" y="844"/>
                    </a:lnTo>
                    <a:lnTo>
                      <a:pt x="55" y="890"/>
                    </a:lnTo>
                    <a:lnTo>
                      <a:pt x="45" y="936"/>
                    </a:lnTo>
                    <a:lnTo>
                      <a:pt x="37" y="983"/>
                    </a:lnTo>
                    <a:lnTo>
                      <a:pt x="29" y="1030"/>
                    </a:lnTo>
                    <a:lnTo>
                      <a:pt x="22" y="1077"/>
                    </a:lnTo>
                    <a:lnTo>
                      <a:pt x="17" y="1126"/>
                    </a:lnTo>
                    <a:lnTo>
                      <a:pt x="12" y="1173"/>
                    </a:lnTo>
                    <a:lnTo>
                      <a:pt x="7" y="1221"/>
                    </a:lnTo>
                    <a:lnTo>
                      <a:pt x="4" y="1270"/>
                    </a:lnTo>
                    <a:lnTo>
                      <a:pt x="2" y="1318"/>
                    </a:lnTo>
                    <a:lnTo>
                      <a:pt x="0" y="1367"/>
                    </a:lnTo>
                    <a:lnTo>
                      <a:pt x="0" y="1416"/>
                    </a:lnTo>
                    <a:lnTo>
                      <a:pt x="1" y="1470"/>
                    </a:lnTo>
                    <a:lnTo>
                      <a:pt x="2" y="1522"/>
                    </a:lnTo>
                    <a:lnTo>
                      <a:pt x="5" y="1575"/>
                    </a:lnTo>
                    <a:lnTo>
                      <a:pt x="9" y="1627"/>
                    </a:lnTo>
                    <a:lnTo>
                      <a:pt x="14" y="1678"/>
                    </a:lnTo>
                    <a:lnTo>
                      <a:pt x="20" y="1730"/>
                    </a:lnTo>
                    <a:lnTo>
                      <a:pt x="27" y="1782"/>
                    </a:lnTo>
                    <a:lnTo>
                      <a:pt x="35" y="1832"/>
                    </a:lnTo>
                    <a:lnTo>
                      <a:pt x="2801" y="208"/>
                    </a:lnTo>
                    <a:lnTo>
                      <a:pt x="2794" y="188"/>
                    </a:lnTo>
                    <a:lnTo>
                      <a:pt x="2789" y="167"/>
                    </a:lnTo>
                    <a:lnTo>
                      <a:pt x="2785" y="145"/>
                    </a:lnTo>
                    <a:lnTo>
                      <a:pt x="2782" y="1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  <p:sp>
            <p:nvSpPr>
              <p:cNvPr id="53" name="Freeform 18"/>
              <p:cNvSpPr>
                <a:spLocks/>
              </p:cNvSpPr>
              <p:nvPr/>
            </p:nvSpPr>
            <p:spPr bwMode="auto">
              <a:xfrm>
                <a:off x="277178" y="167680"/>
                <a:ext cx="176948" cy="108891"/>
              </a:xfrm>
              <a:custGeom>
                <a:avLst/>
                <a:gdLst>
                  <a:gd name="T0" fmla="*/ 442 w 1714"/>
                  <a:gd name="T1" fmla="*/ 845 h 1055"/>
                  <a:gd name="T2" fmla="*/ 467 w 1714"/>
                  <a:gd name="T3" fmla="*/ 846 h 1055"/>
                  <a:gd name="T4" fmla="*/ 493 w 1714"/>
                  <a:gd name="T5" fmla="*/ 850 h 1055"/>
                  <a:gd name="T6" fmla="*/ 518 w 1714"/>
                  <a:gd name="T7" fmla="*/ 855 h 1055"/>
                  <a:gd name="T8" fmla="*/ 542 w 1714"/>
                  <a:gd name="T9" fmla="*/ 862 h 1055"/>
                  <a:gd name="T10" fmla="*/ 565 w 1714"/>
                  <a:gd name="T11" fmla="*/ 871 h 1055"/>
                  <a:gd name="T12" fmla="*/ 587 w 1714"/>
                  <a:gd name="T13" fmla="*/ 881 h 1055"/>
                  <a:gd name="T14" fmla="*/ 608 w 1714"/>
                  <a:gd name="T15" fmla="*/ 893 h 1055"/>
                  <a:gd name="T16" fmla="*/ 629 w 1714"/>
                  <a:gd name="T17" fmla="*/ 906 h 1055"/>
                  <a:gd name="T18" fmla="*/ 648 w 1714"/>
                  <a:gd name="T19" fmla="*/ 920 h 1055"/>
                  <a:gd name="T20" fmla="*/ 666 w 1714"/>
                  <a:gd name="T21" fmla="*/ 936 h 1055"/>
                  <a:gd name="T22" fmla="*/ 684 w 1714"/>
                  <a:gd name="T23" fmla="*/ 953 h 1055"/>
                  <a:gd name="T24" fmla="*/ 699 w 1714"/>
                  <a:gd name="T25" fmla="*/ 971 h 1055"/>
                  <a:gd name="T26" fmla="*/ 714 w 1714"/>
                  <a:gd name="T27" fmla="*/ 991 h 1055"/>
                  <a:gd name="T28" fmla="*/ 727 w 1714"/>
                  <a:gd name="T29" fmla="*/ 1011 h 1055"/>
                  <a:gd name="T30" fmla="*/ 739 w 1714"/>
                  <a:gd name="T31" fmla="*/ 1032 h 1055"/>
                  <a:gd name="T32" fmla="*/ 750 w 1714"/>
                  <a:gd name="T33" fmla="*/ 1055 h 1055"/>
                  <a:gd name="T34" fmla="*/ 1714 w 1714"/>
                  <a:gd name="T35" fmla="*/ 825 h 1055"/>
                  <a:gd name="T36" fmla="*/ 1672 w 1714"/>
                  <a:gd name="T37" fmla="*/ 781 h 1055"/>
                  <a:gd name="T38" fmla="*/ 1631 w 1714"/>
                  <a:gd name="T39" fmla="*/ 739 h 1055"/>
                  <a:gd name="T40" fmla="*/ 1588 w 1714"/>
                  <a:gd name="T41" fmla="*/ 697 h 1055"/>
                  <a:gd name="T42" fmla="*/ 1545 w 1714"/>
                  <a:gd name="T43" fmla="*/ 656 h 1055"/>
                  <a:gd name="T44" fmla="*/ 1500 w 1714"/>
                  <a:gd name="T45" fmla="*/ 616 h 1055"/>
                  <a:gd name="T46" fmla="*/ 1455 w 1714"/>
                  <a:gd name="T47" fmla="*/ 577 h 1055"/>
                  <a:gd name="T48" fmla="*/ 1408 w 1714"/>
                  <a:gd name="T49" fmla="*/ 540 h 1055"/>
                  <a:gd name="T50" fmla="*/ 1360 w 1714"/>
                  <a:gd name="T51" fmla="*/ 502 h 1055"/>
                  <a:gd name="T52" fmla="*/ 1312 w 1714"/>
                  <a:gd name="T53" fmla="*/ 467 h 1055"/>
                  <a:gd name="T54" fmla="*/ 1263 w 1714"/>
                  <a:gd name="T55" fmla="*/ 432 h 1055"/>
                  <a:gd name="T56" fmla="*/ 1213 w 1714"/>
                  <a:gd name="T57" fmla="*/ 399 h 1055"/>
                  <a:gd name="T58" fmla="*/ 1162 w 1714"/>
                  <a:gd name="T59" fmla="*/ 367 h 1055"/>
                  <a:gd name="T60" fmla="*/ 1110 w 1714"/>
                  <a:gd name="T61" fmla="*/ 336 h 1055"/>
                  <a:gd name="T62" fmla="*/ 1058 w 1714"/>
                  <a:gd name="T63" fmla="*/ 307 h 1055"/>
                  <a:gd name="T64" fmla="*/ 1005 w 1714"/>
                  <a:gd name="T65" fmla="*/ 278 h 1055"/>
                  <a:gd name="T66" fmla="*/ 950 w 1714"/>
                  <a:gd name="T67" fmla="*/ 251 h 1055"/>
                  <a:gd name="T68" fmla="*/ 896 w 1714"/>
                  <a:gd name="T69" fmla="*/ 225 h 1055"/>
                  <a:gd name="T70" fmla="*/ 841 w 1714"/>
                  <a:gd name="T71" fmla="*/ 201 h 1055"/>
                  <a:gd name="T72" fmla="*/ 785 w 1714"/>
                  <a:gd name="T73" fmla="*/ 177 h 1055"/>
                  <a:gd name="T74" fmla="*/ 727 w 1714"/>
                  <a:gd name="T75" fmla="*/ 154 h 1055"/>
                  <a:gd name="T76" fmla="*/ 670 w 1714"/>
                  <a:gd name="T77" fmla="*/ 134 h 1055"/>
                  <a:gd name="T78" fmla="*/ 612 w 1714"/>
                  <a:gd name="T79" fmla="*/ 114 h 1055"/>
                  <a:gd name="T80" fmla="*/ 554 w 1714"/>
                  <a:gd name="T81" fmla="*/ 96 h 1055"/>
                  <a:gd name="T82" fmla="*/ 494 w 1714"/>
                  <a:gd name="T83" fmla="*/ 80 h 1055"/>
                  <a:gd name="T84" fmla="*/ 434 w 1714"/>
                  <a:gd name="T85" fmla="*/ 65 h 1055"/>
                  <a:gd name="T86" fmla="*/ 374 w 1714"/>
                  <a:gd name="T87" fmla="*/ 51 h 1055"/>
                  <a:gd name="T88" fmla="*/ 313 w 1714"/>
                  <a:gd name="T89" fmla="*/ 39 h 1055"/>
                  <a:gd name="T90" fmla="*/ 251 w 1714"/>
                  <a:gd name="T91" fmla="*/ 28 h 1055"/>
                  <a:gd name="T92" fmla="*/ 189 w 1714"/>
                  <a:gd name="T93" fmla="*/ 19 h 1055"/>
                  <a:gd name="T94" fmla="*/ 127 w 1714"/>
                  <a:gd name="T95" fmla="*/ 11 h 1055"/>
                  <a:gd name="T96" fmla="*/ 64 w 1714"/>
                  <a:gd name="T97" fmla="*/ 4 h 1055"/>
                  <a:gd name="T98" fmla="*/ 0 w 1714"/>
                  <a:gd name="T99" fmla="*/ 0 h 1055"/>
                  <a:gd name="T100" fmla="*/ 357 w 1714"/>
                  <a:gd name="T101" fmla="*/ 855 h 1055"/>
                  <a:gd name="T102" fmla="*/ 377 w 1714"/>
                  <a:gd name="T103" fmla="*/ 851 h 1055"/>
                  <a:gd name="T104" fmla="*/ 398 w 1714"/>
                  <a:gd name="T105" fmla="*/ 848 h 1055"/>
                  <a:gd name="T106" fmla="*/ 420 w 1714"/>
                  <a:gd name="T107" fmla="*/ 845 h 1055"/>
                  <a:gd name="T108" fmla="*/ 442 w 1714"/>
                  <a:gd name="T109" fmla="*/ 845 h 10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14" h="1055">
                    <a:moveTo>
                      <a:pt x="442" y="845"/>
                    </a:moveTo>
                    <a:lnTo>
                      <a:pt x="467" y="846"/>
                    </a:lnTo>
                    <a:lnTo>
                      <a:pt x="493" y="850"/>
                    </a:lnTo>
                    <a:lnTo>
                      <a:pt x="518" y="855"/>
                    </a:lnTo>
                    <a:lnTo>
                      <a:pt x="542" y="862"/>
                    </a:lnTo>
                    <a:lnTo>
                      <a:pt x="565" y="871"/>
                    </a:lnTo>
                    <a:lnTo>
                      <a:pt x="587" y="881"/>
                    </a:lnTo>
                    <a:lnTo>
                      <a:pt x="608" y="893"/>
                    </a:lnTo>
                    <a:lnTo>
                      <a:pt x="629" y="906"/>
                    </a:lnTo>
                    <a:lnTo>
                      <a:pt x="648" y="920"/>
                    </a:lnTo>
                    <a:lnTo>
                      <a:pt x="666" y="936"/>
                    </a:lnTo>
                    <a:lnTo>
                      <a:pt x="684" y="953"/>
                    </a:lnTo>
                    <a:lnTo>
                      <a:pt x="699" y="971"/>
                    </a:lnTo>
                    <a:lnTo>
                      <a:pt x="714" y="991"/>
                    </a:lnTo>
                    <a:lnTo>
                      <a:pt x="727" y="1011"/>
                    </a:lnTo>
                    <a:lnTo>
                      <a:pt x="739" y="1032"/>
                    </a:lnTo>
                    <a:lnTo>
                      <a:pt x="750" y="1055"/>
                    </a:lnTo>
                    <a:lnTo>
                      <a:pt x="1714" y="825"/>
                    </a:lnTo>
                    <a:lnTo>
                      <a:pt x="1672" y="781"/>
                    </a:lnTo>
                    <a:lnTo>
                      <a:pt x="1631" y="739"/>
                    </a:lnTo>
                    <a:lnTo>
                      <a:pt x="1588" y="697"/>
                    </a:lnTo>
                    <a:lnTo>
                      <a:pt x="1545" y="656"/>
                    </a:lnTo>
                    <a:lnTo>
                      <a:pt x="1500" y="616"/>
                    </a:lnTo>
                    <a:lnTo>
                      <a:pt x="1455" y="577"/>
                    </a:lnTo>
                    <a:lnTo>
                      <a:pt x="1408" y="540"/>
                    </a:lnTo>
                    <a:lnTo>
                      <a:pt x="1360" y="502"/>
                    </a:lnTo>
                    <a:lnTo>
                      <a:pt x="1312" y="467"/>
                    </a:lnTo>
                    <a:lnTo>
                      <a:pt x="1263" y="432"/>
                    </a:lnTo>
                    <a:lnTo>
                      <a:pt x="1213" y="399"/>
                    </a:lnTo>
                    <a:lnTo>
                      <a:pt x="1162" y="367"/>
                    </a:lnTo>
                    <a:lnTo>
                      <a:pt x="1110" y="336"/>
                    </a:lnTo>
                    <a:lnTo>
                      <a:pt x="1058" y="307"/>
                    </a:lnTo>
                    <a:lnTo>
                      <a:pt x="1005" y="278"/>
                    </a:lnTo>
                    <a:lnTo>
                      <a:pt x="950" y="251"/>
                    </a:lnTo>
                    <a:lnTo>
                      <a:pt x="896" y="225"/>
                    </a:lnTo>
                    <a:lnTo>
                      <a:pt x="841" y="201"/>
                    </a:lnTo>
                    <a:lnTo>
                      <a:pt x="785" y="177"/>
                    </a:lnTo>
                    <a:lnTo>
                      <a:pt x="727" y="154"/>
                    </a:lnTo>
                    <a:lnTo>
                      <a:pt x="670" y="134"/>
                    </a:lnTo>
                    <a:lnTo>
                      <a:pt x="612" y="114"/>
                    </a:lnTo>
                    <a:lnTo>
                      <a:pt x="554" y="96"/>
                    </a:lnTo>
                    <a:lnTo>
                      <a:pt x="494" y="80"/>
                    </a:lnTo>
                    <a:lnTo>
                      <a:pt x="434" y="65"/>
                    </a:lnTo>
                    <a:lnTo>
                      <a:pt x="374" y="51"/>
                    </a:lnTo>
                    <a:lnTo>
                      <a:pt x="313" y="39"/>
                    </a:lnTo>
                    <a:lnTo>
                      <a:pt x="251" y="28"/>
                    </a:lnTo>
                    <a:lnTo>
                      <a:pt x="189" y="19"/>
                    </a:lnTo>
                    <a:lnTo>
                      <a:pt x="127" y="11"/>
                    </a:lnTo>
                    <a:lnTo>
                      <a:pt x="64" y="4"/>
                    </a:lnTo>
                    <a:lnTo>
                      <a:pt x="0" y="0"/>
                    </a:lnTo>
                    <a:lnTo>
                      <a:pt x="357" y="855"/>
                    </a:lnTo>
                    <a:lnTo>
                      <a:pt x="377" y="851"/>
                    </a:lnTo>
                    <a:lnTo>
                      <a:pt x="398" y="848"/>
                    </a:lnTo>
                    <a:lnTo>
                      <a:pt x="420" y="845"/>
                    </a:lnTo>
                    <a:lnTo>
                      <a:pt x="442" y="8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latin typeface="PF Din Text Cond Pro" charset="0"/>
                  <a:ea typeface="PF Din Text Cond Pro" charset="0"/>
                  <a:cs typeface="PF Din Text Cond Pro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46435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</p:sldLayoutIdLst>
  <p:txStyles>
    <p:titleStyle>
      <a:lvl1pPr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None/>
        <a:defRPr sz="1600" b="0" kern="1200" spc="0" baseline="0">
          <a:solidFill>
            <a:schemeClr val="tx1"/>
          </a:solidFill>
          <a:effectLst/>
          <a:latin typeface="+mj-lt"/>
          <a:ea typeface="PF Din Text Cond Pro" charset="0"/>
          <a:cs typeface="PF Din Text Cond Pro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400" b="0" kern="1200">
          <a:solidFill>
            <a:schemeClr val="tx1"/>
          </a:solidFill>
          <a:latin typeface="+mn-lt"/>
          <a:ea typeface="PF Din Text Cond Pro" charset="0"/>
          <a:cs typeface="PF Din Text Cond Pro" charset="0"/>
        </a:defRPr>
      </a:lvl1pPr>
      <a:lvl2pPr marL="180975" marR="0" indent="-180975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1"/>
        </a:buClr>
        <a:buSzPct val="120000"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PF Din Text Cond Pro" charset="0"/>
          <a:cs typeface="PF Din Text Cond Pro" charset="0"/>
        </a:defRPr>
      </a:lvl2pPr>
      <a:lvl3pPr marL="350838" indent="-169863" algn="l" defTabSz="914400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1"/>
        </a:buClr>
        <a:buSzPct val="90000"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+mn-lt"/>
          <a:ea typeface="PF Din Text Cond Pro" charset="0"/>
          <a:cs typeface="PF Din Text Cond Pro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378">
          <p15:clr>
            <a:srgbClr val="F26B43"/>
          </p15:clr>
        </p15:guide>
        <p15:guide id="6" orient="horz" pos="4117">
          <p15:clr>
            <a:srgbClr val="F26B43"/>
          </p15:clr>
        </p15:guide>
        <p15:guide id="9" orient="horz" pos="4021">
          <p15:clr>
            <a:srgbClr val="F26B43"/>
          </p15:clr>
        </p15:guide>
        <p15:guide id="11" orient="horz" pos="615">
          <p15:clr>
            <a:srgbClr val="F26B43"/>
          </p15:clr>
        </p15:guide>
        <p15:guide id="15" pos="3840">
          <p15:clr>
            <a:srgbClr val="F26B43"/>
          </p15:clr>
        </p15:guide>
        <p15:guide id="20" orient="horz" pos="263">
          <p15:clr>
            <a:srgbClr val="F26B43"/>
          </p15:clr>
        </p15:guide>
        <p15:guide id="36" orient="horz" pos="346">
          <p15:clr>
            <a:srgbClr val="F26B43"/>
          </p15:clr>
        </p15:guide>
        <p15:guide id="37" orient="horz" pos="520">
          <p15:clr>
            <a:srgbClr val="F26B43"/>
          </p15:clr>
        </p15:guide>
        <p15:guide id="38" pos="784">
          <p15:clr>
            <a:srgbClr val="F26B43"/>
          </p15:clr>
        </p15:guide>
        <p15:guide id="39" pos="730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26" Type="http://schemas.openxmlformats.org/officeDocument/2006/relationships/tags" Target="../tags/tag28.xml"/><Relationship Id="rId117" Type="http://schemas.openxmlformats.org/officeDocument/2006/relationships/tags" Target="../tags/tag119.xml"/><Relationship Id="rId21" Type="http://schemas.openxmlformats.org/officeDocument/2006/relationships/tags" Target="../tags/tag23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63" Type="http://schemas.openxmlformats.org/officeDocument/2006/relationships/tags" Target="../tags/tag65.xml"/><Relationship Id="rId68" Type="http://schemas.openxmlformats.org/officeDocument/2006/relationships/tags" Target="../tags/tag70.xml"/><Relationship Id="rId84" Type="http://schemas.openxmlformats.org/officeDocument/2006/relationships/tags" Target="../tags/tag86.xml"/><Relationship Id="rId89" Type="http://schemas.openxmlformats.org/officeDocument/2006/relationships/tags" Target="../tags/tag91.xml"/><Relationship Id="rId112" Type="http://schemas.openxmlformats.org/officeDocument/2006/relationships/tags" Target="../tags/tag114.xml"/><Relationship Id="rId16" Type="http://schemas.openxmlformats.org/officeDocument/2006/relationships/tags" Target="../tags/tag18.xml"/><Relationship Id="rId107" Type="http://schemas.openxmlformats.org/officeDocument/2006/relationships/tags" Target="../tags/tag109.xml"/><Relationship Id="rId11" Type="http://schemas.openxmlformats.org/officeDocument/2006/relationships/tags" Target="../tags/tag13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53" Type="http://schemas.openxmlformats.org/officeDocument/2006/relationships/tags" Target="../tags/tag55.xml"/><Relationship Id="rId58" Type="http://schemas.openxmlformats.org/officeDocument/2006/relationships/tags" Target="../tags/tag60.xml"/><Relationship Id="rId74" Type="http://schemas.openxmlformats.org/officeDocument/2006/relationships/tags" Target="../tags/tag76.xml"/><Relationship Id="rId79" Type="http://schemas.openxmlformats.org/officeDocument/2006/relationships/tags" Target="../tags/tag81.xml"/><Relationship Id="rId102" Type="http://schemas.openxmlformats.org/officeDocument/2006/relationships/tags" Target="../tags/tag104.xml"/><Relationship Id="rId5" Type="http://schemas.openxmlformats.org/officeDocument/2006/relationships/tags" Target="../tags/tag7.xml"/><Relationship Id="rId61" Type="http://schemas.openxmlformats.org/officeDocument/2006/relationships/tags" Target="../tags/tag63.xml"/><Relationship Id="rId82" Type="http://schemas.openxmlformats.org/officeDocument/2006/relationships/tags" Target="../tags/tag84.xml"/><Relationship Id="rId90" Type="http://schemas.openxmlformats.org/officeDocument/2006/relationships/tags" Target="../tags/tag92.xml"/><Relationship Id="rId95" Type="http://schemas.openxmlformats.org/officeDocument/2006/relationships/tags" Target="../tags/tag97.xml"/><Relationship Id="rId19" Type="http://schemas.openxmlformats.org/officeDocument/2006/relationships/tags" Target="../tags/tag2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56" Type="http://schemas.openxmlformats.org/officeDocument/2006/relationships/tags" Target="../tags/tag58.xml"/><Relationship Id="rId64" Type="http://schemas.openxmlformats.org/officeDocument/2006/relationships/tags" Target="../tags/tag66.xml"/><Relationship Id="rId69" Type="http://schemas.openxmlformats.org/officeDocument/2006/relationships/tags" Target="../tags/tag71.xml"/><Relationship Id="rId77" Type="http://schemas.openxmlformats.org/officeDocument/2006/relationships/tags" Target="../tags/tag79.xml"/><Relationship Id="rId100" Type="http://schemas.openxmlformats.org/officeDocument/2006/relationships/tags" Target="../tags/tag102.xml"/><Relationship Id="rId105" Type="http://schemas.openxmlformats.org/officeDocument/2006/relationships/tags" Target="../tags/tag107.xml"/><Relationship Id="rId113" Type="http://schemas.openxmlformats.org/officeDocument/2006/relationships/tags" Target="../tags/tag115.xml"/><Relationship Id="rId118" Type="http://schemas.openxmlformats.org/officeDocument/2006/relationships/tags" Target="../tags/tag120.xml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72" Type="http://schemas.openxmlformats.org/officeDocument/2006/relationships/tags" Target="../tags/tag74.xml"/><Relationship Id="rId80" Type="http://schemas.openxmlformats.org/officeDocument/2006/relationships/tags" Target="../tags/tag82.xml"/><Relationship Id="rId85" Type="http://schemas.openxmlformats.org/officeDocument/2006/relationships/tags" Target="../tags/tag87.xml"/><Relationship Id="rId93" Type="http://schemas.openxmlformats.org/officeDocument/2006/relationships/tags" Target="../tags/tag95.xml"/><Relationship Id="rId98" Type="http://schemas.openxmlformats.org/officeDocument/2006/relationships/tags" Target="../tags/tag100.xml"/><Relationship Id="rId121" Type="http://schemas.openxmlformats.org/officeDocument/2006/relationships/tags" Target="../tags/tag123.xml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59" Type="http://schemas.openxmlformats.org/officeDocument/2006/relationships/tags" Target="../tags/tag61.xml"/><Relationship Id="rId67" Type="http://schemas.openxmlformats.org/officeDocument/2006/relationships/tags" Target="../tags/tag69.xml"/><Relationship Id="rId103" Type="http://schemas.openxmlformats.org/officeDocument/2006/relationships/tags" Target="../tags/tag105.xml"/><Relationship Id="rId108" Type="http://schemas.openxmlformats.org/officeDocument/2006/relationships/tags" Target="../tags/tag110.xml"/><Relationship Id="rId116" Type="http://schemas.openxmlformats.org/officeDocument/2006/relationships/tags" Target="../tags/tag118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54" Type="http://schemas.openxmlformats.org/officeDocument/2006/relationships/tags" Target="../tags/tag56.xml"/><Relationship Id="rId62" Type="http://schemas.openxmlformats.org/officeDocument/2006/relationships/tags" Target="../tags/tag64.xml"/><Relationship Id="rId70" Type="http://schemas.openxmlformats.org/officeDocument/2006/relationships/tags" Target="../tags/tag72.xml"/><Relationship Id="rId75" Type="http://schemas.openxmlformats.org/officeDocument/2006/relationships/tags" Target="../tags/tag77.xml"/><Relationship Id="rId83" Type="http://schemas.openxmlformats.org/officeDocument/2006/relationships/tags" Target="../tags/tag85.xml"/><Relationship Id="rId88" Type="http://schemas.openxmlformats.org/officeDocument/2006/relationships/tags" Target="../tags/tag90.xml"/><Relationship Id="rId91" Type="http://schemas.openxmlformats.org/officeDocument/2006/relationships/tags" Target="../tags/tag93.xml"/><Relationship Id="rId96" Type="http://schemas.openxmlformats.org/officeDocument/2006/relationships/tags" Target="../tags/tag98.xml"/><Relationship Id="rId111" Type="http://schemas.openxmlformats.org/officeDocument/2006/relationships/tags" Target="../tags/tag113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tags" Target="../tags/tag51.xml"/><Relationship Id="rId57" Type="http://schemas.openxmlformats.org/officeDocument/2006/relationships/tags" Target="../tags/tag59.xml"/><Relationship Id="rId106" Type="http://schemas.openxmlformats.org/officeDocument/2006/relationships/tags" Target="../tags/tag108.xml"/><Relationship Id="rId114" Type="http://schemas.openxmlformats.org/officeDocument/2006/relationships/tags" Target="../tags/tag116.xml"/><Relationship Id="rId119" Type="http://schemas.openxmlformats.org/officeDocument/2006/relationships/tags" Target="../tags/tag121.xml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tags" Target="../tags/tag54.xml"/><Relationship Id="rId60" Type="http://schemas.openxmlformats.org/officeDocument/2006/relationships/tags" Target="../tags/tag62.xml"/><Relationship Id="rId65" Type="http://schemas.openxmlformats.org/officeDocument/2006/relationships/tags" Target="../tags/tag67.xml"/><Relationship Id="rId73" Type="http://schemas.openxmlformats.org/officeDocument/2006/relationships/tags" Target="../tags/tag75.xml"/><Relationship Id="rId78" Type="http://schemas.openxmlformats.org/officeDocument/2006/relationships/tags" Target="../tags/tag80.xml"/><Relationship Id="rId81" Type="http://schemas.openxmlformats.org/officeDocument/2006/relationships/tags" Target="../tags/tag83.xml"/><Relationship Id="rId86" Type="http://schemas.openxmlformats.org/officeDocument/2006/relationships/tags" Target="../tags/tag88.xml"/><Relationship Id="rId94" Type="http://schemas.openxmlformats.org/officeDocument/2006/relationships/tags" Target="../tags/tag96.xml"/><Relationship Id="rId99" Type="http://schemas.openxmlformats.org/officeDocument/2006/relationships/tags" Target="../tags/tag101.xml"/><Relationship Id="rId101" Type="http://schemas.openxmlformats.org/officeDocument/2006/relationships/tags" Target="../tags/tag103.xml"/><Relationship Id="rId122" Type="http://schemas.openxmlformats.org/officeDocument/2006/relationships/slideLayout" Target="../slideLayouts/slideLayout14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9" Type="http://schemas.openxmlformats.org/officeDocument/2006/relationships/tags" Target="../tags/tag41.xml"/><Relationship Id="rId109" Type="http://schemas.openxmlformats.org/officeDocument/2006/relationships/tags" Target="../tags/tag111.xml"/><Relationship Id="rId34" Type="http://schemas.openxmlformats.org/officeDocument/2006/relationships/tags" Target="../tags/tag36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76" Type="http://schemas.openxmlformats.org/officeDocument/2006/relationships/tags" Target="../tags/tag78.xml"/><Relationship Id="rId97" Type="http://schemas.openxmlformats.org/officeDocument/2006/relationships/tags" Target="../tags/tag99.xml"/><Relationship Id="rId104" Type="http://schemas.openxmlformats.org/officeDocument/2006/relationships/tags" Target="../tags/tag106.xml"/><Relationship Id="rId120" Type="http://schemas.openxmlformats.org/officeDocument/2006/relationships/tags" Target="../tags/tag122.xml"/><Relationship Id="rId7" Type="http://schemas.openxmlformats.org/officeDocument/2006/relationships/tags" Target="../tags/tag9.xml"/><Relationship Id="rId71" Type="http://schemas.openxmlformats.org/officeDocument/2006/relationships/tags" Target="../tags/tag73.xml"/><Relationship Id="rId92" Type="http://schemas.openxmlformats.org/officeDocument/2006/relationships/tags" Target="../tags/tag94.xml"/><Relationship Id="rId2" Type="http://schemas.openxmlformats.org/officeDocument/2006/relationships/tags" Target="../tags/tag4.xml"/><Relationship Id="rId29" Type="http://schemas.openxmlformats.org/officeDocument/2006/relationships/tags" Target="../tags/tag31.xml"/><Relationship Id="rId24" Type="http://schemas.openxmlformats.org/officeDocument/2006/relationships/tags" Target="../tags/tag26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66" Type="http://schemas.openxmlformats.org/officeDocument/2006/relationships/tags" Target="../tags/tag68.xml"/><Relationship Id="rId87" Type="http://schemas.openxmlformats.org/officeDocument/2006/relationships/tags" Target="../tags/tag89.xml"/><Relationship Id="rId110" Type="http://schemas.openxmlformats.org/officeDocument/2006/relationships/tags" Target="../tags/tag112.xml"/><Relationship Id="rId115" Type="http://schemas.openxmlformats.org/officeDocument/2006/relationships/tags" Target="../tags/tag11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Layer">
            <a:extLst>
              <a:ext uri="{FF2B5EF4-FFF2-40B4-BE49-F238E27FC236}">
                <a16:creationId xmlns:a16="http://schemas.microsoft.com/office/drawing/2014/main" id="{C5E1A844-575F-4BD7-A872-A725DF9C5D67}"/>
              </a:ext>
            </a:extLst>
          </p:cNvPr>
          <p:cNvSpPr>
            <a:spLocks noChangeAspect="1"/>
          </p:cNvSpPr>
          <p:nvPr/>
        </p:nvSpPr>
        <p:spPr bwMode="gray">
          <a:xfrm>
            <a:off x="1587" y="0"/>
            <a:ext cx="12190413" cy="6858000"/>
          </a:xfrm>
          <a:prstGeom prst="rect">
            <a:avLst/>
          </a:prstGeom>
          <a:gradFill>
            <a:gsLst>
              <a:gs pos="0">
                <a:srgbClr val="2C3E50">
                  <a:lumMod val="75000"/>
                  <a:alpha val="85000"/>
                </a:srgbClr>
              </a:gs>
              <a:gs pos="100000">
                <a:srgbClr val="2C3E50">
                  <a:lumMod val="75000"/>
                  <a:alpha val="65000"/>
                </a:srgbClr>
              </a:gs>
            </a:gsLst>
            <a:lin ang="3600000" scaled="0"/>
          </a:gra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101" name="Bildplatzhalter">
            <a:extLst>
              <a:ext uri="{FF2B5EF4-FFF2-40B4-BE49-F238E27FC236}">
                <a16:creationId xmlns:a16="http://schemas.microsoft.com/office/drawing/2014/main" id="{0DE40F5E-DC05-4D75-AAC6-07FC54631F7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7815" b="7815"/>
          <a:stretch>
            <a:fillRect/>
          </a:stretch>
        </p:blipFill>
        <p:spPr bwMode="gray">
          <a:xfrm>
            <a:off x="0" y="0"/>
            <a:ext cx="12190413" cy="6858000"/>
          </a:xfrm>
          <a:prstGeom prst="rect">
            <a:avLst/>
          </a:prstGeom>
        </p:spPr>
      </p:pic>
      <p:sp>
        <p:nvSpPr>
          <p:cNvPr id="124" name="Layer">
            <a:extLst>
              <a:ext uri="{FF2B5EF4-FFF2-40B4-BE49-F238E27FC236}">
                <a16:creationId xmlns:a16="http://schemas.microsoft.com/office/drawing/2014/main" id="{C5E1A844-575F-4BD7-A872-A725DF9C5D67}"/>
              </a:ext>
            </a:extLst>
          </p:cNvPr>
          <p:cNvSpPr>
            <a:spLocks noChangeAspect="1"/>
          </p:cNvSpPr>
          <p:nvPr/>
        </p:nvSpPr>
        <p:spPr bwMode="gray">
          <a:xfrm>
            <a:off x="-22550" y="0"/>
            <a:ext cx="12190413" cy="6858000"/>
          </a:xfrm>
          <a:prstGeom prst="rect">
            <a:avLst/>
          </a:prstGeom>
          <a:gradFill>
            <a:gsLst>
              <a:gs pos="0">
                <a:srgbClr val="2C3E50">
                  <a:lumMod val="75000"/>
                  <a:alpha val="85000"/>
                </a:srgbClr>
              </a:gs>
              <a:gs pos="100000">
                <a:srgbClr val="2C3E50">
                  <a:lumMod val="75000"/>
                  <a:alpha val="65000"/>
                </a:srgbClr>
              </a:gs>
            </a:gsLst>
            <a:lin ang="3600000" scaled="0"/>
          </a:gra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06" name="Заголовок 1"/>
          <p:cNvSpPr>
            <a:spLocks noGrp="1"/>
          </p:cNvSpPr>
          <p:nvPr>
            <p:ph type="ctrTitle"/>
          </p:nvPr>
        </p:nvSpPr>
        <p:spPr>
          <a:xfrm>
            <a:off x="2175477" y="386678"/>
            <a:ext cx="7794356" cy="591026"/>
          </a:xfrm>
        </p:spPr>
        <p:txBody>
          <a:bodyPr lIns="0" tIns="0" rIns="0" bIns="0" anchor="t" anchorCtr="0">
            <a:noAutofit/>
          </a:bodyPr>
          <a:lstStyle/>
          <a:p>
            <a:r>
              <a:rPr lang="ru-RU" sz="4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Автоматизация</a:t>
            </a:r>
            <a:br>
              <a:rPr lang="ru-RU" sz="4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4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/>
            </a:r>
            <a:br>
              <a:rPr lang="ru-RU" sz="4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4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en-US" sz="4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/>
            </a:r>
            <a:br>
              <a:rPr lang="en-US" sz="4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endParaRPr lang="ru-RU" sz="44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07" name="Заголовок 1"/>
          <p:cNvSpPr txBox="1">
            <a:spLocks/>
          </p:cNvSpPr>
          <p:nvPr/>
        </p:nvSpPr>
        <p:spPr>
          <a:xfrm>
            <a:off x="5523502" y="1088897"/>
            <a:ext cx="1098306" cy="551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4400" dirty="0">
                <a:solidFill>
                  <a:srgbClr val="FF264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S</a:t>
            </a:r>
            <a:endParaRPr lang="ru-RU" sz="4400" dirty="0">
              <a:solidFill>
                <a:srgbClr val="FF2649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08" name="Заголовок 1"/>
          <p:cNvSpPr txBox="1">
            <a:spLocks/>
          </p:cNvSpPr>
          <p:nvPr/>
        </p:nvSpPr>
        <p:spPr>
          <a:xfrm>
            <a:off x="1165312" y="1578624"/>
            <a:ext cx="9814686" cy="1760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z="4400" dirty="0" err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Цифровизация</a:t>
            </a:r>
            <a:r>
              <a:rPr lang="ru-RU" sz="4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endParaRPr lang="en-US" sz="44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US" sz="4400" dirty="0">
                <a:solidFill>
                  <a:srgbClr val="FF264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S</a:t>
            </a:r>
          </a:p>
          <a:p>
            <a:r>
              <a:rPr lang="en-US" sz="4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SG</a:t>
            </a:r>
            <a:br>
              <a:rPr lang="en-US" sz="4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endParaRPr lang="ru-RU" sz="44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3046218" y="3339356"/>
            <a:ext cx="6052874" cy="757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z="4000" dirty="0">
                <a:solidFill>
                  <a:srgbClr val="5B9BD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Вызовы и возможности</a:t>
            </a:r>
          </a:p>
        </p:txBody>
      </p:sp>
      <p:sp>
        <p:nvSpPr>
          <p:cNvPr id="24" name="Freeform 31"/>
          <p:cNvSpPr>
            <a:spLocks noEditPoints="1"/>
          </p:cNvSpPr>
          <p:nvPr/>
        </p:nvSpPr>
        <p:spPr bwMode="auto">
          <a:xfrm rot="5400000">
            <a:off x="1380021" y="3573222"/>
            <a:ext cx="1337101" cy="4062382"/>
          </a:xfrm>
          <a:custGeom>
            <a:avLst/>
            <a:gdLst>
              <a:gd name="T0" fmla="*/ 18 w 188"/>
              <a:gd name="T1" fmla="*/ 53 h 572"/>
              <a:gd name="T2" fmla="*/ 22 w 188"/>
              <a:gd name="T3" fmla="*/ 57 h 572"/>
              <a:gd name="T4" fmla="*/ 0 w 188"/>
              <a:gd name="T5" fmla="*/ 294 h 572"/>
              <a:gd name="T6" fmla="*/ 7 w 188"/>
              <a:gd name="T7" fmla="*/ 408 h 572"/>
              <a:gd name="T8" fmla="*/ 11 w 188"/>
              <a:gd name="T9" fmla="*/ 411 h 572"/>
              <a:gd name="T10" fmla="*/ 26 w 188"/>
              <a:gd name="T11" fmla="*/ 411 h 572"/>
              <a:gd name="T12" fmla="*/ 26 w 188"/>
              <a:gd name="T13" fmla="*/ 290 h 572"/>
              <a:gd name="T14" fmla="*/ 39 w 188"/>
              <a:gd name="T15" fmla="*/ 23 h 572"/>
              <a:gd name="T16" fmla="*/ 33 w 188"/>
              <a:gd name="T17" fmla="*/ 0 h 572"/>
              <a:gd name="T18" fmla="*/ 36 w 188"/>
              <a:gd name="T19" fmla="*/ 4 h 572"/>
              <a:gd name="T20" fmla="*/ 22 w 188"/>
              <a:gd name="T21" fmla="*/ 422 h 572"/>
              <a:gd name="T22" fmla="*/ 26 w 188"/>
              <a:gd name="T23" fmla="*/ 418 h 572"/>
              <a:gd name="T24" fmla="*/ 39 w 188"/>
              <a:gd name="T25" fmla="*/ 242 h 572"/>
              <a:gd name="T26" fmla="*/ 45 w 188"/>
              <a:gd name="T27" fmla="*/ 475 h 572"/>
              <a:gd name="T28" fmla="*/ 50 w 188"/>
              <a:gd name="T29" fmla="*/ 252 h 572"/>
              <a:gd name="T30" fmla="*/ 61 w 188"/>
              <a:gd name="T31" fmla="*/ 433 h 572"/>
              <a:gd name="T32" fmla="*/ 75 w 188"/>
              <a:gd name="T33" fmla="*/ 267 h 572"/>
              <a:gd name="T34" fmla="*/ 87 w 188"/>
              <a:gd name="T35" fmla="*/ 469 h 572"/>
              <a:gd name="T36" fmla="*/ 50 w 188"/>
              <a:gd name="T37" fmla="*/ 6 h 572"/>
              <a:gd name="T38" fmla="*/ 54 w 188"/>
              <a:gd name="T39" fmla="*/ 10 h 572"/>
              <a:gd name="T40" fmla="*/ 57 w 188"/>
              <a:gd name="T41" fmla="*/ 52 h 572"/>
              <a:gd name="T42" fmla="*/ 61 w 188"/>
              <a:gd name="T43" fmla="*/ 49 h 572"/>
              <a:gd name="T44" fmla="*/ 61 w 188"/>
              <a:gd name="T45" fmla="*/ 257 h 572"/>
              <a:gd name="T46" fmla="*/ 73 w 188"/>
              <a:gd name="T47" fmla="*/ 472 h 572"/>
              <a:gd name="T48" fmla="*/ 76 w 188"/>
              <a:gd name="T49" fmla="*/ 52 h 572"/>
              <a:gd name="T50" fmla="*/ 87 w 188"/>
              <a:gd name="T51" fmla="*/ 15 h 572"/>
              <a:gd name="T52" fmla="*/ 91 w 188"/>
              <a:gd name="T53" fmla="*/ 19 h 572"/>
              <a:gd name="T54" fmla="*/ 41 w 188"/>
              <a:gd name="T55" fmla="*/ 478 h 572"/>
              <a:gd name="T56" fmla="*/ 45 w 188"/>
              <a:gd name="T57" fmla="*/ 474 h 572"/>
              <a:gd name="T58" fmla="*/ 61 w 188"/>
              <a:gd name="T59" fmla="*/ 438 h 572"/>
              <a:gd name="T60" fmla="*/ 73 w 188"/>
              <a:gd name="T61" fmla="*/ 470 h 572"/>
              <a:gd name="T62" fmla="*/ 76 w 188"/>
              <a:gd name="T63" fmla="*/ 474 h 572"/>
              <a:gd name="T64" fmla="*/ 130 w 188"/>
              <a:gd name="T65" fmla="*/ 526 h 572"/>
              <a:gd name="T66" fmla="*/ 134 w 188"/>
              <a:gd name="T67" fmla="*/ 522 h 572"/>
              <a:gd name="T68" fmla="*/ 97 w 188"/>
              <a:gd name="T69" fmla="*/ 272 h 572"/>
              <a:gd name="T70" fmla="*/ 151 w 188"/>
              <a:gd name="T71" fmla="*/ 546 h 572"/>
              <a:gd name="T72" fmla="*/ 117 w 188"/>
              <a:gd name="T73" fmla="*/ 70 h 572"/>
              <a:gd name="T74" fmla="*/ 105 w 188"/>
              <a:gd name="T75" fmla="*/ 280 h 572"/>
              <a:gd name="T76" fmla="*/ 159 w 188"/>
              <a:gd name="T77" fmla="*/ 566 h 572"/>
              <a:gd name="T78" fmla="*/ 134 w 188"/>
              <a:gd name="T79" fmla="*/ 379 h 572"/>
              <a:gd name="T80" fmla="*/ 105 w 188"/>
              <a:gd name="T81" fmla="*/ 46 h 572"/>
              <a:gd name="T82" fmla="*/ 108 w 188"/>
              <a:gd name="T83" fmla="*/ 50 h 572"/>
              <a:gd name="T84" fmla="*/ 114 w 188"/>
              <a:gd name="T85" fmla="*/ 19 h 572"/>
              <a:gd name="T86" fmla="*/ 117 w 188"/>
              <a:gd name="T87" fmla="*/ 15 h 572"/>
              <a:gd name="T88" fmla="*/ 157 w 188"/>
              <a:gd name="T89" fmla="*/ 145 h 572"/>
              <a:gd name="T90" fmla="*/ 155 w 188"/>
              <a:gd name="T91" fmla="*/ 449 h 572"/>
              <a:gd name="T92" fmla="*/ 159 w 188"/>
              <a:gd name="T93" fmla="*/ 452 h 572"/>
              <a:gd name="T94" fmla="*/ 144 w 188"/>
              <a:gd name="T95" fmla="*/ 550 h 572"/>
              <a:gd name="T96" fmla="*/ 142 w 188"/>
              <a:gd name="T97" fmla="*/ 555 h 572"/>
              <a:gd name="T98" fmla="*/ 157 w 188"/>
              <a:gd name="T99" fmla="*/ 565 h 572"/>
              <a:gd name="T100" fmla="*/ 183 w 188"/>
              <a:gd name="T101" fmla="*/ 491 h 572"/>
              <a:gd name="T102" fmla="*/ 185 w 188"/>
              <a:gd name="T103" fmla="*/ 485 h 572"/>
              <a:gd name="T104" fmla="*/ 188 w 188"/>
              <a:gd name="T105" fmla="*/ 489 h 572"/>
              <a:gd name="T106" fmla="*/ 169 w 188"/>
              <a:gd name="T107" fmla="*/ 539 h 572"/>
              <a:gd name="T108" fmla="*/ 173 w 188"/>
              <a:gd name="T109" fmla="*/ 535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88" h="572">
                <a:moveTo>
                  <a:pt x="26" y="53"/>
                </a:moveTo>
                <a:cubicBezTo>
                  <a:pt x="26" y="55"/>
                  <a:pt x="24" y="57"/>
                  <a:pt x="22" y="57"/>
                </a:cubicBezTo>
                <a:cubicBezTo>
                  <a:pt x="20" y="57"/>
                  <a:pt x="18" y="55"/>
                  <a:pt x="18" y="53"/>
                </a:cubicBezTo>
                <a:cubicBezTo>
                  <a:pt x="18" y="51"/>
                  <a:pt x="20" y="50"/>
                  <a:pt x="22" y="50"/>
                </a:cubicBezTo>
                <a:cubicBezTo>
                  <a:pt x="24" y="50"/>
                  <a:pt x="26" y="51"/>
                  <a:pt x="26" y="53"/>
                </a:cubicBezTo>
                <a:close/>
                <a:moveTo>
                  <a:pt x="22" y="57"/>
                </a:moveTo>
                <a:cubicBezTo>
                  <a:pt x="22" y="68"/>
                  <a:pt x="22" y="210"/>
                  <a:pt x="22" y="210"/>
                </a:cubicBezTo>
                <a:cubicBezTo>
                  <a:pt x="0" y="231"/>
                  <a:pt x="0" y="231"/>
                  <a:pt x="0" y="231"/>
                </a:cubicBezTo>
                <a:cubicBezTo>
                  <a:pt x="0" y="241"/>
                  <a:pt x="0" y="294"/>
                  <a:pt x="0" y="294"/>
                </a:cubicBezTo>
                <a:cubicBezTo>
                  <a:pt x="7" y="303"/>
                  <a:pt x="7" y="303"/>
                  <a:pt x="7" y="303"/>
                </a:cubicBezTo>
                <a:cubicBezTo>
                  <a:pt x="7" y="408"/>
                  <a:pt x="7" y="408"/>
                  <a:pt x="7" y="408"/>
                </a:cubicBezTo>
                <a:moveTo>
                  <a:pt x="7" y="408"/>
                </a:moveTo>
                <a:cubicBezTo>
                  <a:pt x="5" y="408"/>
                  <a:pt x="4" y="409"/>
                  <a:pt x="4" y="411"/>
                </a:cubicBezTo>
                <a:cubicBezTo>
                  <a:pt x="4" y="413"/>
                  <a:pt x="5" y="415"/>
                  <a:pt x="7" y="415"/>
                </a:cubicBezTo>
                <a:cubicBezTo>
                  <a:pt x="9" y="415"/>
                  <a:pt x="11" y="413"/>
                  <a:pt x="11" y="411"/>
                </a:cubicBezTo>
                <a:cubicBezTo>
                  <a:pt x="11" y="409"/>
                  <a:pt x="9" y="408"/>
                  <a:pt x="7" y="408"/>
                </a:cubicBezTo>
                <a:close/>
                <a:moveTo>
                  <a:pt x="26" y="420"/>
                </a:moveTo>
                <a:cubicBezTo>
                  <a:pt x="26" y="411"/>
                  <a:pt x="26" y="411"/>
                  <a:pt x="26" y="411"/>
                </a:cubicBezTo>
                <a:cubicBezTo>
                  <a:pt x="15" y="404"/>
                  <a:pt x="15" y="404"/>
                  <a:pt x="15" y="404"/>
                </a:cubicBezTo>
                <a:cubicBezTo>
                  <a:pt x="15" y="300"/>
                  <a:pt x="15" y="300"/>
                  <a:pt x="15" y="300"/>
                </a:cubicBezTo>
                <a:cubicBezTo>
                  <a:pt x="26" y="290"/>
                  <a:pt x="26" y="290"/>
                  <a:pt x="26" y="290"/>
                </a:cubicBezTo>
                <a:cubicBezTo>
                  <a:pt x="26" y="236"/>
                  <a:pt x="26" y="236"/>
                  <a:pt x="26" y="236"/>
                </a:cubicBezTo>
                <a:cubicBezTo>
                  <a:pt x="39" y="224"/>
                  <a:pt x="39" y="224"/>
                  <a:pt x="39" y="224"/>
                </a:cubicBezTo>
                <a:cubicBezTo>
                  <a:pt x="39" y="23"/>
                  <a:pt x="39" y="23"/>
                  <a:pt x="39" y="23"/>
                </a:cubicBezTo>
                <a:cubicBezTo>
                  <a:pt x="32" y="17"/>
                  <a:pt x="32" y="17"/>
                  <a:pt x="32" y="17"/>
                </a:cubicBezTo>
                <a:cubicBezTo>
                  <a:pt x="32" y="8"/>
                  <a:pt x="32" y="8"/>
                  <a:pt x="32" y="8"/>
                </a:cubicBezTo>
                <a:moveTo>
                  <a:pt x="33" y="0"/>
                </a:moveTo>
                <a:cubicBezTo>
                  <a:pt x="31" y="0"/>
                  <a:pt x="29" y="2"/>
                  <a:pt x="29" y="4"/>
                </a:cubicBezTo>
                <a:cubicBezTo>
                  <a:pt x="29" y="6"/>
                  <a:pt x="31" y="8"/>
                  <a:pt x="33" y="8"/>
                </a:cubicBezTo>
                <a:cubicBezTo>
                  <a:pt x="35" y="8"/>
                  <a:pt x="36" y="6"/>
                  <a:pt x="36" y="4"/>
                </a:cubicBezTo>
                <a:cubicBezTo>
                  <a:pt x="36" y="2"/>
                  <a:pt x="35" y="0"/>
                  <a:pt x="33" y="0"/>
                </a:cubicBezTo>
                <a:close/>
                <a:moveTo>
                  <a:pt x="26" y="418"/>
                </a:moveTo>
                <a:cubicBezTo>
                  <a:pt x="24" y="418"/>
                  <a:pt x="22" y="420"/>
                  <a:pt x="22" y="422"/>
                </a:cubicBezTo>
                <a:cubicBezTo>
                  <a:pt x="22" y="424"/>
                  <a:pt x="24" y="426"/>
                  <a:pt x="26" y="426"/>
                </a:cubicBezTo>
                <a:cubicBezTo>
                  <a:pt x="28" y="426"/>
                  <a:pt x="29" y="424"/>
                  <a:pt x="29" y="422"/>
                </a:cubicBezTo>
                <a:cubicBezTo>
                  <a:pt x="29" y="420"/>
                  <a:pt x="28" y="418"/>
                  <a:pt x="26" y="418"/>
                </a:cubicBezTo>
                <a:close/>
                <a:moveTo>
                  <a:pt x="50" y="12"/>
                </a:moveTo>
                <a:cubicBezTo>
                  <a:pt x="50" y="232"/>
                  <a:pt x="50" y="232"/>
                  <a:pt x="50" y="232"/>
                </a:cubicBezTo>
                <a:cubicBezTo>
                  <a:pt x="39" y="242"/>
                  <a:pt x="39" y="242"/>
                  <a:pt x="39" y="242"/>
                </a:cubicBezTo>
                <a:cubicBezTo>
                  <a:pt x="39" y="377"/>
                  <a:pt x="39" y="377"/>
                  <a:pt x="39" y="377"/>
                </a:cubicBezTo>
                <a:cubicBezTo>
                  <a:pt x="45" y="386"/>
                  <a:pt x="45" y="386"/>
                  <a:pt x="45" y="386"/>
                </a:cubicBezTo>
                <a:cubicBezTo>
                  <a:pt x="45" y="475"/>
                  <a:pt x="45" y="475"/>
                  <a:pt x="45" y="475"/>
                </a:cubicBezTo>
                <a:moveTo>
                  <a:pt x="61" y="53"/>
                </a:moveTo>
                <a:cubicBezTo>
                  <a:pt x="61" y="241"/>
                  <a:pt x="61" y="241"/>
                  <a:pt x="61" y="241"/>
                </a:cubicBezTo>
                <a:cubicBezTo>
                  <a:pt x="50" y="252"/>
                  <a:pt x="50" y="252"/>
                  <a:pt x="50" y="252"/>
                </a:cubicBezTo>
                <a:cubicBezTo>
                  <a:pt x="50" y="370"/>
                  <a:pt x="50" y="370"/>
                  <a:pt x="50" y="370"/>
                </a:cubicBezTo>
                <a:cubicBezTo>
                  <a:pt x="61" y="380"/>
                  <a:pt x="61" y="380"/>
                  <a:pt x="61" y="380"/>
                </a:cubicBezTo>
                <a:cubicBezTo>
                  <a:pt x="61" y="433"/>
                  <a:pt x="61" y="433"/>
                  <a:pt x="61" y="433"/>
                </a:cubicBezTo>
                <a:moveTo>
                  <a:pt x="87" y="21"/>
                </a:moveTo>
                <a:cubicBezTo>
                  <a:pt x="87" y="252"/>
                  <a:pt x="87" y="252"/>
                  <a:pt x="87" y="252"/>
                </a:cubicBezTo>
                <a:cubicBezTo>
                  <a:pt x="75" y="267"/>
                  <a:pt x="75" y="267"/>
                  <a:pt x="75" y="267"/>
                </a:cubicBezTo>
                <a:cubicBezTo>
                  <a:pt x="75" y="359"/>
                  <a:pt x="75" y="359"/>
                  <a:pt x="75" y="359"/>
                </a:cubicBezTo>
                <a:cubicBezTo>
                  <a:pt x="87" y="369"/>
                  <a:pt x="87" y="369"/>
                  <a:pt x="87" y="369"/>
                </a:cubicBezTo>
                <a:cubicBezTo>
                  <a:pt x="87" y="469"/>
                  <a:pt x="87" y="469"/>
                  <a:pt x="87" y="469"/>
                </a:cubicBezTo>
                <a:cubicBezTo>
                  <a:pt x="134" y="517"/>
                  <a:pt x="134" y="517"/>
                  <a:pt x="134" y="517"/>
                </a:cubicBezTo>
                <a:cubicBezTo>
                  <a:pt x="134" y="524"/>
                  <a:pt x="134" y="524"/>
                  <a:pt x="134" y="524"/>
                </a:cubicBezTo>
                <a:moveTo>
                  <a:pt x="50" y="6"/>
                </a:moveTo>
                <a:cubicBezTo>
                  <a:pt x="48" y="6"/>
                  <a:pt x="46" y="8"/>
                  <a:pt x="46" y="10"/>
                </a:cubicBezTo>
                <a:cubicBezTo>
                  <a:pt x="46" y="12"/>
                  <a:pt x="48" y="13"/>
                  <a:pt x="50" y="13"/>
                </a:cubicBezTo>
                <a:cubicBezTo>
                  <a:pt x="52" y="13"/>
                  <a:pt x="54" y="12"/>
                  <a:pt x="54" y="10"/>
                </a:cubicBezTo>
                <a:cubicBezTo>
                  <a:pt x="54" y="8"/>
                  <a:pt x="52" y="6"/>
                  <a:pt x="50" y="6"/>
                </a:cubicBezTo>
                <a:close/>
                <a:moveTo>
                  <a:pt x="61" y="49"/>
                </a:moveTo>
                <a:cubicBezTo>
                  <a:pt x="59" y="49"/>
                  <a:pt x="57" y="50"/>
                  <a:pt x="57" y="52"/>
                </a:cubicBezTo>
                <a:cubicBezTo>
                  <a:pt x="57" y="54"/>
                  <a:pt x="59" y="56"/>
                  <a:pt x="61" y="56"/>
                </a:cubicBezTo>
                <a:cubicBezTo>
                  <a:pt x="63" y="56"/>
                  <a:pt x="64" y="54"/>
                  <a:pt x="64" y="52"/>
                </a:cubicBezTo>
                <a:cubicBezTo>
                  <a:pt x="64" y="50"/>
                  <a:pt x="63" y="49"/>
                  <a:pt x="61" y="49"/>
                </a:cubicBezTo>
                <a:close/>
                <a:moveTo>
                  <a:pt x="76" y="51"/>
                </a:moveTo>
                <a:cubicBezTo>
                  <a:pt x="76" y="243"/>
                  <a:pt x="76" y="243"/>
                  <a:pt x="76" y="243"/>
                </a:cubicBezTo>
                <a:cubicBezTo>
                  <a:pt x="72" y="247"/>
                  <a:pt x="61" y="257"/>
                  <a:pt x="61" y="257"/>
                </a:cubicBezTo>
                <a:cubicBezTo>
                  <a:pt x="61" y="364"/>
                  <a:pt x="61" y="364"/>
                  <a:pt x="61" y="364"/>
                </a:cubicBezTo>
                <a:cubicBezTo>
                  <a:pt x="73" y="377"/>
                  <a:pt x="73" y="377"/>
                  <a:pt x="73" y="377"/>
                </a:cubicBezTo>
                <a:cubicBezTo>
                  <a:pt x="73" y="472"/>
                  <a:pt x="73" y="472"/>
                  <a:pt x="73" y="472"/>
                </a:cubicBezTo>
                <a:moveTo>
                  <a:pt x="76" y="45"/>
                </a:moveTo>
                <a:cubicBezTo>
                  <a:pt x="74" y="45"/>
                  <a:pt x="73" y="47"/>
                  <a:pt x="73" y="49"/>
                </a:cubicBezTo>
                <a:cubicBezTo>
                  <a:pt x="73" y="51"/>
                  <a:pt x="74" y="52"/>
                  <a:pt x="76" y="52"/>
                </a:cubicBezTo>
                <a:cubicBezTo>
                  <a:pt x="78" y="52"/>
                  <a:pt x="80" y="51"/>
                  <a:pt x="80" y="49"/>
                </a:cubicBezTo>
                <a:cubicBezTo>
                  <a:pt x="80" y="47"/>
                  <a:pt x="78" y="45"/>
                  <a:pt x="76" y="45"/>
                </a:cubicBezTo>
                <a:close/>
                <a:moveTo>
                  <a:pt x="87" y="15"/>
                </a:moveTo>
                <a:cubicBezTo>
                  <a:pt x="85" y="15"/>
                  <a:pt x="84" y="17"/>
                  <a:pt x="84" y="19"/>
                </a:cubicBezTo>
                <a:cubicBezTo>
                  <a:pt x="84" y="21"/>
                  <a:pt x="85" y="22"/>
                  <a:pt x="87" y="22"/>
                </a:cubicBezTo>
                <a:cubicBezTo>
                  <a:pt x="89" y="22"/>
                  <a:pt x="91" y="21"/>
                  <a:pt x="91" y="19"/>
                </a:cubicBezTo>
                <a:cubicBezTo>
                  <a:pt x="91" y="17"/>
                  <a:pt x="89" y="15"/>
                  <a:pt x="87" y="15"/>
                </a:cubicBezTo>
                <a:close/>
                <a:moveTo>
                  <a:pt x="45" y="474"/>
                </a:moveTo>
                <a:cubicBezTo>
                  <a:pt x="43" y="474"/>
                  <a:pt x="41" y="476"/>
                  <a:pt x="41" y="478"/>
                </a:cubicBezTo>
                <a:cubicBezTo>
                  <a:pt x="41" y="480"/>
                  <a:pt x="43" y="481"/>
                  <a:pt x="45" y="481"/>
                </a:cubicBezTo>
                <a:cubicBezTo>
                  <a:pt x="47" y="481"/>
                  <a:pt x="48" y="480"/>
                  <a:pt x="48" y="478"/>
                </a:cubicBezTo>
                <a:cubicBezTo>
                  <a:pt x="48" y="476"/>
                  <a:pt x="47" y="474"/>
                  <a:pt x="45" y="474"/>
                </a:cubicBezTo>
                <a:close/>
                <a:moveTo>
                  <a:pt x="61" y="431"/>
                </a:moveTo>
                <a:cubicBezTo>
                  <a:pt x="59" y="431"/>
                  <a:pt x="57" y="432"/>
                  <a:pt x="57" y="434"/>
                </a:cubicBezTo>
                <a:cubicBezTo>
                  <a:pt x="57" y="436"/>
                  <a:pt x="59" y="438"/>
                  <a:pt x="61" y="438"/>
                </a:cubicBezTo>
                <a:cubicBezTo>
                  <a:pt x="63" y="438"/>
                  <a:pt x="64" y="436"/>
                  <a:pt x="64" y="434"/>
                </a:cubicBezTo>
                <a:cubicBezTo>
                  <a:pt x="64" y="432"/>
                  <a:pt x="63" y="431"/>
                  <a:pt x="61" y="431"/>
                </a:cubicBezTo>
                <a:close/>
                <a:moveTo>
                  <a:pt x="73" y="470"/>
                </a:moveTo>
                <a:cubicBezTo>
                  <a:pt x="71" y="470"/>
                  <a:pt x="69" y="472"/>
                  <a:pt x="69" y="474"/>
                </a:cubicBezTo>
                <a:cubicBezTo>
                  <a:pt x="69" y="476"/>
                  <a:pt x="71" y="478"/>
                  <a:pt x="73" y="478"/>
                </a:cubicBezTo>
                <a:cubicBezTo>
                  <a:pt x="75" y="478"/>
                  <a:pt x="76" y="476"/>
                  <a:pt x="76" y="474"/>
                </a:cubicBezTo>
                <a:cubicBezTo>
                  <a:pt x="76" y="472"/>
                  <a:pt x="75" y="470"/>
                  <a:pt x="73" y="470"/>
                </a:cubicBezTo>
                <a:close/>
                <a:moveTo>
                  <a:pt x="134" y="522"/>
                </a:moveTo>
                <a:cubicBezTo>
                  <a:pt x="132" y="522"/>
                  <a:pt x="130" y="524"/>
                  <a:pt x="130" y="526"/>
                </a:cubicBezTo>
                <a:cubicBezTo>
                  <a:pt x="130" y="528"/>
                  <a:pt x="132" y="530"/>
                  <a:pt x="134" y="530"/>
                </a:cubicBezTo>
                <a:cubicBezTo>
                  <a:pt x="136" y="530"/>
                  <a:pt x="138" y="528"/>
                  <a:pt x="138" y="526"/>
                </a:cubicBezTo>
                <a:cubicBezTo>
                  <a:pt x="138" y="524"/>
                  <a:pt x="136" y="522"/>
                  <a:pt x="134" y="522"/>
                </a:cubicBezTo>
                <a:close/>
                <a:moveTo>
                  <a:pt x="105" y="52"/>
                </a:moveTo>
                <a:cubicBezTo>
                  <a:pt x="105" y="267"/>
                  <a:pt x="105" y="267"/>
                  <a:pt x="105" y="267"/>
                </a:cubicBezTo>
                <a:cubicBezTo>
                  <a:pt x="97" y="272"/>
                  <a:pt x="97" y="272"/>
                  <a:pt x="97" y="272"/>
                </a:cubicBezTo>
                <a:cubicBezTo>
                  <a:pt x="97" y="438"/>
                  <a:pt x="97" y="438"/>
                  <a:pt x="97" y="438"/>
                </a:cubicBezTo>
                <a:cubicBezTo>
                  <a:pt x="151" y="489"/>
                  <a:pt x="151" y="489"/>
                  <a:pt x="151" y="489"/>
                </a:cubicBezTo>
                <a:cubicBezTo>
                  <a:pt x="151" y="546"/>
                  <a:pt x="151" y="546"/>
                  <a:pt x="151" y="546"/>
                </a:cubicBezTo>
                <a:cubicBezTo>
                  <a:pt x="142" y="551"/>
                  <a:pt x="142" y="551"/>
                  <a:pt x="142" y="551"/>
                </a:cubicBezTo>
                <a:moveTo>
                  <a:pt x="117" y="21"/>
                </a:moveTo>
                <a:cubicBezTo>
                  <a:pt x="117" y="70"/>
                  <a:pt x="117" y="70"/>
                  <a:pt x="117" y="70"/>
                </a:cubicBezTo>
                <a:cubicBezTo>
                  <a:pt x="113" y="75"/>
                  <a:pt x="113" y="75"/>
                  <a:pt x="113" y="75"/>
                </a:cubicBezTo>
                <a:cubicBezTo>
                  <a:pt x="113" y="272"/>
                  <a:pt x="113" y="272"/>
                  <a:pt x="113" y="272"/>
                </a:cubicBezTo>
                <a:cubicBezTo>
                  <a:pt x="105" y="280"/>
                  <a:pt x="105" y="280"/>
                  <a:pt x="105" y="280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59" y="485"/>
                  <a:pt x="159" y="485"/>
                  <a:pt x="159" y="485"/>
                </a:cubicBezTo>
                <a:cubicBezTo>
                  <a:pt x="159" y="566"/>
                  <a:pt x="159" y="566"/>
                  <a:pt x="159" y="566"/>
                </a:cubicBezTo>
                <a:moveTo>
                  <a:pt x="155" y="143"/>
                </a:moveTo>
                <a:cubicBezTo>
                  <a:pt x="134" y="164"/>
                  <a:pt x="134" y="164"/>
                  <a:pt x="134" y="164"/>
                </a:cubicBezTo>
                <a:cubicBezTo>
                  <a:pt x="134" y="379"/>
                  <a:pt x="134" y="379"/>
                  <a:pt x="134" y="379"/>
                </a:cubicBezTo>
                <a:cubicBezTo>
                  <a:pt x="155" y="403"/>
                  <a:pt x="155" y="403"/>
                  <a:pt x="155" y="403"/>
                </a:cubicBezTo>
                <a:cubicBezTo>
                  <a:pt x="155" y="449"/>
                  <a:pt x="155" y="449"/>
                  <a:pt x="155" y="449"/>
                </a:cubicBezTo>
                <a:moveTo>
                  <a:pt x="105" y="46"/>
                </a:moveTo>
                <a:cubicBezTo>
                  <a:pt x="103" y="46"/>
                  <a:pt x="101" y="48"/>
                  <a:pt x="101" y="50"/>
                </a:cubicBezTo>
                <a:cubicBezTo>
                  <a:pt x="101" y="52"/>
                  <a:pt x="103" y="53"/>
                  <a:pt x="105" y="53"/>
                </a:cubicBezTo>
                <a:cubicBezTo>
                  <a:pt x="107" y="53"/>
                  <a:pt x="108" y="52"/>
                  <a:pt x="108" y="50"/>
                </a:cubicBezTo>
                <a:cubicBezTo>
                  <a:pt x="108" y="48"/>
                  <a:pt x="107" y="46"/>
                  <a:pt x="105" y="46"/>
                </a:cubicBezTo>
                <a:close/>
                <a:moveTo>
                  <a:pt x="117" y="15"/>
                </a:moveTo>
                <a:cubicBezTo>
                  <a:pt x="115" y="15"/>
                  <a:pt x="114" y="17"/>
                  <a:pt x="114" y="19"/>
                </a:cubicBezTo>
                <a:cubicBezTo>
                  <a:pt x="114" y="21"/>
                  <a:pt x="115" y="22"/>
                  <a:pt x="117" y="22"/>
                </a:cubicBezTo>
                <a:cubicBezTo>
                  <a:pt x="119" y="22"/>
                  <a:pt x="121" y="21"/>
                  <a:pt x="121" y="19"/>
                </a:cubicBezTo>
                <a:cubicBezTo>
                  <a:pt x="121" y="17"/>
                  <a:pt x="119" y="15"/>
                  <a:pt x="117" y="15"/>
                </a:cubicBezTo>
                <a:close/>
                <a:moveTo>
                  <a:pt x="157" y="137"/>
                </a:moveTo>
                <a:cubicBezTo>
                  <a:pt x="155" y="137"/>
                  <a:pt x="154" y="139"/>
                  <a:pt x="154" y="141"/>
                </a:cubicBezTo>
                <a:cubicBezTo>
                  <a:pt x="154" y="143"/>
                  <a:pt x="155" y="145"/>
                  <a:pt x="157" y="145"/>
                </a:cubicBezTo>
                <a:cubicBezTo>
                  <a:pt x="159" y="145"/>
                  <a:pt x="161" y="143"/>
                  <a:pt x="161" y="141"/>
                </a:cubicBezTo>
                <a:cubicBezTo>
                  <a:pt x="161" y="139"/>
                  <a:pt x="159" y="137"/>
                  <a:pt x="157" y="137"/>
                </a:cubicBezTo>
                <a:close/>
                <a:moveTo>
                  <a:pt x="155" y="449"/>
                </a:moveTo>
                <a:cubicBezTo>
                  <a:pt x="153" y="449"/>
                  <a:pt x="152" y="450"/>
                  <a:pt x="152" y="452"/>
                </a:cubicBezTo>
                <a:cubicBezTo>
                  <a:pt x="152" y="454"/>
                  <a:pt x="153" y="456"/>
                  <a:pt x="155" y="456"/>
                </a:cubicBezTo>
                <a:cubicBezTo>
                  <a:pt x="157" y="456"/>
                  <a:pt x="159" y="454"/>
                  <a:pt x="159" y="452"/>
                </a:cubicBezTo>
                <a:cubicBezTo>
                  <a:pt x="159" y="450"/>
                  <a:pt x="157" y="449"/>
                  <a:pt x="155" y="449"/>
                </a:cubicBezTo>
                <a:close/>
                <a:moveTo>
                  <a:pt x="142" y="555"/>
                </a:moveTo>
                <a:cubicBezTo>
                  <a:pt x="143" y="554"/>
                  <a:pt x="144" y="552"/>
                  <a:pt x="144" y="550"/>
                </a:cubicBezTo>
                <a:cubicBezTo>
                  <a:pt x="143" y="548"/>
                  <a:pt x="141" y="547"/>
                  <a:pt x="139" y="548"/>
                </a:cubicBezTo>
                <a:cubicBezTo>
                  <a:pt x="137" y="549"/>
                  <a:pt x="136" y="551"/>
                  <a:pt x="137" y="553"/>
                </a:cubicBezTo>
                <a:cubicBezTo>
                  <a:pt x="138" y="555"/>
                  <a:pt x="140" y="556"/>
                  <a:pt x="142" y="555"/>
                </a:cubicBezTo>
                <a:close/>
                <a:moveTo>
                  <a:pt x="160" y="572"/>
                </a:moveTo>
                <a:cubicBezTo>
                  <a:pt x="162" y="571"/>
                  <a:pt x="163" y="569"/>
                  <a:pt x="162" y="567"/>
                </a:cubicBezTo>
                <a:cubicBezTo>
                  <a:pt x="161" y="565"/>
                  <a:pt x="159" y="564"/>
                  <a:pt x="157" y="565"/>
                </a:cubicBezTo>
                <a:cubicBezTo>
                  <a:pt x="156" y="566"/>
                  <a:pt x="155" y="568"/>
                  <a:pt x="155" y="570"/>
                </a:cubicBezTo>
                <a:cubicBezTo>
                  <a:pt x="156" y="572"/>
                  <a:pt x="158" y="572"/>
                  <a:pt x="160" y="572"/>
                </a:cubicBezTo>
                <a:close/>
                <a:moveTo>
                  <a:pt x="183" y="491"/>
                </a:moveTo>
                <a:cubicBezTo>
                  <a:pt x="173" y="499"/>
                  <a:pt x="173" y="499"/>
                  <a:pt x="173" y="499"/>
                </a:cubicBezTo>
                <a:cubicBezTo>
                  <a:pt x="173" y="536"/>
                  <a:pt x="173" y="536"/>
                  <a:pt x="173" y="536"/>
                </a:cubicBezTo>
                <a:moveTo>
                  <a:pt x="185" y="485"/>
                </a:moveTo>
                <a:cubicBezTo>
                  <a:pt x="183" y="485"/>
                  <a:pt x="181" y="487"/>
                  <a:pt x="181" y="489"/>
                </a:cubicBezTo>
                <a:cubicBezTo>
                  <a:pt x="181" y="491"/>
                  <a:pt x="183" y="492"/>
                  <a:pt x="185" y="492"/>
                </a:cubicBezTo>
                <a:cubicBezTo>
                  <a:pt x="187" y="492"/>
                  <a:pt x="188" y="491"/>
                  <a:pt x="188" y="489"/>
                </a:cubicBezTo>
                <a:cubicBezTo>
                  <a:pt x="188" y="487"/>
                  <a:pt x="187" y="485"/>
                  <a:pt x="185" y="485"/>
                </a:cubicBezTo>
                <a:close/>
                <a:moveTo>
                  <a:pt x="173" y="535"/>
                </a:moveTo>
                <a:cubicBezTo>
                  <a:pt x="171" y="535"/>
                  <a:pt x="169" y="537"/>
                  <a:pt x="169" y="539"/>
                </a:cubicBezTo>
                <a:cubicBezTo>
                  <a:pt x="169" y="541"/>
                  <a:pt x="171" y="542"/>
                  <a:pt x="173" y="542"/>
                </a:cubicBezTo>
                <a:cubicBezTo>
                  <a:pt x="175" y="542"/>
                  <a:pt x="176" y="541"/>
                  <a:pt x="176" y="539"/>
                </a:cubicBezTo>
                <a:cubicBezTo>
                  <a:pt x="176" y="537"/>
                  <a:pt x="175" y="535"/>
                  <a:pt x="173" y="535"/>
                </a:cubicBezTo>
                <a:close/>
              </a:path>
            </a:pathLst>
          </a:custGeom>
          <a:noFill/>
          <a:ln w="14288" cap="flat">
            <a:solidFill>
              <a:schemeClr val="bg2">
                <a:lumMod val="60000"/>
                <a:lumOff val="4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5" name="Freeform 31"/>
          <p:cNvSpPr>
            <a:spLocks noEditPoints="1"/>
          </p:cNvSpPr>
          <p:nvPr/>
        </p:nvSpPr>
        <p:spPr bwMode="auto">
          <a:xfrm rot="5400000">
            <a:off x="9468121" y="3573222"/>
            <a:ext cx="1337101" cy="4062382"/>
          </a:xfrm>
          <a:custGeom>
            <a:avLst/>
            <a:gdLst>
              <a:gd name="T0" fmla="*/ 18 w 188"/>
              <a:gd name="T1" fmla="*/ 53 h 572"/>
              <a:gd name="T2" fmla="*/ 22 w 188"/>
              <a:gd name="T3" fmla="*/ 57 h 572"/>
              <a:gd name="T4" fmla="*/ 0 w 188"/>
              <a:gd name="T5" fmla="*/ 294 h 572"/>
              <a:gd name="T6" fmla="*/ 7 w 188"/>
              <a:gd name="T7" fmla="*/ 408 h 572"/>
              <a:gd name="T8" fmla="*/ 11 w 188"/>
              <a:gd name="T9" fmla="*/ 411 h 572"/>
              <a:gd name="T10" fmla="*/ 26 w 188"/>
              <a:gd name="T11" fmla="*/ 411 h 572"/>
              <a:gd name="T12" fmla="*/ 26 w 188"/>
              <a:gd name="T13" fmla="*/ 290 h 572"/>
              <a:gd name="T14" fmla="*/ 39 w 188"/>
              <a:gd name="T15" fmla="*/ 23 h 572"/>
              <a:gd name="T16" fmla="*/ 33 w 188"/>
              <a:gd name="T17" fmla="*/ 0 h 572"/>
              <a:gd name="T18" fmla="*/ 36 w 188"/>
              <a:gd name="T19" fmla="*/ 4 h 572"/>
              <a:gd name="T20" fmla="*/ 22 w 188"/>
              <a:gd name="T21" fmla="*/ 422 h 572"/>
              <a:gd name="T22" fmla="*/ 26 w 188"/>
              <a:gd name="T23" fmla="*/ 418 h 572"/>
              <a:gd name="T24" fmla="*/ 39 w 188"/>
              <a:gd name="T25" fmla="*/ 242 h 572"/>
              <a:gd name="T26" fmla="*/ 45 w 188"/>
              <a:gd name="T27" fmla="*/ 475 h 572"/>
              <a:gd name="T28" fmla="*/ 50 w 188"/>
              <a:gd name="T29" fmla="*/ 252 h 572"/>
              <a:gd name="T30" fmla="*/ 61 w 188"/>
              <a:gd name="T31" fmla="*/ 433 h 572"/>
              <a:gd name="T32" fmla="*/ 75 w 188"/>
              <a:gd name="T33" fmla="*/ 267 h 572"/>
              <a:gd name="T34" fmla="*/ 87 w 188"/>
              <a:gd name="T35" fmla="*/ 469 h 572"/>
              <a:gd name="T36" fmla="*/ 50 w 188"/>
              <a:gd name="T37" fmla="*/ 6 h 572"/>
              <a:gd name="T38" fmla="*/ 54 w 188"/>
              <a:gd name="T39" fmla="*/ 10 h 572"/>
              <a:gd name="T40" fmla="*/ 57 w 188"/>
              <a:gd name="T41" fmla="*/ 52 h 572"/>
              <a:gd name="T42" fmla="*/ 61 w 188"/>
              <a:gd name="T43" fmla="*/ 49 h 572"/>
              <a:gd name="T44" fmla="*/ 61 w 188"/>
              <a:gd name="T45" fmla="*/ 257 h 572"/>
              <a:gd name="T46" fmla="*/ 73 w 188"/>
              <a:gd name="T47" fmla="*/ 472 h 572"/>
              <a:gd name="T48" fmla="*/ 76 w 188"/>
              <a:gd name="T49" fmla="*/ 52 h 572"/>
              <a:gd name="T50" fmla="*/ 87 w 188"/>
              <a:gd name="T51" fmla="*/ 15 h 572"/>
              <a:gd name="T52" fmla="*/ 91 w 188"/>
              <a:gd name="T53" fmla="*/ 19 h 572"/>
              <a:gd name="T54" fmla="*/ 41 w 188"/>
              <a:gd name="T55" fmla="*/ 478 h 572"/>
              <a:gd name="T56" fmla="*/ 45 w 188"/>
              <a:gd name="T57" fmla="*/ 474 h 572"/>
              <a:gd name="T58" fmla="*/ 61 w 188"/>
              <a:gd name="T59" fmla="*/ 438 h 572"/>
              <a:gd name="T60" fmla="*/ 73 w 188"/>
              <a:gd name="T61" fmla="*/ 470 h 572"/>
              <a:gd name="T62" fmla="*/ 76 w 188"/>
              <a:gd name="T63" fmla="*/ 474 h 572"/>
              <a:gd name="T64" fmla="*/ 130 w 188"/>
              <a:gd name="T65" fmla="*/ 526 h 572"/>
              <a:gd name="T66" fmla="*/ 134 w 188"/>
              <a:gd name="T67" fmla="*/ 522 h 572"/>
              <a:gd name="T68" fmla="*/ 97 w 188"/>
              <a:gd name="T69" fmla="*/ 272 h 572"/>
              <a:gd name="T70" fmla="*/ 151 w 188"/>
              <a:gd name="T71" fmla="*/ 546 h 572"/>
              <a:gd name="T72" fmla="*/ 117 w 188"/>
              <a:gd name="T73" fmla="*/ 70 h 572"/>
              <a:gd name="T74" fmla="*/ 105 w 188"/>
              <a:gd name="T75" fmla="*/ 280 h 572"/>
              <a:gd name="T76" fmla="*/ 159 w 188"/>
              <a:gd name="T77" fmla="*/ 566 h 572"/>
              <a:gd name="T78" fmla="*/ 134 w 188"/>
              <a:gd name="T79" fmla="*/ 379 h 572"/>
              <a:gd name="T80" fmla="*/ 105 w 188"/>
              <a:gd name="T81" fmla="*/ 46 h 572"/>
              <a:gd name="T82" fmla="*/ 108 w 188"/>
              <a:gd name="T83" fmla="*/ 50 h 572"/>
              <a:gd name="T84" fmla="*/ 114 w 188"/>
              <a:gd name="T85" fmla="*/ 19 h 572"/>
              <a:gd name="T86" fmla="*/ 117 w 188"/>
              <a:gd name="T87" fmla="*/ 15 h 572"/>
              <a:gd name="T88" fmla="*/ 157 w 188"/>
              <a:gd name="T89" fmla="*/ 145 h 572"/>
              <a:gd name="T90" fmla="*/ 155 w 188"/>
              <a:gd name="T91" fmla="*/ 449 h 572"/>
              <a:gd name="T92" fmla="*/ 159 w 188"/>
              <a:gd name="T93" fmla="*/ 452 h 572"/>
              <a:gd name="T94" fmla="*/ 144 w 188"/>
              <a:gd name="T95" fmla="*/ 550 h 572"/>
              <a:gd name="T96" fmla="*/ 142 w 188"/>
              <a:gd name="T97" fmla="*/ 555 h 572"/>
              <a:gd name="T98" fmla="*/ 157 w 188"/>
              <a:gd name="T99" fmla="*/ 565 h 572"/>
              <a:gd name="T100" fmla="*/ 183 w 188"/>
              <a:gd name="T101" fmla="*/ 491 h 572"/>
              <a:gd name="T102" fmla="*/ 185 w 188"/>
              <a:gd name="T103" fmla="*/ 485 h 572"/>
              <a:gd name="T104" fmla="*/ 188 w 188"/>
              <a:gd name="T105" fmla="*/ 489 h 572"/>
              <a:gd name="T106" fmla="*/ 169 w 188"/>
              <a:gd name="T107" fmla="*/ 539 h 572"/>
              <a:gd name="T108" fmla="*/ 173 w 188"/>
              <a:gd name="T109" fmla="*/ 535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88" h="572">
                <a:moveTo>
                  <a:pt x="26" y="53"/>
                </a:moveTo>
                <a:cubicBezTo>
                  <a:pt x="26" y="55"/>
                  <a:pt x="24" y="57"/>
                  <a:pt x="22" y="57"/>
                </a:cubicBezTo>
                <a:cubicBezTo>
                  <a:pt x="20" y="57"/>
                  <a:pt x="18" y="55"/>
                  <a:pt x="18" y="53"/>
                </a:cubicBezTo>
                <a:cubicBezTo>
                  <a:pt x="18" y="51"/>
                  <a:pt x="20" y="50"/>
                  <a:pt x="22" y="50"/>
                </a:cubicBezTo>
                <a:cubicBezTo>
                  <a:pt x="24" y="50"/>
                  <a:pt x="26" y="51"/>
                  <a:pt x="26" y="53"/>
                </a:cubicBezTo>
                <a:close/>
                <a:moveTo>
                  <a:pt x="22" y="57"/>
                </a:moveTo>
                <a:cubicBezTo>
                  <a:pt x="22" y="68"/>
                  <a:pt x="22" y="210"/>
                  <a:pt x="22" y="210"/>
                </a:cubicBezTo>
                <a:cubicBezTo>
                  <a:pt x="0" y="231"/>
                  <a:pt x="0" y="231"/>
                  <a:pt x="0" y="231"/>
                </a:cubicBezTo>
                <a:cubicBezTo>
                  <a:pt x="0" y="241"/>
                  <a:pt x="0" y="294"/>
                  <a:pt x="0" y="294"/>
                </a:cubicBezTo>
                <a:cubicBezTo>
                  <a:pt x="7" y="303"/>
                  <a:pt x="7" y="303"/>
                  <a:pt x="7" y="303"/>
                </a:cubicBezTo>
                <a:cubicBezTo>
                  <a:pt x="7" y="408"/>
                  <a:pt x="7" y="408"/>
                  <a:pt x="7" y="408"/>
                </a:cubicBezTo>
                <a:moveTo>
                  <a:pt x="7" y="408"/>
                </a:moveTo>
                <a:cubicBezTo>
                  <a:pt x="5" y="408"/>
                  <a:pt x="4" y="409"/>
                  <a:pt x="4" y="411"/>
                </a:cubicBezTo>
                <a:cubicBezTo>
                  <a:pt x="4" y="413"/>
                  <a:pt x="5" y="415"/>
                  <a:pt x="7" y="415"/>
                </a:cubicBezTo>
                <a:cubicBezTo>
                  <a:pt x="9" y="415"/>
                  <a:pt x="11" y="413"/>
                  <a:pt x="11" y="411"/>
                </a:cubicBezTo>
                <a:cubicBezTo>
                  <a:pt x="11" y="409"/>
                  <a:pt x="9" y="408"/>
                  <a:pt x="7" y="408"/>
                </a:cubicBezTo>
                <a:close/>
                <a:moveTo>
                  <a:pt x="26" y="420"/>
                </a:moveTo>
                <a:cubicBezTo>
                  <a:pt x="26" y="411"/>
                  <a:pt x="26" y="411"/>
                  <a:pt x="26" y="411"/>
                </a:cubicBezTo>
                <a:cubicBezTo>
                  <a:pt x="15" y="404"/>
                  <a:pt x="15" y="404"/>
                  <a:pt x="15" y="404"/>
                </a:cubicBezTo>
                <a:cubicBezTo>
                  <a:pt x="15" y="300"/>
                  <a:pt x="15" y="300"/>
                  <a:pt x="15" y="300"/>
                </a:cubicBezTo>
                <a:cubicBezTo>
                  <a:pt x="26" y="290"/>
                  <a:pt x="26" y="290"/>
                  <a:pt x="26" y="290"/>
                </a:cubicBezTo>
                <a:cubicBezTo>
                  <a:pt x="26" y="236"/>
                  <a:pt x="26" y="236"/>
                  <a:pt x="26" y="236"/>
                </a:cubicBezTo>
                <a:cubicBezTo>
                  <a:pt x="39" y="224"/>
                  <a:pt x="39" y="224"/>
                  <a:pt x="39" y="224"/>
                </a:cubicBezTo>
                <a:cubicBezTo>
                  <a:pt x="39" y="23"/>
                  <a:pt x="39" y="23"/>
                  <a:pt x="39" y="23"/>
                </a:cubicBezTo>
                <a:cubicBezTo>
                  <a:pt x="32" y="17"/>
                  <a:pt x="32" y="17"/>
                  <a:pt x="32" y="17"/>
                </a:cubicBezTo>
                <a:cubicBezTo>
                  <a:pt x="32" y="8"/>
                  <a:pt x="32" y="8"/>
                  <a:pt x="32" y="8"/>
                </a:cubicBezTo>
                <a:moveTo>
                  <a:pt x="33" y="0"/>
                </a:moveTo>
                <a:cubicBezTo>
                  <a:pt x="31" y="0"/>
                  <a:pt x="29" y="2"/>
                  <a:pt x="29" y="4"/>
                </a:cubicBezTo>
                <a:cubicBezTo>
                  <a:pt x="29" y="6"/>
                  <a:pt x="31" y="8"/>
                  <a:pt x="33" y="8"/>
                </a:cubicBezTo>
                <a:cubicBezTo>
                  <a:pt x="35" y="8"/>
                  <a:pt x="36" y="6"/>
                  <a:pt x="36" y="4"/>
                </a:cubicBezTo>
                <a:cubicBezTo>
                  <a:pt x="36" y="2"/>
                  <a:pt x="35" y="0"/>
                  <a:pt x="33" y="0"/>
                </a:cubicBezTo>
                <a:close/>
                <a:moveTo>
                  <a:pt x="26" y="418"/>
                </a:moveTo>
                <a:cubicBezTo>
                  <a:pt x="24" y="418"/>
                  <a:pt x="22" y="420"/>
                  <a:pt x="22" y="422"/>
                </a:cubicBezTo>
                <a:cubicBezTo>
                  <a:pt x="22" y="424"/>
                  <a:pt x="24" y="426"/>
                  <a:pt x="26" y="426"/>
                </a:cubicBezTo>
                <a:cubicBezTo>
                  <a:pt x="28" y="426"/>
                  <a:pt x="29" y="424"/>
                  <a:pt x="29" y="422"/>
                </a:cubicBezTo>
                <a:cubicBezTo>
                  <a:pt x="29" y="420"/>
                  <a:pt x="28" y="418"/>
                  <a:pt x="26" y="418"/>
                </a:cubicBezTo>
                <a:close/>
                <a:moveTo>
                  <a:pt x="50" y="12"/>
                </a:moveTo>
                <a:cubicBezTo>
                  <a:pt x="50" y="232"/>
                  <a:pt x="50" y="232"/>
                  <a:pt x="50" y="232"/>
                </a:cubicBezTo>
                <a:cubicBezTo>
                  <a:pt x="39" y="242"/>
                  <a:pt x="39" y="242"/>
                  <a:pt x="39" y="242"/>
                </a:cubicBezTo>
                <a:cubicBezTo>
                  <a:pt x="39" y="377"/>
                  <a:pt x="39" y="377"/>
                  <a:pt x="39" y="377"/>
                </a:cubicBezTo>
                <a:cubicBezTo>
                  <a:pt x="45" y="386"/>
                  <a:pt x="45" y="386"/>
                  <a:pt x="45" y="386"/>
                </a:cubicBezTo>
                <a:cubicBezTo>
                  <a:pt x="45" y="475"/>
                  <a:pt x="45" y="475"/>
                  <a:pt x="45" y="475"/>
                </a:cubicBezTo>
                <a:moveTo>
                  <a:pt x="61" y="53"/>
                </a:moveTo>
                <a:cubicBezTo>
                  <a:pt x="61" y="241"/>
                  <a:pt x="61" y="241"/>
                  <a:pt x="61" y="241"/>
                </a:cubicBezTo>
                <a:cubicBezTo>
                  <a:pt x="50" y="252"/>
                  <a:pt x="50" y="252"/>
                  <a:pt x="50" y="252"/>
                </a:cubicBezTo>
                <a:cubicBezTo>
                  <a:pt x="50" y="370"/>
                  <a:pt x="50" y="370"/>
                  <a:pt x="50" y="370"/>
                </a:cubicBezTo>
                <a:cubicBezTo>
                  <a:pt x="61" y="380"/>
                  <a:pt x="61" y="380"/>
                  <a:pt x="61" y="380"/>
                </a:cubicBezTo>
                <a:cubicBezTo>
                  <a:pt x="61" y="433"/>
                  <a:pt x="61" y="433"/>
                  <a:pt x="61" y="433"/>
                </a:cubicBezTo>
                <a:moveTo>
                  <a:pt x="87" y="21"/>
                </a:moveTo>
                <a:cubicBezTo>
                  <a:pt x="87" y="252"/>
                  <a:pt x="87" y="252"/>
                  <a:pt x="87" y="252"/>
                </a:cubicBezTo>
                <a:cubicBezTo>
                  <a:pt x="75" y="267"/>
                  <a:pt x="75" y="267"/>
                  <a:pt x="75" y="267"/>
                </a:cubicBezTo>
                <a:cubicBezTo>
                  <a:pt x="75" y="359"/>
                  <a:pt x="75" y="359"/>
                  <a:pt x="75" y="359"/>
                </a:cubicBezTo>
                <a:cubicBezTo>
                  <a:pt x="87" y="369"/>
                  <a:pt x="87" y="369"/>
                  <a:pt x="87" y="369"/>
                </a:cubicBezTo>
                <a:cubicBezTo>
                  <a:pt x="87" y="469"/>
                  <a:pt x="87" y="469"/>
                  <a:pt x="87" y="469"/>
                </a:cubicBezTo>
                <a:cubicBezTo>
                  <a:pt x="134" y="517"/>
                  <a:pt x="134" y="517"/>
                  <a:pt x="134" y="517"/>
                </a:cubicBezTo>
                <a:cubicBezTo>
                  <a:pt x="134" y="524"/>
                  <a:pt x="134" y="524"/>
                  <a:pt x="134" y="524"/>
                </a:cubicBezTo>
                <a:moveTo>
                  <a:pt x="50" y="6"/>
                </a:moveTo>
                <a:cubicBezTo>
                  <a:pt x="48" y="6"/>
                  <a:pt x="46" y="8"/>
                  <a:pt x="46" y="10"/>
                </a:cubicBezTo>
                <a:cubicBezTo>
                  <a:pt x="46" y="12"/>
                  <a:pt x="48" y="13"/>
                  <a:pt x="50" y="13"/>
                </a:cubicBezTo>
                <a:cubicBezTo>
                  <a:pt x="52" y="13"/>
                  <a:pt x="54" y="12"/>
                  <a:pt x="54" y="10"/>
                </a:cubicBezTo>
                <a:cubicBezTo>
                  <a:pt x="54" y="8"/>
                  <a:pt x="52" y="6"/>
                  <a:pt x="50" y="6"/>
                </a:cubicBezTo>
                <a:close/>
                <a:moveTo>
                  <a:pt x="61" y="49"/>
                </a:moveTo>
                <a:cubicBezTo>
                  <a:pt x="59" y="49"/>
                  <a:pt x="57" y="50"/>
                  <a:pt x="57" y="52"/>
                </a:cubicBezTo>
                <a:cubicBezTo>
                  <a:pt x="57" y="54"/>
                  <a:pt x="59" y="56"/>
                  <a:pt x="61" y="56"/>
                </a:cubicBezTo>
                <a:cubicBezTo>
                  <a:pt x="63" y="56"/>
                  <a:pt x="64" y="54"/>
                  <a:pt x="64" y="52"/>
                </a:cubicBezTo>
                <a:cubicBezTo>
                  <a:pt x="64" y="50"/>
                  <a:pt x="63" y="49"/>
                  <a:pt x="61" y="49"/>
                </a:cubicBezTo>
                <a:close/>
                <a:moveTo>
                  <a:pt x="76" y="51"/>
                </a:moveTo>
                <a:cubicBezTo>
                  <a:pt x="76" y="243"/>
                  <a:pt x="76" y="243"/>
                  <a:pt x="76" y="243"/>
                </a:cubicBezTo>
                <a:cubicBezTo>
                  <a:pt x="72" y="247"/>
                  <a:pt x="61" y="257"/>
                  <a:pt x="61" y="257"/>
                </a:cubicBezTo>
                <a:cubicBezTo>
                  <a:pt x="61" y="364"/>
                  <a:pt x="61" y="364"/>
                  <a:pt x="61" y="364"/>
                </a:cubicBezTo>
                <a:cubicBezTo>
                  <a:pt x="73" y="377"/>
                  <a:pt x="73" y="377"/>
                  <a:pt x="73" y="377"/>
                </a:cubicBezTo>
                <a:cubicBezTo>
                  <a:pt x="73" y="472"/>
                  <a:pt x="73" y="472"/>
                  <a:pt x="73" y="472"/>
                </a:cubicBezTo>
                <a:moveTo>
                  <a:pt x="76" y="45"/>
                </a:moveTo>
                <a:cubicBezTo>
                  <a:pt x="74" y="45"/>
                  <a:pt x="73" y="47"/>
                  <a:pt x="73" y="49"/>
                </a:cubicBezTo>
                <a:cubicBezTo>
                  <a:pt x="73" y="51"/>
                  <a:pt x="74" y="52"/>
                  <a:pt x="76" y="52"/>
                </a:cubicBezTo>
                <a:cubicBezTo>
                  <a:pt x="78" y="52"/>
                  <a:pt x="80" y="51"/>
                  <a:pt x="80" y="49"/>
                </a:cubicBezTo>
                <a:cubicBezTo>
                  <a:pt x="80" y="47"/>
                  <a:pt x="78" y="45"/>
                  <a:pt x="76" y="45"/>
                </a:cubicBezTo>
                <a:close/>
                <a:moveTo>
                  <a:pt x="87" y="15"/>
                </a:moveTo>
                <a:cubicBezTo>
                  <a:pt x="85" y="15"/>
                  <a:pt x="84" y="17"/>
                  <a:pt x="84" y="19"/>
                </a:cubicBezTo>
                <a:cubicBezTo>
                  <a:pt x="84" y="21"/>
                  <a:pt x="85" y="22"/>
                  <a:pt x="87" y="22"/>
                </a:cubicBezTo>
                <a:cubicBezTo>
                  <a:pt x="89" y="22"/>
                  <a:pt x="91" y="21"/>
                  <a:pt x="91" y="19"/>
                </a:cubicBezTo>
                <a:cubicBezTo>
                  <a:pt x="91" y="17"/>
                  <a:pt x="89" y="15"/>
                  <a:pt x="87" y="15"/>
                </a:cubicBezTo>
                <a:close/>
                <a:moveTo>
                  <a:pt x="45" y="474"/>
                </a:moveTo>
                <a:cubicBezTo>
                  <a:pt x="43" y="474"/>
                  <a:pt x="41" y="476"/>
                  <a:pt x="41" y="478"/>
                </a:cubicBezTo>
                <a:cubicBezTo>
                  <a:pt x="41" y="480"/>
                  <a:pt x="43" y="481"/>
                  <a:pt x="45" y="481"/>
                </a:cubicBezTo>
                <a:cubicBezTo>
                  <a:pt x="47" y="481"/>
                  <a:pt x="48" y="480"/>
                  <a:pt x="48" y="478"/>
                </a:cubicBezTo>
                <a:cubicBezTo>
                  <a:pt x="48" y="476"/>
                  <a:pt x="47" y="474"/>
                  <a:pt x="45" y="474"/>
                </a:cubicBezTo>
                <a:close/>
                <a:moveTo>
                  <a:pt x="61" y="431"/>
                </a:moveTo>
                <a:cubicBezTo>
                  <a:pt x="59" y="431"/>
                  <a:pt x="57" y="432"/>
                  <a:pt x="57" y="434"/>
                </a:cubicBezTo>
                <a:cubicBezTo>
                  <a:pt x="57" y="436"/>
                  <a:pt x="59" y="438"/>
                  <a:pt x="61" y="438"/>
                </a:cubicBezTo>
                <a:cubicBezTo>
                  <a:pt x="63" y="438"/>
                  <a:pt x="64" y="436"/>
                  <a:pt x="64" y="434"/>
                </a:cubicBezTo>
                <a:cubicBezTo>
                  <a:pt x="64" y="432"/>
                  <a:pt x="63" y="431"/>
                  <a:pt x="61" y="431"/>
                </a:cubicBezTo>
                <a:close/>
                <a:moveTo>
                  <a:pt x="73" y="470"/>
                </a:moveTo>
                <a:cubicBezTo>
                  <a:pt x="71" y="470"/>
                  <a:pt x="69" y="472"/>
                  <a:pt x="69" y="474"/>
                </a:cubicBezTo>
                <a:cubicBezTo>
                  <a:pt x="69" y="476"/>
                  <a:pt x="71" y="478"/>
                  <a:pt x="73" y="478"/>
                </a:cubicBezTo>
                <a:cubicBezTo>
                  <a:pt x="75" y="478"/>
                  <a:pt x="76" y="476"/>
                  <a:pt x="76" y="474"/>
                </a:cubicBezTo>
                <a:cubicBezTo>
                  <a:pt x="76" y="472"/>
                  <a:pt x="75" y="470"/>
                  <a:pt x="73" y="470"/>
                </a:cubicBezTo>
                <a:close/>
                <a:moveTo>
                  <a:pt x="134" y="522"/>
                </a:moveTo>
                <a:cubicBezTo>
                  <a:pt x="132" y="522"/>
                  <a:pt x="130" y="524"/>
                  <a:pt x="130" y="526"/>
                </a:cubicBezTo>
                <a:cubicBezTo>
                  <a:pt x="130" y="528"/>
                  <a:pt x="132" y="530"/>
                  <a:pt x="134" y="530"/>
                </a:cubicBezTo>
                <a:cubicBezTo>
                  <a:pt x="136" y="530"/>
                  <a:pt x="138" y="528"/>
                  <a:pt x="138" y="526"/>
                </a:cubicBezTo>
                <a:cubicBezTo>
                  <a:pt x="138" y="524"/>
                  <a:pt x="136" y="522"/>
                  <a:pt x="134" y="522"/>
                </a:cubicBezTo>
                <a:close/>
                <a:moveTo>
                  <a:pt x="105" y="52"/>
                </a:moveTo>
                <a:cubicBezTo>
                  <a:pt x="105" y="267"/>
                  <a:pt x="105" y="267"/>
                  <a:pt x="105" y="267"/>
                </a:cubicBezTo>
                <a:cubicBezTo>
                  <a:pt x="97" y="272"/>
                  <a:pt x="97" y="272"/>
                  <a:pt x="97" y="272"/>
                </a:cubicBezTo>
                <a:cubicBezTo>
                  <a:pt x="97" y="438"/>
                  <a:pt x="97" y="438"/>
                  <a:pt x="97" y="438"/>
                </a:cubicBezTo>
                <a:cubicBezTo>
                  <a:pt x="151" y="489"/>
                  <a:pt x="151" y="489"/>
                  <a:pt x="151" y="489"/>
                </a:cubicBezTo>
                <a:cubicBezTo>
                  <a:pt x="151" y="546"/>
                  <a:pt x="151" y="546"/>
                  <a:pt x="151" y="546"/>
                </a:cubicBezTo>
                <a:cubicBezTo>
                  <a:pt x="142" y="551"/>
                  <a:pt x="142" y="551"/>
                  <a:pt x="142" y="551"/>
                </a:cubicBezTo>
                <a:moveTo>
                  <a:pt x="117" y="21"/>
                </a:moveTo>
                <a:cubicBezTo>
                  <a:pt x="117" y="70"/>
                  <a:pt x="117" y="70"/>
                  <a:pt x="117" y="70"/>
                </a:cubicBezTo>
                <a:cubicBezTo>
                  <a:pt x="113" y="75"/>
                  <a:pt x="113" y="75"/>
                  <a:pt x="113" y="75"/>
                </a:cubicBezTo>
                <a:cubicBezTo>
                  <a:pt x="113" y="272"/>
                  <a:pt x="113" y="272"/>
                  <a:pt x="113" y="272"/>
                </a:cubicBezTo>
                <a:cubicBezTo>
                  <a:pt x="105" y="280"/>
                  <a:pt x="105" y="280"/>
                  <a:pt x="105" y="280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59" y="485"/>
                  <a:pt x="159" y="485"/>
                  <a:pt x="159" y="485"/>
                </a:cubicBezTo>
                <a:cubicBezTo>
                  <a:pt x="159" y="566"/>
                  <a:pt x="159" y="566"/>
                  <a:pt x="159" y="566"/>
                </a:cubicBezTo>
                <a:moveTo>
                  <a:pt x="155" y="143"/>
                </a:moveTo>
                <a:cubicBezTo>
                  <a:pt x="134" y="164"/>
                  <a:pt x="134" y="164"/>
                  <a:pt x="134" y="164"/>
                </a:cubicBezTo>
                <a:cubicBezTo>
                  <a:pt x="134" y="379"/>
                  <a:pt x="134" y="379"/>
                  <a:pt x="134" y="379"/>
                </a:cubicBezTo>
                <a:cubicBezTo>
                  <a:pt x="155" y="403"/>
                  <a:pt x="155" y="403"/>
                  <a:pt x="155" y="403"/>
                </a:cubicBezTo>
                <a:cubicBezTo>
                  <a:pt x="155" y="449"/>
                  <a:pt x="155" y="449"/>
                  <a:pt x="155" y="449"/>
                </a:cubicBezTo>
                <a:moveTo>
                  <a:pt x="105" y="46"/>
                </a:moveTo>
                <a:cubicBezTo>
                  <a:pt x="103" y="46"/>
                  <a:pt x="101" y="48"/>
                  <a:pt x="101" y="50"/>
                </a:cubicBezTo>
                <a:cubicBezTo>
                  <a:pt x="101" y="52"/>
                  <a:pt x="103" y="53"/>
                  <a:pt x="105" y="53"/>
                </a:cubicBezTo>
                <a:cubicBezTo>
                  <a:pt x="107" y="53"/>
                  <a:pt x="108" y="52"/>
                  <a:pt x="108" y="50"/>
                </a:cubicBezTo>
                <a:cubicBezTo>
                  <a:pt x="108" y="48"/>
                  <a:pt x="107" y="46"/>
                  <a:pt x="105" y="46"/>
                </a:cubicBezTo>
                <a:close/>
                <a:moveTo>
                  <a:pt x="117" y="15"/>
                </a:moveTo>
                <a:cubicBezTo>
                  <a:pt x="115" y="15"/>
                  <a:pt x="114" y="17"/>
                  <a:pt x="114" y="19"/>
                </a:cubicBezTo>
                <a:cubicBezTo>
                  <a:pt x="114" y="21"/>
                  <a:pt x="115" y="22"/>
                  <a:pt x="117" y="22"/>
                </a:cubicBezTo>
                <a:cubicBezTo>
                  <a:pt x="119" y="22"/>
                  <a:pt x="121" y="21"/>
                  <a:pt x="121" y="19"/>
                </a:cubicBezTo>
                <a:cubicBezTo>
                  <a:pt x="121" y="17"/>
                  <a:pt x="119" y="15"/>
                  <a:pt x="117" y="15"/>
                </a:cubicBezTo>
                <a:close/>
                <a:moveTo>
                  <a:pt x="157" y="137"/>
                </a:moveTo>
                <a:cubicBezTo>
                  <a:pt x="155" y="137"/>
                  <a:pt x="154" y="139"/>
                  <a:pt x="154" y="141"/>
                </a:cubicBezTo>
                <a:cubicBezTo>
                  <a:pt x="154" y="143"/>
                  <a:pt x="155" y="145"/>
                  <a:pt x="157" y="145"/>
                </a:cubicBezTo>
                <a:cubicBezTo>
                  <a:pt x="159" y="145"/>
                  <a:pt x="161" y="143"/>
                  <a:pt x="161" y="141"/>
                </a:cubicBezTo>
                <a:cubicBezTo>
                  <a:pt x="161" y="139"/>
                  <a:pt x="159" y="137"/>
                  <a:pt x="157" y="137"/>
                </a:cubicBezTo>
                <a:close/>
                <a:moveTo>
                  <a:pt x="155" y="449"/>
                </a:moveTo>
                <a:cubicBezTo>
                  <a:pt x="153" y="449"/>
                  <a:pt x="152" y="450"/>
                  <a:pt x="152" y="452"/>
                </a:cubicBezTo>
                <a:cubicBezTo>
                  <a:pt x="152" y="454"/>
                  <a:pt x="153" y="456"/>
                  <a:pt x="155" y="456"/>
                </a:cubicBezTo>
                <a:cubicBezTo>
                  <a:pt x="157" y="456"/>
                  <a:pt x="159" y="454"/>
                  <a:pt x="159" y="452"/>
                </a:cubicBezTo>
                <a:cubicBezTo>
                  <a:pt x="159" y="450"/>
                  <a:pt x="157" y="449"/>
                  <a:pt x="155" y="449"/>
                </a:cubicBezTo>
                <a:close/>
                <a:moveTo>
                  <a:pt x="142" y="555"/>
                </a:moveTo>
                <a:cubicBezTo>
                  <a:pt x="143" y="554"/>
                  <a:pt x="144" y="552"/>
                  <a:pt x="144" y="550"/>
                </a:cubicBezTo>
                <a:cubicBezTo>
                  <a:pt x="143" y="548"/>
                  <a:pt x="141" y="547"/>
                  <a:pt x="139" y="548"/>
                </a:cubicBezTo>
                <a:cubicBezTo>
                  <a:pt x="137" y="549"/>
                  <a:pt x="136" y="551"/>
                  <a:pt x="137" y="553"/>
                </a:cubicBezTo>
                <a:cubicBezTo>
                  <a:pt x="138" y="555"/>
                  <a:pt x="140" y="556"/>
                  <a:pt x="142" y="555"/>
                </a:cubicBezTo>
                <a:close/>
                <a:moveTo>
                  <a:pt x="160" y="572"/>
                </a:moveTo>
                <a:cubicBezTo>
                  <a:pt x="162" y="571"/>
                  <a:pt x="163" y="569"/>
                  <a:pt x="162" y="567"/>
                </a:cubicBezTo>
                <a:cubicBezTo>
                  <a:pt x="161" y="565"/>
                  <a:pt x="159" y="564"/>
                  <a:pt x="157" y="565"/>
                </a:cubicBezTo>
                <a:cubicBezTo>
                  <a:pt x="156" y="566"/>
                  <a:pt x="155" y="568"/>
                  <a:pt x="155" y="570"/>
                </a:cubicBezTo>
                <a:cubicBezTo>
                  <a:pt x="156" y="572"/>
                  <a:pt x="158" y="572"/>
                  <a:pt x="160" y="572"/>
                </a:cubicBezTo>
                <a:close/>
                <a:moveTo>
                  <a:pt x="183" y="491"/>
                </a:moveTo>
                <a:cubicBezTo>
                  <a:pt x="173" y="499"/>
                  <a:pt x="173" y="499"/>
                  <a:pt x="173" y="499"/>
                </a:cubicBezTo>
                <a:cubicBezTo>
                  <a:pt x="173" y="536"/>
                  <a:pt x="173" y="536"/>
                  <a:pt x="173" y="536"/>
                </a:cubicBezTo>
                <a:moveTo>
                  <a:pt x="185" y="485"/>
                </a:moveTo>
                <a:cubicBezTo>
                  <a:pt x="183" y="485"/>
                  <a:pt x="181" y="487"/>
                  <a:pt x="181" y="489"/>
                </a:cubicBezTo>
                <a:cubicBezTo>
                  <a:pt x="181" y="491"/>
                  <a:pt x="183" y="492"/>
                  <a:pt x="185" y="492"/>
                </a:cubicBezTo>
                <a:cubicBezTo>
                  <a:pt x="187" y="492"/>
                  <a:pt x="188" y="491"/>
                  <a:pt x="188" y="489"/>
                </a:cubicBezTo>
                <a:cubicBezTo>
                  <a:pt x="188" y="487"/>
                  <a:pt x="187" y="485"/>
                  <a:pt x="185" y="485"/>
                </a:cubicBezTo>
                <a:close/>
                <a:moveTo>
                  <a:pt x="173" y="535"/>
                </a:moveTo>
                <a:cubicBezTo>
                  <a:pt x="171" y="535"/>
                  <a:pt x="169" y="537"/>
                  <a:pt x="169" y="539"/>
                </a:cubicBezTo>
                <a:cubicBezTo>
                  <a:pt x="169" y="541"/>
                  <a:pt x="171" y="542"/>
                  <a:pt x="173" y="542"/>
                </a:cubicBezTo>
                <a:cubicBezTo>
                  <a:pt x="175" y="542"/>
                  <a:pt x="176" y="541"/>
                  <a:pt x="176" y="539"/>
                </a:cubicBezTo>
                <a:cubicBezTo>
                  <a:pt x="176" y="537"/>
                  <a:pt x="175" y="535"/>
                  <a:pt x="173" y="535"/>
                </a:cubicBezTo>
                <a:close/>
              </a:path>
            </a:pathLst>
          </a:custGeom>
          <a:noFill/>
          <a:ln w="14288" cap="flat">
            <a:solidFill>
              <a:schemeClr val="bg2">
                <a:lumMod val="60000"/>
                <a:lumOff val="4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6" name="Freeform 31"/>
          <p:cNvSpPr>
            <a:spLocks noEditPoints="1"/>
          </p:cNvSpPr>
          <p:nvPr/>
        </p:nvSpPr>
        <p:spPr bwMode="auto">
          <a:xfrm rot="5400000">
            <a:off x="5216623" y="3308185"/>
            <a:ext cx="1597171" cy="4852526"/>
          </a:xfrm>
          <a:custGeom>
            <a:avLst/>
            <a:gdLst>
              <a:gd name="T0" fmla="*/ 18 w 188"/>
              <a:gd name="T1" fmla="*/ 53 h 572"/>
              <a:gd name="T2" fmla="*/ 22 w 188"/>
              <a:gd name="T3" fmla="*/ 57 h 572"/>
              <a:gd name="T4" fmla="*/ 0 w 188"/>
              <a:gd name="T5" fmla="*/ 294 h 572"/>
              <a:gd name="T6" fmla="*/ 7 w 188"/>
              <a:gd name="T7" fmla="*/ 408 h 572"/>
              <a:gd name="T8" fmla="*/ 11 w 188"/>
              <a:gd name="T9" fmla="*/ 411 h 572"/>
              <a:gd name="T10" fmla="*/ 26 w 188"/>
              <a:gd name="T11" fmla="*/ 411 h 572"/>
              <a:gd name="T12" fmla="*/ 26 w 188"/>
              <a:gd name="T13" fmla="*/ 290 h 572"/>
              <a:gd name="T14" fmla="*/ 39 w 188"/>
              <a:gd name="T15" fmla="*/ 23 h 572"/>
              <a:gd name="T16" fmla="*/ 33 w 188"/>
              <a:gd name="T17" fmla="*/ 0 h 572"/>
              <a:gd name="T18" fmla="*/ 36 w 188"/>
              <a:gd name="T19" fmla="*/ 4 h 572"/>
              <a:gd name="T20" fmla="*/ 22 w 188"/>
              <a:gd name="T21" fmla="*/ 422 h 572"/>
              <a:gd name="T22" fmla="*/ 26 w 188"/>
              <a:gd name="T23" fmla="*/ 418 h 572"/>
              <a:gd name="T24" fmla="*/ 39 w 188"/>
              <a:gd name="T25" fmla="*/ 242 h 572"/>
              <a:gd name="T26" fmla="*/ 45 w 188"/>
              <a:gd name="T27" fmla="*/ 475 h 572"/>
              <a:gd name="T28" fmla="*/ 50 w 188"/>
              <a:gd name="T29" fmla="*/ 252 h 572"/>
              <a:gd name="T30" fmla="*/ 61 w 188"/>
              <a:gd name="T31" fmla="*/ 433 h 572"/>
              <a:gd name="T32" fmla="*/ 75 w 188"/>
              <a:gd name="T33" fmla="*/ 267 h 572"/>
              <a:gd name="T34" fmla="*/ 87 w 188"/>
              <a:gd name="T35" fmla="*/ 469 h 572"/>
              <a:gd name="T36" fmla="*/ 50 w 188"/>
              <a:gd name="T37" fmla="*/ 6 h 572"/>
              <a:gd name="T38" fmla="*/ 54 w 188"/>
              <a:gd name="T39" fmla="*/ 10 h 572"/>
              <a:gd name="T40" fmla="*/ 57 w 188"/>
              <a:gd name="T41" fmla="*/ 52 h 572"/>
              <a:gd name="T42" fmla="*/ 61 w 188"/>
              <a:gd name="T43" fmla="*/ 49 h 572"/>
              <a:gd name="T44" fmla="*/ 61 w 188"/>
              <a:gd name="T45" fmla="*/ 257 h 572"/>
              <a:gd name="T46" fmla="*/ 73 w 188"/>
              <a:gd name="T47" fmla="*/ 472 h 572"/>
              <a:gd name="T48" fmla="*/ 76 w 188"/>
              <a:gd name="T49" fmla="*/ 52 h 572"/>
              <a:gd name="T50" fmla="*/ 87 w 188"/>
              <a:gd name="T51" fmla="*/ 15 h 572"/>
              <a:gd name="T52" fmla="*/ 91 w 188"/>
              <a:gd name="T53" fmla="*/ 19 h 572"/>
              <a:gd name="T54" fmla="*/ 41 w 188"/>
              <a:gd name="T55" fmla="*/ 478 h 572"/>
              <a:gd name="T56" fmla="*/ 45 w 188"/>
              <a:gd name="T57" fmla="*/ 474 h 572"/>
              <a:gd name="T58" fmla="*/ 61 w 188"/>
              <a:gd name="T59" fmla="*/ 438 h 572"/>
              <a:gd name="T60" fmla="*/ 73 w 188"/>
              <a:gd name="T61" fmla="*/ 470 h 572"/>
              <a:gd name="T62" fmla="*/ 76 w 188"/>
              <a:gd name="T63" fmla="*/ 474 h 572"/>
              <a:gd name="T64" fmla="*/ 130 w 188"/>
              <a:gd name="T65" fmla="*/ 526 h 572"/>
              <a:gd name="T66" fmla="*/ 134 w 188"/>
              <a:gd name="T67" fmla="*/ 522 h 572"/>
              <a:gd name="T68" fmla="*/ 97 w 188"/>
              <a:gd name="T69" fmla="*/ 272 h 572"/>
              <a:gd name="T70" fmla="*/ 151 w 188"/>
              <a:gd name="T71" fmla="*/ 546 h 572"/>
              <a:gd name="T72" fmla="*/ 117 w 188"/>
              <a:gd name="T73" fmla="*/ 70 h 572"/>
              <a:gd name="T74" fmla="*/ 105 w 188"/>
              <a:gd name="T75" fmla="*/ 280 h 572"/>
              <a:gd name="T76" fmla="*/ 159 w 188"/>
              <a:gd name="T77" fmla="*/ 566 h 572"/>
              <a:gd name="T78" fmla="*/ 134 w 188"/>
              <a:gd name="T79" fmla="*/ 379 h 572"/>
              <a:gd name="T80" fmla="*/ 105 w 188"/>
              <a:gd name="T81" fmla="*/ 46 h 572"/>
              <a:gd name="T82" fmla="*/ 108 w 188"/>
              <a:gd name="T83" fmla="*/ 50 h 572"/>
              <a:gd name="T84" fmla="*/ 114 w 188"/>
              <a:gd name="T85" fmla="*/ 19 h 572"/>
              <a:gd name="T86" fmla="*/ 117 w 188"/>
              <a:gd name="T87" fmla="*/ 15 h 572"/>
              <a:gd name="T88" fmla="*/ 157 w 188"/>
              <a:gd name="T89" fmla="*/ 145 h 572"/>
              <a:gd name="T90" fmla="*/ 155 w 188"/>
              <a:gd name="T91" fmla="*/ 449 h 572"/>
              <a:gd name="T92" fmla="*/ 159 w 188"/>
              <a:gd name="T93" fmla="*/ 452 h 572"/>
              <a:gd name="T94" fmla="*/ 144 w 188"/>
              <a:gd name="T95" fmla="*/ 550 h 572"/>
              <a:gd name="T96" fmla="*/ 142 w 188"/>
              <a:gd name="T97" fmla="*/ 555 h 572"/>
              <a:gd name="T98" fmla="*/ 157 w 188"/>
              <a:gd name="T99" fmla="*/ 565 h 572"/>
              <a:gd name="T100" fmla="*/ 183 w 188"/>
              <a:gd name="T101" fmla="*/ 491 h 572"/>
              <a:gd name="T102" fmla="*/ 185 w 188"/>
              <a:gd name="T103" fmla="*/ 485 h 572"/>
              <a:gd name="T104" fmla="*/ 188 w 188"/>
              <a:gd name="T105" fmla="*/ 489 h 572"/>
              <a:gd name="T106" fmla="*/ 169 w 188"/>
              <a:gd name="T107" fmla="*/ 539 h 572"/>
              <a:gd name="T108" fmla="*/ 173 w 188"/>
              <a:gd name="T109" fmla="*/ 535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88" h="572">
                <a:moveTo>
                  <a:pt x="26" y="53"/>
                </a:moveTo>
                <a:cubicBezTo>
                  <a:pt x="26" y="55"/>
                  <a:pt x="24" y="57"/>
                  <a:pt x="22" y="57"/>
                </a:cubicBezTo>
                <a:cubicBezTo>
                  <a:pt x="20" y="57"/>
                  <a:pt x="18" y="55"/>
                  <a:pt x="18" y="53"/>
                </a:cubicBezTo>
                <a:cubicBezTo>
                  <a:pt x="18" y="51"/>
                  <a:pt x="20" y="50"/>
                  <a:pt x="22" y="50"/>
                </a:cubicBezTo>
                <a:cubicBezTo>
                  <a:pt x="24" y="50"/>
                  <a:pt x="26" y="51"/>
                  <a:pt x="26" y="53"/>
                </a:cubicBezTo>
                <a:close/>
                <a:moveTo>
                  <a:pt x="22" y="57"/>
                </a:moveTo>
                <a:cubicBezTo>
                  <a:pt x="22" y="68"/>
                  <a:pt x="22" y="210"/>
                  <a:pt x="22" y="210"/>
                </a:cubicBezTo>
                <a:cubicBezTo>
                  <a:pt x="0" y="231"/>
                  <a:pt x="0" y="231"/>
                  <a:pt x="0" y="231"/>
                </a:cubicBezTo>
                <a:cubicBezTo>
                  <a:pt x="0" y="241"/>
                  <a:pt x="0" y="294"/>
                  <a:pt x="0" y="294"/>
                </a:cubicBezTo>
                <a:cubicBezTo>
                  <a:pt x="7" y="303"/>
                  <a:pt x="7" y="303"/>
                  <a:pt x="7" y="303"/>
                </a:cubicBezTo>
                <a:cubicBezTo>
                  <a:pt x="7" y="408"/>
                  <a:pt x="7" y="408"/>
                  <a:pt x="7" y="408"/>
                </a:cubicBezTo>
                <a:moveTo>
                  <a:pt x="7" y="408"/>
                </a:moveTo>
                <a:cubicBezTo>
                  <a:pt x="5" y="408"/>
                  <a:pt x="4" y="409"/>
                  <a:pt x="4" y="411"/>
                </a:cubicBezTo>
                <a:cubicBezTo>
                  <a:pt x="4" y="413"/>
                  <a:pt x="5" y="415"/>
                  <a:pt x="7" y="415"/>
                </a:cubicBezTo>
                <a:cubicBezTo>
                  <a:pt x="9" y="415"/>
                  <a:pt x="11" y="413"/>
                  <a:pt x="11" y="411"/>
                </a:cubicBezTo>
                <a:cubicBezTo>
                  <a:pt x="11" y="409"/>
                  <a:pt x="9" y="408"/>
                  <a:pt x="7" y="408"/>
                </a:cubicBezTo>
                <a:close/>
                <a:moveTo>
                  <a:pt x="26" y="420"/>
                </a:moveTo>
                <a:cubicBezTo>
                  <a:pt x="26" y="411"/>
                  <a:pt x="26" y="411"/>
                  <a:pt x="26" y="411"/>
                </a:cubicBezTo>
                <a:cubicBezTo>
                  <a:pt x="15" y="404"/>
                  <a:pt x="15" y="404"/>
                  <a:pt x="15" y="404"/>
                </a:cubicBezTo>
                <a:cubicBezTo>
                  <a:pt x="15" y="300"/>
                  <a:pt x="15" y="300"/>
                  <a:pt x="15" y="300"/>
                </a:cubicBezTo>
                <a:cubicBezTo>
                  <a:pt x="26" y="290"/>
                  <a:pt x="26" y="290"/>
                  <a:pt x="26" y="290"/>
                </a:cubicBezTo>
                <a:cubicBezTo>
                  <a:pt x="26" y="236"/>
                  <a:pt x="26" y="236"/>
                  <a:pt x="26" y="236"/>
                </a:cubicBezTo>
                <a:cubicBezTo>
                  <a:pt x="39" y="224"/>
                  <a:pt x="39" y="224"/>
                  <a:pt x="39" y="224"/>
                </a:cubicBezTo>
                <a:cubicBezTo>
                  <a:pt x="39" y="23"/>
                  <a:pt x="39" y="23"/>
                  <a:pt x="39" y="23"/>
                </a:cubicBezTo>
                <a:cubicBezTo>
                  <a:pt x="32" y="17"/>
                  <a:pt x="32" y="17"/>
                  <a:pt x="32" y="17"/>
                </a:cubicBezTo>
                <a:cubicBezTo>
                  <a:pt x="32" y="8"/>
                  <a:pt x="32" y="8"/>
                  <a:pt x="32" y="8"/>
                </a:cubicBezTo>
                <a:moveTo>
                  <a:pt x="33" y="0"/>
                </a:moveTo>
                <a:cubicBezTo>
                  <a:pt x="31" y="0"/>
                  <a:pt x="29" y="2"/>
                  <a:pt x="29" y="4"/>
                </a:cubicBezTo>
                <a:cubicBezTo>
                  <a:pt x="29" y="6"/>
                  <a:pt x="31" y="8"/>
                  <a:pt x="33" y="8"/>
                </a:cubicBezTo>
                <a:cubicBezTo>
                  <a:pt x="35" y="8"/>
                  <a:pt x="36" y="6"/>
                  <a:pt x="36" y="4"/>
                </a:cubicBezTo>
                <a:cubicBezTo>
                  <a:pt x="36" y="2"/>
                  <a:pt x="35" y="0"/>
                  <a:pt x="33" y="0"/>
                </a:cubicBezTo>
                <a:close/>
                <a:moveTo>
                  <a:pt x="26" y="418"/>
                </a:moveTo>
                <a:cubicBezTo>
                  <a:pt x="24" y="418"/>
                  <a:pt x="22" y="420"/>
                  <a:pt x="22" y="422"/>
                </a:cubicBezTo>
                <a:cubicBezTo>
                  <a:pt x="22" y="424"/>
                  <a:pt x="24" y="426"/>
                  <a:pt x="26" y="426"/>
                </a:cubicBezTo>
                <a:cubicBezTo>
                  <a:pt x="28" y="426"/>
                  <a:pt x="29" y="424"/>
                  <a:pt x="29" y="422"/>
                </a:cubicBezTo>
                <a:cubicBezTo>
                  <a:pt x="29" y="420"/>
                  <a:pt x="28" y="418"/>
                  <a:pt x="26" y="418"/>
                </a:cubicBezTo>
                <a:close/>
                <a:moveTo>
                  <a:pt x="50" y="12"/>
                </a:moveTo>
                <a:cubicBezTo>
                  <a:pt x="50" y="232"/>
                  <a:pt x="50" y="232"/>
                  <a:pt x="50" y="232"/>
                </a:cubicBezTo>
                <a:cubicBezTo>
                  <a:pt x="39" y="242"/>
                  <a:pt x="39" y="242"/>
                  <a:pt x="39" y="242"/>
                </a:cubicBezTo>
                <a:cubicBezTo>
                  <a:pt x="39" y="377"/>
                  <a:pt x="39" y="377"/>
                  <a:pt x="39" y="377"/>
                </a:cubicBezTo>
                <a:cubicBezTo>
                  <a:pt x="45" y="386"/>
                  <a:pt x="45" y="386"/>
                  <a:pt x="45" y="386"/>
                </a:cubicBezTo>
                <a:cubicBezTo>
                  <a:pt x="45" y="475"/>
                  <a:pt x="45" y="475"/>
                  <a:pt x="45" y="475"/>
                </a:cubicBezTo>
                <a:moveTo>
                  <a:pt x="61" y="53"/>
                </a:moveTo>
                <a:cubicBezTo>
                  <a:pt x="61" y="241"/>
                  <a:pt x="61" y="241"/>
                  <a:pt x="61" y="241"/>
                </a:cubicBezTo>
                <a:cubicBezTo>
                  <a:pt x="50" y="252"/>
                  <a:pt x="50" y="252"/>
                  <a:pt x="50" y="252"/>
                </a:cubicBezTo>
                <a:cubicBezTo>
                  <a:pt x="50" y="370"/>
                  <a:pt x="50" y="370"/>
                  <a:pt x="50" y="370"/>
                </a:cubicBezTo>
                <a:cubicBezTo>
                  <a:pt x="61" y="380"/>
                  <a:pt x="61" y="380"/>
                  <a:pt x="61" y="380"/>
                </a:cubicBezTo>
                <a:cubicBezTo>
                  <a:pt x="61" y="433"/>
                  <a:pt x="61" y="433"/>
                  <a:pt x="61" y="433"/>
                </a:cubicBezTo>
                <a:moveTo>
                  <a:pt x="87" y="21"/>
                </a:moveTo>
                <a:cubicBezTo>
                  <a:pt x="87" y="252"/>
                  <a:pt x="87" y="252"/>
                  <a:pt x="87" y="252"/>
                </a:cubicBezTo>
                <a:cubicBezTo>
                  <a:pt x="75" y="267"/>
                  <a:pt x="75" y="267"/>
                  <a:pt x="75" y="267"/>
                </a:cubicBezTo>
                <a:cubicBezTo>
                  <a:pt x="75" y="359"/>
                  <a:pt x="75" y="359"/>
                  <a:pt x="75" y="359"/>
                </a:cubicBezTo>
                <a:cubicBezTo>
                  <a:pt x="87" y="369"/>
                  <a:pt x="87" y="369"/>
                  <a:pt x="87" y="369"/>
                </a:cubicBezTo>
                <a:cubicBezTo>
                  <a:pt x="87" y="469"/>
                  <a:pt x="87" y="469"/>
                  <a:pt x="87" y="469"/>
                </a:cubicBezTo>
                <a:cubicBezTo>
                  <a:pt x="134" y="517"/>
                  <a:pt x="134" y="517"/>
                  <a:pt x="134" y="517"/>
                </a:cubicBezTo>
                <a:cubicBezTo>
                  <a:pt x="134" y="524"/>
                  <a:pt x="134" y="524"/>
                  <a:pt x="134" y="524"/>
                </a:cubicBezTo>
                <a:moveTo>
                  <a:pt x="50" y="6"/>
                </a:moveTo>
                <a:cubicBezTo>
                  <a:pt x="48" y="6"/>
                  <a:pt x="46" y="8"/>
                  <a:pt x="46" y="10"/>
                </a:cubicBezTo>
                <a:cubicBezTo>
                  <a:pt x="46" y="12"/>
                  <a:pt x="48" y="13"/>
                  <a:pt x="50" y="13"/>
                </a:cubicBezTo>
                <a:cubicBezTo>
                  <a:pt x="52" y="13"/>
                  <a:pt x="54" y="12"/>
                  <a:pt x="54" y="10"/>
                </a:cubicBezTo>
                <a:cubicBezTo>
                  <a:pt x="54" y="8"/>
                  <a:pt x="52" y="6"/>
                  <a:pt x="50" y="6"/>
                </a:cubicBezTo>
                <a:close/>
                <a:moveTo>
                  <a:pt x="61" y="49"/>
                </a:moveTo>
                <a:cubicBezTo>
                  <a:pt x="59" y="49"/>
                  <a:pt x="57" y="50"/>
                  <a:pt x="57" y="52"/>
                </a:cubicBezTo>
                <a:cubicBezTo>
                  <a:pt x="57" y="54"/>
                  <a:pt x="59" y="56"/>
                  <a:pt x="61" y="56"/>
                </a:cubicBezTo>
                <a:cubicBezTo>
                  <a:pt x="63" y="56"/>
                  <a:pt x="64" y="54"/>
                  <a:pt x="64" y="52"/>
                </a:cubicBezTo>
                <a:cubicBezTo>
                  <a:pt x="64" y="50"/>
                  <a:pt x="63" y="49"/>
                  <a:pt x="61" y="49"/>
                </a:cubicBezTo>
                <a:close/>
                <a:moveTo>
                  <a:pt x="76" y="51"/>
                </a:moveTo>
                <a:cubicBezTo>
                  <a:pt x="76" y="243"/>
                  <a:pt x="76" y="243"/>
                  <a:pt x="76" y="243"/>
                </a:cubicBezTo>
                <a:cubicBezTo>
                  <a:pt x="72" y="247"/>
                  <a:pt x="61" y="257"/>
                  <a:pt x="61" y="257"/>
                </a:cubicBezTo>
                <a:cubicBezTo>
                  <a:pt x="61" y="364"/>
                  <a:pt x="61" y="364"/>
                  <a:pt x="61" y="364"/>
                </a:cubicBezTo>
                <a:cubicBezTo>
                  <a:pt x="73" y="377"/>
                  <a:pt x="73" y="377"/>
                  <a:pt x="73" y="377"/>
                </a:cubicBezTo>
                <a:cubicBezTo>
                  <a:pt x="73" y="472"/>
                  <a:pt x="73" y="472"/>
                  <a:pt x="73" y="472"/>
                </a:cubicBezTo>
                <a:moveTo>
                  <a:pt x="76" y="45"/>
                </a:moveTo>
                <a:cubicBezTo>
                  <a:pt x="74" y="45"/>
                  <a:pt x="73" y="47"/>
                  <a:pt x="73" y="49"/>
                </a:cubicBezTo>
                <a:cubicBezTo>
                  <a:pt x="73" y="51"/>
                  <a:pt x="74" y="52"/>
                  <a:pt x="76" y="52"/>
                </a:cubicBezTo>
                <a:cubicBezTo>
                  <a:pt x="78" y="52"/>
                  <a:pt x="80" y="51"/>
                  <a:pt x="80" y="49"/>
                </a:cubicBezTo>
                <a:cubicBezTo>
                  <a:pt x="80" y="47"/>
                  <a:pt x="78" y="45"/>
                  <a:pt x="76" y="45"/>
                </a:cubicBezTo>
                <a:close/>
                <a:moveTo>
                  <a:pt x="87" y="15"/>
                </a:moveTo>
                <a:cubicBezTo>
                  <a:pt x="85" y="15"/>
                  <a:pt x="84" y="17"/>
                  <a:pt x="84" y="19"/>
                </a:cubicBezTo>
                <a:cubicBezTo>
                  <a:pt x="84" y="21"/>
                  <a:pt x="85" y="22"/>
                  <a:pt x="87" y="22"/>
                </a:cubicBezTo>
                <a:cubicBezTo>
                  <a:pt x="89" y="22"/>
                  <a:pt x="91" y="21"/>
                  <a:pt x="91" y="19"/>
                </a:cubicBezTo>
                <a:cubicBezTo>
                  <a:pt x="91" y="17"/>
                  <a:pt x="89" y="15"/>
                  <a:pt x="87" y="15"/>
                </a:cubicBezTo>
                <a:close/>
                <a:moveTo>
                  <a:pt x="45" y="474"/>
                </a:moveTo>
                <a:cubicBezTo>
                  <a:pt x="43" y="474"/>
                  <a:pt x="41" y="476"/>
                  <a:pt x="41" y="478"/>
                </a:cubicBezTo>
                <a:cubicBezTo>
                  <a:pt x="41" y="480"/>
                  <a:pt x="43" y="481"/>
                  <a:pt x="45" y="481"/>
                </a:cubicBezTo>
                <a:cubicBezTo>
                  <a:pt x="47" y="481"/>
                  <a:pt x="48" y="480"/>
                  <a:pt x="48" y="478"/>
                </a:cubicBezTo>
                <a:cubicBezTo>
                  <a:pt x="48" y="476"/>
                  <a:pt x="47" y="474"/>
                  <a:pt x="45" y="474"/>
                </a:cubicBezTo>
                <a:close/>
                <a:moveTo>
                  <a:pt x="61" y="431"/>
                </a:moveTo>
                <a:cubicBezTo>
                  <a:pt x="59" y="431"/>
                  <a:pt x="57" y="432"/>
                  <a:pt x="57" y="434"/>
                </a:cubicBezTo>
                <a:cubicBezTo>
                  <a:pt x="57" y="436"/>
                  <a:pt x="59" y="438"/>
                  <a:pt x="61" y="438"/>
                </a:cubicBezTo>
                <a:cubicBezTo>
                  <a:pt x="63" y="438"/>
                  <a:pt x="64" y="436"/>
                  <a:pt x="64" y="434"/>
                </a:cubicBezTo>
                <a:cubicBezTo>
                  <a:pt x="64" y="432"/>
                  <a:pt x="63" y="431"/>
                  <a:pt x="61" y="431"/>
                </a:cubicBezTo>
                <a:close/>
                <a:moveTo>
                  <a:pt x="73" y="470"/>
                </a:moveTo>
                <a:cubicBezTo>
                  <a:pt x="71" y="470"/>
                  <a:pt x="69" y="472"/>
                  <a:pt x="69" y="474"/>
                </a:cubicBezTo>
                <a:cubicBezTo>
                  <a:pt x="69" y="476"/>
                  <a:pt x="71" y="478"/>
                  <a:pt x="73" y="478"/>
                </a:cubicBezTo>
                <a:cubicBezTo>
                  <a:pt x="75" y="478"/>
                  <a:pt x="76" y="476"/>
                  <a:pt x="76" y="474"/>
                </a:cubicBezTo>
                <a:cubicBezTo>
                  <a:pt x="76" y="472"/>
                  <a:pt x="75" y="470"/>
                  <a:pt x="73" y="470"/>
                </a:cubicBezTo>
                <a:close/>
                <a:moveTo>
                  <a:pt x="134" y="522"/>
                </a:moveTo>
                <a:cubicBezTo>
                  <a:pt x="132" y="522"/>
                  <a:pt x="130" y="524"/>
                  <a:pt x="130" y="526"/>
                </a:cubicBezTo>
                <a:cubicBezTo>
                  <a:pt x="130" y="528"/>
                  <a:pt x="132" y="530"/>
                  <a:pt x="134" y="530"/>
                </a:cubicBezTo>
                <a:cubicBezTo>
                  <a:pt x="136" y="530"/>
                  <a:pt x="138" y="528"/>
                  <a:pt x="138" y="526"/>
                </a:cubicBezTo>
                <a:cubicBezTo>
                  <a:pt x="138" y="524"/>
                  <a:pt x="136" y="522"/>
                  <a:pt x="134" y="522"/>
                </a:cubicBezTo>
                <a:close/>
                <a:moveTo>
                  <a:pt x="105" y="52"/>
                </a:moveTo>
                <a:cubicBezTo>
                  <a:pt x="105" y="267"/>
                  <a:pt x="105" y="267"/>
                  <a:pt x="105" y="267"/>
                </a:cubicBezTo>
                <a:cubicBezTo>
                  <a:pt x="97" y="272"/>
                  <a:pt x="97" y="272"/>
                  <a:pt x="97" y="272"/>
                </a:cubicBezTo>
                <a:cubicBezTo>
                  <a:pt x="97" y="438"/>
                  <a:pt x="97" y="438"/>
                  <a:pt x="97" y="438"/>
                </a:cubicBezTo>
                <a:cubicBezTo>
                  <a:pt x="151" y="489"/>
                  <a:pt x="151" y="489"/>
                  <a:pt x="151" y="489"/>
                </a:cubicBezTo>
                <a:cubicBezTo>
                  <a:pt x="151" y="546"/>
                  <a:pt x="151" y="546"/>
                  <a:pt x="151" y="546"/>
                </a:cubicBezTo>
                <a:cubicBezTo>
                  <a:pt x="142" y="551"/>
                  <a:pt x="142" y="551"/>
                  <a:pt x="142" y="551"/>
                </a:cubicBezTo>
                <a:moveTo>
                  <a:pt x="117" y="21"/>
                </a:moveTo>
                <a:cubicBezTo>
                  <a:pt x="117" y="70"/>
                  <a:pt x="117" y="70"/>
                  <a:pt x="117" y="70"/>
                </a:cubicBezTo>
                <a:cubicBezTo>
                  <a:pt x="113" y="75"/>
                  <a:pt x="113" y="75"/>
                  <a:pt x="113" y="75"/>
                </a:cubicBezTo>
                <a:cubicBezTo>
                  <a:pt x="113" y="272"/>
                  <a:pt x="113" y="272"/>
                  <a:pt x="113" y="272"/>
                </a:cubicBezTo>
                <a:cubicBezTo>
                  <a:pt x="105" y="280"/>
                  <a:pt x="105" y="280"/>
                  <a:pt x="105" y="280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59" y="485"/>
                  <a:pt x="159" y="485"/>
                  <a:pt x="159" y="485"/>
                </a:cubicBezTo>
                <a:cubicBezTo>
                  <a:pt x="159" y="566"/>
                  <a:pt x="159" y="566"/>
                  <a:pt x="159" y="566"/>
                </a:cubicBezTo>
                <a:moveTo>
                  <a:pt x="155" y="143"/>
                </a:moveTo>
                <a:cubicBezTo>
                  <a:pt x="134" y="164"/>
                  <a:pt x="134" y="164"/>
                  <a:pt x="134" y="164"/>
                </a:cubicBezTo>
                <a:cubicBezTo>
                  <a:pt x="134" y="379"/>
                  <a:pt x="134" y="379"/>
                  <a:pt x="134" y="379"/>
                </a:cubicBezTo>
                <a:cubicBezTo>
                  <a:pt x="155" y="403"/>
                  <a:pt x="155" y="403"/>
                  <a:pt x="155" y="403"/>
                </a:cubicBezTo>
                <a:cubicBezTo>
                  <a:pt x="155" y="449"/>
                  <a:pt x="155" y="449"/>
                  <a:pt x="155" y="449"/>
                </a:cubicBezTo>
                <a:moveTo>
                  <a:pt x="105" y="46"/>
                </a:moveTo>
                <a:cubicBezTo>
                  <a:pt x="103" y="46"/>
                  <a:pt x="101" y="48"/>
                  <a:pt x="101" y="50"/>
                </a:cubicBezTo>
                <a:cubicBezTo>
                  <a:pt x="101" y="52"/>
                  <a:pt x="103" y="53"/>
                  <a:pt x="105" y="53"/>
                </a:cubicBezTo>
                <a:cubicBezTo>
                  <a:pt x="107" y="53"/>
                  <a:pt x="108" y="52"/>
                  <a:pt x="108" y="50"/>
                </a:cubicBezTo>
                <a:cubicBezTo>
                  <a:pt x="108" y="48"/>
                  <a:pt x="107" y="46"/>
                  <a:pt x="105" y="46"/>
                </a:cubicBezTo>
                <a:close/>
                <a:moveTo>
                  <a:pt x="117" y="15"/>
                </a:moveTo>
                <a:cubicBezTo>
                  <a:pt x="115" y="15"/>
                  <a:pt x="114" y="17"/>
                  <a:pt x="114" y="19"/>
                </a:cubicBezTo>
                <a:cubicBezTo>
                  <a:pt x="114" y="21"/>
                  <a:pt x="115" y="22"/>
                  <a:pt x="117" y="22"/>
                </a:cubicBezTo>
                <a:cubicBezTo>
                  <a:pt x="119" y="22"/>
                  <a:pt x="121" y="21"/>
                  <a:pt x="121" y="19"/>
                </a:cubicBezTo>
                <a:cubicBezTo>
                  <a:pt x="121" y="17"/>
                  <a:pt x="119" y="15"/>
                  <a:pt x="117" y="15"/>
                </a:cubicBezTo>
                <a:close/>
                <a:moveTo>
                  <a:pt x="157" y="137"/>
                </a:moveTo>
                <a:cubicBezTo>
                  <a:pt x="155" y="137"/>
                  <a:pt x="154" y="139"/>
                  <a:pt x="154" y="141"/>
                </a:cubicBezTo>
                <a:cubicBezTo>
                  <a:pt x="154" y="143"/>
                  <a:pt x="155" y="145"/>
                  <a:pt x="157" y="145"/>
                </a:cubicBezTo>
                <a:cubicBezTo>
                  <a:pt x="159" y="145"/>
                  <a:pt x="161" y="143"/>
                  <a:pt x="161" y="141"/>
                </a:cubicBezTo>
                <a:cubicBezTo>
                  <a:pt x="161" y="139"/>
                  <a:pt x="159" y="137"/>
                  <a:pt x="157" y="137"/>
                </a:cubicBezTo>
                <a:close/>
                <a:moveTo>
                  <a:pt x="155" y="449"/>
                </a:moveTo>
                <a:cubicBezTo>
                  <a:pt x="153" y="449"/>
                  <a:pt x="152" y="450"/>
                  <a:pt x="152" y="452"/>
                </a:cubicBezTo>
                <a:cubicBezTo>
                  <a:pt x="152" y="454"/>
                  <a:pt x="153" y="456"/>
                  <a:pt x="155" y="456"/>
                </a:cubicBezTo>
                <a:cubicBezTo>
                  <a:pt x="157" y="456"/>
                  <a:pt x="159" y="454"/>
                  <a:pt x="159" y="452"/>
                </a:cubicBezTo>
                <a:cubicBezTo>
                  <a:pt x="159" y="450"/>
                  <a:pt x="157" y="449"/>
                  <a:pt x="155" y="449"/>
                </a:cubicBezTo>
                <a:close/>
                <a:moveTo>
                  <a:pt x="142" y="555"/>
                </a:moveTo>
                <a:cubicBezTo>
                  <a:pt x="143" y="554"/>
                  <a:pt x="144" y="552"/>
                  <a:pt x="144" y="550"/>
                </a:cubicBezTo>
                <a:cubicBezTo>
                  <a:pt x="143" y="548"/>
                  <a:pt x="141" y="547"/>
                  <a:pt x="139" y="548"/>
                </a:cubicBezTo>
                <a:cubicBezTo>
                  <a:pt x="137" y="549"/>
                  <a:pt x="136" y="551"/>
                  <a:pt x="137" y="553"/>
                </a:cubicBezTo>
                <a:cubicBezTo>
                  <a:pt x="138" y="555"/>
                  <a:pt x="140" y="556"/>
                  <a:pt x="142" y="555"/>
                </a:cubicBezTo>
                <a:close/>
                <a:moveTo>
                  <a:pt x="160" y="572"/>
                </a:moveTo>
                <a:cubicBezTo>
                  <a:pt x="162" y="571"/>
                  <a:pt x="163" y="569"/>
                  <a:pt x="162" y="567"/>
                </a:cubicBezTo>
                <a:cubicBezTo>
                  <a:pt x="161" y="565"/>
                  <a:pt x="159" y="564"/>
                  <a:pt x="157" y="565"/>
                </a:cubicBezTo>
                <a:cubicBezTo>
                  <a:pt x="156" y="566"/>
                  <a:pt x="155" y="568"/>
                  <a:pt x="155" y="570"/>
                </a:cubicBezTo>
                <a:cubicBezTo>
                  <a:pt x="156" y="572"/>
                  <a:pt x="158" y="572"/>
                  <a:pt x="160" y="572"/>
                </a:cubicBezTo>
                <a:close/>
                <a:moveTo>
                  <a:pt x="183" y="491"/>
                </a:moveTo>
                <a:cubicBezTo>
                  <a:pt x="173" y="499"/>
                  <a:pt x="173" y="499"/>
                  <a:pt x="173" y="499"/>
                </a:cubicBezTo>
                <a:cubicBezTo>
                  <a:pt x="173" y="536"/>
                  <a:pt x="173" y="536"/>
                  <a:pt x="173" y="536"/>
                </a:cubicBezTo>
                <a:moveTo>
                  <a:pt x="185" y="485"/>
                </a:moveTo>
                <a:cubicBezTo>
                  <a:pt x="183" y="485"/>
                  <a:pt x="181" y="487"/>
                  <a:pt x="181" y="489"/>
                </a:cubicBezTo>
                <a:cubicBezTo>
                  <a:pt x="181" y="491"/>
                  <a:pt x="183" y="492"/>
                  <a:pt x="185" y="492"/>
                </a:cubicBezTo>
                <a:cubicBezTo>
                  <a:pt x="187" y="492"/>
                  <a:pt x="188" y="491"/>
                  <a:pt x="188" y="489"/>
                </a:cubicBezTo>
                <a:cubicBezTo>
                  <a:pt x="188" y="487"/>
                  <a:pt x="187" y="485"/>
                  <a:pt x="185" y="485"/>
                </a:cubicBezTo>
                <a:close/>
                <a:moveTo>
                  <a:pt x="173" y="535"/>
                </a:moveTo>
                <a:cubicBezTo>
                  <a:pt x="171" y="535"/>
                  <a:pt x="169" y="537"/>
                  <a:pt x="169" y="539"/>
                </a:cubicBezTo>
                <a:cubicBezTo>
                  <a:pt x="169" y="541"/>
                  <a:pt x="171" y="542"/>
                  <a:pt x="173" y="542"/>
                </a:cubicBezTo>
                <a:cubicBezTo>
                  <a:pt x="175" y="542"/>
                  <a:pt x="176" y="541"/>
                  <a:pt x="176" y="539"/>
                </a:cubicBezTo>
                <a:cubicBezTo>
                  <a:pt x="176" y="537"/>
                  <a:pt x="175" y="535"/>
                  <a:pt x="173" y="535"/>
                </a:cubicBezTo>
                <a:close/>
              </a:path>
            </a:pathLst>
          </a:custGeom>
          <a:noFill/>
          <a:ln w="14288" cap="flat">
            <a:solidFill>
              <a:schemeClr val="bg2">
                <a:lumMod val="60000"/>
                <a:lumOff val="4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16106"/>
          <a:stretch/>
        </p:blipFill>
        <p:spPr>
          <a:xfrm>
            <a:off x="5084280" y="5127163"/>
            <a:ext cx="2595033" cy="1329113"/>
          </a:xfrm>
          <a:prstGeom prst="rect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5"/>
          <a:srcRect t="11944"/>
          <a:stretch/>
        </p:blipFill>
        <p:spPr>
          <a:xfrm>
            <a:off x="1072318" y="5127163"/>
            <a:ext cx="2615995" cy="1333008"/>
          </a:xfrm>
          <a:prstGeom prst="rect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</p:pic>
      <p:sp>
        <p:nvSpPr>
          <p:cNvPr id="17" name="Заголовок 1"/>
          <p:cNvSpPr txBox="1">
            <a:spLocks/>
          </p:cNvSpPr>
          <p:nvPr/>
        </p:nvSpPr>
        <p:spPr>
          <a:xfrm>
            <a:off x="7610340" y="4190251"/>
            <a:ext cx="3145392" cy="3727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/>
            <a:r>
              <a:rPr lang="ru-RU" sz="28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Кравченко К.Ю.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75280" y="5127163"/>
            <a:ext cx="2591284" cy="1329113"/>
          </a:xfrm>
          <a:prstGeom prst="rect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</p:pic>
      <p:cxnSp>
        <p:nvCxnSpPr>
          <p:cNvPr id="4" name="Прямая соединительная линия 3"/>
          <p:cNvCxnSpPr/>
          <p:nvPr/>
        </p:nvCxnSpPr>
        <p:spPr>
          <a:xfrm>
            <a:off x="-22550" y="4378819"/>
            <a:ext cx="76328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10254343" y="4378819"/>
            <a:ext cx="1913520" cy="0"/>
          </a:xfrm>
          <a:prstGeom prst="line">
            <a:avLst/>
          </a:prstGeom>
          <a:ln>
            <a:solidFill>
              <a:srgbClr val="FF26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6958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/>
          <p:cNvGrpSpPr/>
          <p:nvPr/>
        </p:nvGrpSpPr>
        <p:grpSpPr>
          <a:xfrm>
            <a:off x="-2" y="5699523"/>
            <a:ext cx="12207301" cy="1376595"/>
            <a:chOff x="-2" y="5972043"/>
            <a:chExt cx="12207301" cy="1104075"/>
          </a:xfrm>
        </p:grpSpPr>
        <p:sp>
          <p:nvSpPr>
            <p:cNvPr id="66" name="Прямоугольник 65"/>
            <p:cNvSpPr/>
            <p:nvPr/>
          </p:nvSpPr>
          <p:spPr>
            <a:xfrm>
              <a:off x="-2" y="5972043"/>
              <a:ext cx="12192000" cy="1104075"/>
            </a:xfrm>
            <a:prstGeom prst="rect">
              <a:avLst/>
            </a:prstGeom>
            <a:solidFill>
              <a:srgbClr val="212E3C"/>
            </a:solidFill>
            <a:ln>
              <a:solidFill>
                <a:srgbClr val="212E3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1" name="Gleichschenkliges Dreieck">
              <a:extLst>
                <a:ext uri="{FF2B5EF4-FFF2-40B4-BE49-F238E27FC236}">
                  <a16:creationId xmlns:a16="http://schemas.microsoft.com/office/drawing/2014/main" id="{81B08A17-071F-4D0E-8977-DF6F632C9D51}"/>
                </a:ext>
              </a:extLst>
            </p:cNvPr>
            <p:cNvSpPr>
              <a:spLocks noChangeAspect="1"/>
            </p:cNvSpPr>
            <p:nvPr/>
          </p:nvSpPr>
          <p:spPr bwMode="gray">
            <a:xfrm rot="5400000">
              <a:off x="2038232" y="3957866"/>
              <a:ext cx="1031939" cy="5108408"/>
            </a:xfrm>
            <a:prstGeom prst="triangl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>
                    <a:alpha val="50000"/>
                  </a:schemeClr>
                </a:gs>
              </a:gsLst>
              <a:lin ang="16200000" scaled="0"/>
            </a:gradFill>
            <a:ln>
              <a:noFill/>
            </a:ln>
            <a:effectLst>
              <a:softEdge rad="1270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dirty="0"/>
            </a:p>
          </p:txBody>
        </p:sp>
        <p:sp>
          <p:nvSpPr>
            <p:cNvPr id="104" name="Gleichschenkliges Dreieck">
              <a:extLst>
                <a:ext uri="{FF2B5EF4-FFF2-40B4-BE49-F238E27FC236}">
                  <a16:creationId xmlns:a16="http://schemas.microsoft.com/office/drawing/2014/main" id="{81B08A17-071F-4D0E-8977-DF6F632C9D51}"/>
                </a:ext>
              </a:extLst>
            </p:cNvPr>
            <p:cNvSpPr>
              <a:spLocks noChangeAspect="1"/>
            </p:cNvSpPr>
            <p:nvPr/>
          </p:nvSpPr>
          <p:spPr bwMode="gray">
            <a:xfrm rot="16200000">
              <a:off x="9137125" y="3957866"/>
              <a:ext cx="1031939" cy="5108408"/>
            </a:xfrm>
            <a:prstGeom prst="triangle">
              <a:avLst/>
            </a:prstGeom>
            <a:gradFill>
              <a:gsLst>
                <a:gs pos="0">
                  <a:schemeClr val="accent1">
                    <a:alpha val="0"/>
                  </a:schemeClr>
                </a:gs>
                <a:gs pos="100000">
                  <a:schemeClr val="accent1">
                    <a:alpha val="50000"/>
                  </a:schemeClr>
                </a:gs>
              </a:gsLst>
              <a:lin ang="16200000" scaled="0"/>
            </a:gradFill>
            <a:ln>
              <a:noFill/>
            </a:ln>
            <a:effectLst>
              <a:softEdge rad="1270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dirty="0"/>
            </a:p>
          </p:txBody>
        </p:sp>
      </p:grpSp>
      <p:sp>
        <p:nvSpPr>
          <p:cNvPr id="24" name="Freeform 3">
            <a:extLst>
              <a:ext uri="{FF2B5EF4-FFF2-40B4-BE49-F238E27FC236}">
                <a16:creationId xmlns:a16="http://schemas.microsoft.com/office/drawing/2014/main" id="{AB4CCE72-D79B-49AD-9FAB-B8EBC4DF35E8}"/>
              </a:ext>
            </a:extLst>
          </p:cNvPr>
          <p:cNvSpPr/>
          <p:nvPr/>
        </p:nvSpPr>
        <p:spPr>
          <a:xfrm>
            <a:off x="6134300" y="1080688"/>
            <a:ext cx="1768763" cy="1768763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1905000 h 1905000"/>
              <a:gd name="connsiteX2" fmla="*/ 0 w 1905000"/>
              <a:gd name="connsiteY2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cubicBezTo>
                  <a:pt x="1052102" y="0"/>
                  <a:pt x="1905000" y="852898"/>
                  <a:pt x="1905000" y="1905000"/>
                </a:cubicBezTo>
                <a:lnTo>
                  <a:pt x="0" y="1905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4000" bIns="381000" rtlCol="0" anchor="b"/>
          <a:lstStyle/>
          <a:p>
            <a:r>
              <a:rPr lang="ru-RU" b="1" dirty="0">
                <a:solidFill>
                  <a:schemeClr val="tx1"/>
                </a:solidFill>
                <a:ea typeface="Roboto Light" charset="0"/>
                <a:cs typeface="Roboto Light" charset="0"/>
              </a:rPr>
              <a:t>ДАННЫЕ</a:t>
            </a:r>
            <a:endParaRPr lang="en-US" b="1" dirty="0">
              <a:solidFill>
                <a:schemeClr val="tx1"/>
              </a:solidFill>
              <a:ea typeface="Roboto Light" charset="0"/>
              <a:cs typeface="Roboto Light" charset="0"/>
            </a:endParaRPr>
          </a:p>
        </p:txBody>
      </p:sp>
      <p:sp>
        <p:nvSpPr>
          <p:cNvPr id="25" name="Freeform 4">
            <a:extLst>
              <a:ext uri="{FF2B5EF4-FFF2-40B4-BE49-F238E27FC236}">
                <a16:creationId xmlns:a16="http://schemas.microsoft.com/office/drawing/2014/main" id="{2BFD0D33-0296-4056-BCAD-B6CC527B68CE}"/>
              </a:ext>
            </a:extLst>
          </p:cNvPr>
          <p:cNvSpPr/>
          <p:nvPr/>
        </p:nvSpPr>
        <p:spPr>
          <a:xfrm>
            <a:off x="4288937" y="2926051"/>
            <a:ext cx="1768763" cy="1768763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cubicBezTo>
                  <a:pt x="852898" y="1905000"/>
                  <a:pt x="0" y="1052102"/>
                  <a:pt x="0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81000" rIns="254000" rtlCol="0" anchor="t"/>
          <a:lstStyle/>
          <a:p>
            <a:pPr algn="r"/>
            <a:r>
              <a:rPr lang="ru-RU" b="1" dirty="0">
                <a:solidFill>
                  <a:schemeClr val="tx1"/>
                </a:solidFill>
                <a:ea typeface="Roboto Light" charset="0"/>
                <a:cs typeface="Roboto Light" charset="0"/>
              </a:rPr>
              <a:t>ПРОЦЕССЫ</a:t>
            </a:r>
            <a:endParaRPr lang="en-US" b="1" dirty="0">
              <a:solidFill>
                <a:schemeClr val="tx1"/>
              </a:solidFill>
              <a:ea typeface="Roboto Light" charset="0"/>
              <a:cs typeface="Roboto Light" charset="0"/>
            </a:endParaRPr>
          </a:p>
        </p:txBody>
      </p:sp>
      <p:sp>
        <p:nvSpPr>
          <p:cNvPr id="26" name="Freeform 5">
            <a:extLst>
              <a:ext uri="{FF2B5EF4-FFF2-40B4-BE49-F238E27FC236}">
                <a16:creationId xmlns:a16="http://schemas.microsoft.com/office/drawing/2014/main" id="{471E4F6C-4A00-45D5-91C5-4D951E1E69A0}"/>
              </a:ext>
            </a:extLst>
          </p:cNvPr>
          <p:cNvSpPr/>
          <p:nvPr/>
        </p:nvSpPr>
        <p:spPr>
          <a:xfrm>
            <a:off x="6134300" y="2926051"/>
            <a:ext cx="1768763" cy="1768763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0 w 1905000"/>
              <a:gd name="connsiteY2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cubicBezTo>
                  <a:pt x="1905000" y="1052102"/>
                  <a:pt x="1052102" y="1905000"/>
                  <a:pt x="0" y="190500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4000" tIns="381000" bIns="381000" rtlCol="0" anchor="t"/>
          <a:lstStyle/>
          <a:p>
            <a:r>
              <a:rPr lang="ru-RU" b="1" dirty="0">
                <a:solidFill>
                  <a:schemeClr val="tx1"/>
                </a:solidFill>
                <a:ea typeface="Roboto Light" charset="0"/>
                <a:cs typeface="Roboto Light" charset="0"/>
              </a:rPr>
              <a:t>КАДРЫ, КУЛЬТУРА</a:t>
            </a:r>
            <a:endParaRPr lang="en-US" b="1" dirty="0">
              <a:solidFill>
                <a:schemeClr val="tx1"/>
              </a:solidFill>
              <a:ea typeface="Roboto Light" charset="0"/>
              <a:cs typeface="Roboto Light" charset="0"/>
            </a:endParaRPr>
          </a:p>
        </p:txBody>
      </p:sp>
      <p:sp>
        <p:nvSpPr>
          <p:cNvPr id="27" name="Freeform 2">
            <a:extLst>
              <a:ext uri="{FF2B5EF4-FFF2-40B4-BE49-F238E27FC236}">
                <a16:creationId xmlns:a16="http://schemas.microsoft.com/office/drawing/2014/main" id="{9F8BEA46-D0C7-4BA6-88E2-80A0B610E7CA}"/>
              </a:ext>
            </a:extLst>
          </p:cNvPr>
          <p:cNvSpPr>
            <a:spLocks/>
          </p:cNvSpPr>
          <p:nvPr/>
        </p:nvSpPr>
        <p:spPr>
          <a:xfrm>
            <a:off x="4288937" y="1080688"/>
            <a:ext cx="1768763" cy="1768763"/>
          </a:xfrm>
          <a:custGeom>
            <a:avLst/>
            <a:gdLst>
              <a:gd name="connsiteX0" fmla="*/ 1905000 w 1905000"/>
              <a:gd name="connsiteY0" fmla="*/ 0 h 1905000"/>
              <a:gd name="connsiteX1" fmla="*/ 1905000 w 1905000"/>
              <a:gd name="connsiteY1" fmla="*/ 1905000 h 1905000"/>
              <a:gd name="connsiteX2" fmla="*/ 0 w 1905000"/>
              <a:gd name="connsiteY2" fmla="*/ 1905000 h 1905000"/>
              <a:gd name="connsiteX3" fmla="*/ 1905000 w 1905000"/>
              <a:gd name="connsiteY3" fmla="*/ 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1905000" y="0"/>
                </a:moveTo>
                <a:lnTo>
                  <a:pt x="1905000" y="1905000"/>
                </a:lnTo>
                <a:lnTo>
                  <a:pt x="0" y="1905000"/>
                </a:lnTo>
                <a:cubicBezTo>
                  <a:pt x="0" y="852898"/>
                  <a:pt x="852898" y="0"/>
                  <a:pt x="1905000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254000" bIns="381000" rtlCol="0" anchor="b"/>
          <a:lstStyle/>
          <a:p>
            <a:pPr algn="r"/>
            <a:r>
              <a:rPr lang="ru-RU" b="1" dirty="0">
                <a:solidFill>
                  <a:schemeClr val="tx1"/>
                </a:solidFill>
                <a:ea typeface="Roboto Light" charset="0"/>
                <a:cs typeface="Roboto Light" charset="0"/>
              </a:rPr>
              <a:t>ТЕХНОЛОГИИ</a:t>
            </a:r>
            <a:endParaRPr lang="en-US" b="1" dirty="0">
              <a:solidFill>
                <a:schemeClr val="tx1"/>
              </a:solidFill>
              <a:ea typeface="Roboto Light" charset="0"/>
              <a:cs typeface="Roboto Light" charset="0"/>
            </a:endParaRPr>
          </a:p>
        </p:txBody>
      </p: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2F25CFDF-790E-46D8-AF04-BA70097308DA}"/>
              </a:ext>
            </a:extLst>
          </p:cNvPr>
          <p:cNvGrpSpPr/>
          <p:nvPr/>
        </p:nvGrpSpPr>
        <p:grpSpPr>
          <a:xfrm>
            <a:off x="5088933" y="3847654"/>
            <a:ext cx="483785" cy="332089"/>
            <a:chOff x="3978276" y="1422401"/>
            <a:chExt cx="749301" cy="514350"/>
          </a:xfrm>
          <a:solidFill>
            <a:schemeClr val="bg2"/>
          </a:solidFill>
        </p:grpSpPr>
        <p:sp>
          <p:nvSpPr>
            <p:cNvPr id="29" name="Freeform 280">
              <a:extLst>
                <a:ext uri="{FF2B5EF4-FFF2-40B4-BE49-F238E27FC236}">
                  <a16:creationId xmlns:a16="http://schemas.microsoft.com/office/drawing/2014/main" id="{7CE0D451-532B-4D95-830A-90B8361DCF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78276" y="1422401"/>
              <a:ext cx="349250" cy="346075"/>
            </a:xfrm>
            <a:custGeom>
              <a:avLst/>
              <a:gdLst>
                <a:gd name="T0" fmla="*/ 92 w 151"/>
                <a:gd name="T1" fmla="*/ 147 h 149"/>
                <a:gd name="T2" fmla="*/ 63 w 151"/>
                <a:gd name="T3" fmla="*/ 131 h 149"/>
                <a:gd name="T4" fmla="*/ 52 w 151"/>
                <a:gd name="T5" fmla="*/ 148 h 149"/>
                <a:gd name="T6" fmla="*/ 34 w 151"/>
                <a:gd name="T7" fmla="*/ 140 h 149"/>
                <a:gd name="T8" fmla="*/ 41 w 151"/>
                <a:gd name="T9" fmla="*/ 122 h 149"/>
                <a:gd name="T10" fmla="*/ 10 w 151"/>
                <a:gd name="T11" fmla="*/ 111 h 149"/>
                <a:gd name="T12" fmla="*/ 0 w 151"/>
                <a:gd name="T13" fmla="*/ 92 h 149"/>
                <a:gd name="T14" fmla="*/ 2 w 151"/>
                <a:gd name="T15" fmla="*/ 89 h 149"/>
                <a:gd name="T16" fmla="*/ 18 w 151"/>
                <a:gd name="T17" fmla="*/ 62 h 149"/>
                <a:gd name="T18" fmla="*/ 1 w 151"/>
                <a:gd name="T19" fmla="*/ 51 h 149"/>
                <a:gd name="T20" fmla="*/ 10 w 151"/>
                <a:gd name="T21" fmla="*/ 34 h 149"/>
                <a:gd name="T22" fmla="*/ 28 w 151"/>
                <a:gd name="T23" fmla="*/ 41 h 149"/>
                <a:gd name="T24" fmla="*/ 36 w 151"/>
                <a:gd name="T25" fmla="*/ 11 h 149"/>
                <a:gd name="T26" fmla="*/ 38 w 151"/>
                <a:gd name="T27" fmla="*/ 7 h 149"/>
                <a:gd name="T28" fmla="*/ 58 w 151"/>
                <a:gd name="T29" fmla="*/ 2 h 149"/>
                <a:gd name="T30" fmla="*/ 88 w 151"/>
                <a:gd name="T31" fmla="*/ 18 h 149"/>
                <a:gd name="T32" fmla="*/ 98 w 151"/>
                <a:gd name="T33" fmla="*/ 1 h 149"/>
                <a:gd name="T34" fmla="*/ 116 w 151"/>
                <a:gd name="T35" fmla="*/ 10 h 149"/>
                <a:gd name="T36" fmla="*/ 109 w 151"/>
                <a:gd name="T37" fmla="*/ 28 h 149"/>
                <a:gd name="T38" fmla="*/ 141 w 151"/>
                <a:gd name="T39" fmla="*/ 39 h 149"/>
                <a:gd name="T40" fmla="*/ 150 w 151"/>
                <a:gd name="T41" fmla="*/ 57 h 149"/>
                <a:gd name="T42" fmla="*/ 148 w 151"/>
                <a:gd name="T43" fmla="*/ 61 h 149"/>
                <a:gd name="T44" fmla="*/ 132 w 151"/>
                <a:gd name="T45" fmla="*/ 87 h 149"/>
                <a:gd name="T46" fmla="*/ 149 w 151"/>
                <a:gd name="T47" fmla="*/ 96 h 149"/>
                <a:gd name="T48" fmla="*/ 142 w 151"/>
                <a:gd name="T49" fmla="*/ 114 h 149"/>
                <a:gd name="T50" fmla="*/ 122 w 151"/>
                <a:gd name="T51" fmla="*/ 109 h 149"/>
                <a:gd name="T52" fmla="*/ 114 w 151"/>
                <a:gd name="T53" fmla="*/ 139 h 149"/>
                <a:gd name="T54" fmla="*/ 112 w 151"/>
                <a:gd name="T55" fmla="*/ 143 h 149"/>
                <a:gd name="T56" fmla="*/ 95 w 151"/>
                <a:gd name="T57" fmla="*/ 149 h 149"/>
                <a:gd name="T58" fmla="*/ 90 w 151"/>
                <a:gd name="T59" fmla="*/ 127 h 149"/>
                <a:gd name="T60" fmla="*/ 107 w 151"/>
                <a:gd name="T61" fmla="*/ 138 h 149"/>
                <a:gd name="T62" fmla="*/ 102 w 151"/>
                <a:gd name="T63" fmla="*/ 119 h 149"/>
                <a:gd name="T64" fmla="*/ 122 w 151"/>
                <a:gd name="T65" fmla="*/ 102 h 149"/>
                <a:gd name="T66" fmla="*/ 142 w 151"/>
                <a:gd name="T67" fmla="*/ 98 h 149"/>
                <a:gd name="T68" fmla="*/ 125 w 151"/>
                <a:gd name="T69" fmla="*/ 88 h 149"/>
                <a:gd name="T70" fmla="*/ 128 w 151"/>
                <a:gd name="T71" fmla="*/ 62 h 149"/>
                <a:gd name="T72" fmla="*/ 140 w 151"/>
                <a:gd name="T73" fmla="*/ 45 h 149"/>
                <a:gd name="T74" fmla="*/ 121 w 151"/>
                <a:gd name="T75" fmla="*/ 50 h 149"/>
                <a:gd name="T76" fmla="*/ 102 w 151"/>
                <a:gd name="T77" fmla="*/ 27 h 149"/>
                <a:gd name="T78" fmla="*/ 99 w 151"/>
                <a:gd name="T79" fmla="*/ 8 h 149"/>
                <a:gd name="T80" fmla="*/ 89 w 151"/>
                <a:gd name="T81" fmla="*/ 24 h 149"/>
                <a:gd name="T82" fmla="*/ 60 w 151"/>
                <a:gd name="T83" fmla="*/ 22 h 149"/>
                <a:gd name="T84" fmla="*/ 43 w 151"/>
                <a:gd name="T85" fmla="*/ 11 h 149"/>
                <a:gd name="T86" fmla="*/ 48 w 151"/>
                <a:gd name="T87" fmla="*/ 30 h 149"/>
                <a:gd name="T88" fmla="*/ 28 w 151"/>
                <a:gd name="T89" fmla="*/ 47 h 149"/>
                <a:gd name="T90" fmla="*/ 8 w 151"/>
                <a:gd name="T91" fmla="*/ 51 h 149"/>
                <a:gd name="T92" fmla="*/ 25 w 151"/>
                <a:gd name="T93" fmla="*/ 61 h 149"/>
                <a:gd name="T94" fmla="*/ 22 w 151"/>
                <a:gd name="T95" fmla="*/ 88 h 149"/>
                <a:gd name="T96" fmla="*/ 10 w 151"/>
                <a:gd name="T97" fmla="*/ 104 h 149"/>
                <a:gd name="T98" fmla="*/ 29 w 151"/>
                <a:gd name="T99" fmla="*/ 100 h 149"/>
                <a:gd name="T100" fmla="*/ 48 w 151"/>
                <a:gd name="T101" fmla="*/ 122 h 149"/>
                <a:gd name="T102" fmla="*/ 51 w 151"/>
                <a:gd name="T103" fmla="*/ 142 h 149"/>
                <a:gd name="T104" fmla="*/ 62 w 151"/>
                <a:gd name="T105" fmla="*/ 125 h 149"/>
                <a:gd name="T106" fmla="*/ 87 w 151"/>
                <a:gd name="T107" fmla="*/ 125 h 149"/>
                <a:gd name="T108" fmla="*/ 68 w 151"/>
                <a:gd name="T109" fmla="*/ 106 h 149"/>
                <a:gd name="T110" fmla="*/ 44 w 151"/>
                <a:gd name="T111" fmla="*/ 67 h 149"/>
                <a:gd name="T112" fmla="*/ 82 w 151"/>
                <a:gd name="T113" fmla="*/ 43 h 149"/>
                <a:gd name="T114" fmla="*/ 106 w 151"/>
                <a:gd name="T115" fmla="*/ 82 h 149"/>
                <a:gd name="T116" fmla="*/ 69 w 151"/>
                <a:gd name="T117" fmla="*/ 100 h 149"/>
                <a:gd name="T118" fmla="*/ 101 w 151"/>
                <a:gd name="T119" fmla="*/ 81 h 149"/>
                <a:gd name="T120" fmla="*/ 81 w 151"/>
                <a:gd name="T121" fmla="*/ 49 h 149"/>
                <a:gd name="T122" fmla="*/ 49 w 151"/>
                <a:gd name="T123" fmla="*/ 6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" h="149">
                  <a:moveTo>
                    <a:pt x="95" y="149"/>
                  </a:moveTo>
                  <a:cubicBezTo>
                    <a:pt x="94" y="149"/>
                    <a:pt x="92" y="149"/>
                    <a:pt x="92" y="147"/>
                  </a:cubicBezTo>
                  <a:cubicBezTo>
                    <a:pt x="86" y="132"/>
                    <a:pt x="86" y="132"/>
                    <a:pt x="86" y="132"/>
                  </a:cubicBezTo>
                  <a:cubicBezTo>
                    <a:pt x="78" y="133"/>
                    <a:pt x="70" y="133"/>
                    <a:pt x="63" y="131"/>
                  </a:cubicBezTo>
                  <a:cubicBezTo>
                    <a:pt x="56" y="147"/>
                    <a:pt x="56" y="147"/>
                    <a:pt x="56" y="147"/>
                  </a:cubicBezTo>
                  <a:cubicBezTo>
                    <a:pt x="55" y="148"/>
                    <a:pt x="53" y="149"/>
                    <a:pt x="52" y="148"/>
                  </a:cubicBezTo>
                  <a:cubicBezTo>
                    <a:pt x="36" y="141"/>
                    <a:pt x="36" y="141"/>
                    <a:pt x="36" y="141"/>
                  </a:cubicBezTo>
                  <a:cubicBezTo>
                    <a:pt x="35" y="141"/>
                    <a:pt x="35" y="140"/>
                    <a:pt x="34" y="140"/>
                  </a:cubicBezTo>
                  <a:cubicBezTo>
                    <a:pt x="34" y="139"/>
                    <a:pt x="34" y="138"/>
                    <a:pt x="34" y="137"/>
                  </a:cubicBezTo>
                  <a:cubicBezTo>
                    <a:pt x="41" y="122"/>
                    <a:pt x="41" y="122"/>
                    <a:pt x="41" y="122"/>
                  </a:cubicBezTo>
                  <a:cubicBezTo>
                    <a:pt x="35" y="117"/>
                    <a:pt x="30" y="112"/>
                    <a:pt x="26" y="105"/>
                  </a:cubicBezTo>
                  <a:cubicBezTo>
                    <a:pt x="10" y="111"/>
                    <a:pt x="10" y="111"/>
                    <a:pt x="10" y="111"/>
                  </a:cubicBezTo>
                  <a:cubicBezTo>
                    <a:pt x="8" y="111"/>
                    <a:pt x="6" y="110"/>
                    <a:pt x="6" y="109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2"/>
                    <a:pt x="0" y="91"/>
                    <a:pt x="0" y="90"/>
                  </a:cubicBezTo>
                  <a:cubicBezTo>
                    <a:pt x="0" y="89"/>
                    <a:pt x="1" y="89"/>
                    <a:pt x="2" y="89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7" y="76"/>
                    <a:pt x="17" y="69"/>
                    <a:pt x="18" y="62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5"/>
                    <a:pt x="1" y="53"/>
                    <a:pt x="1" y="51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9" y="35"/>
                    <a:pt x="9" y="34"/>
                    <a:pt x="10" y="34"/>
                  </a:cubicBezTo>
                  <a:cubicBezTo>
                    <a:pt x="11" y="34"/>
                    <a:pt x="12" y="34"/>
                    <a:pt x="12" y="34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32" y="35"/>
                    <a:pt x="37" y="30"/>
                    <a:pt x="43" y="26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0"/>
                    <a:pt x="36" y="9"/>
                    <a:pt x="36" y="8"/>
                  </a:cubicBezTo>
                  <a:cubicBezTo>
                    <a:pt x="37" y="8"/>
                    <a:pt x="37" y="7"/>
                    <a:pt x="38" y="7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6" y="0"/>
                    <a:pt x="57" y="0"/>
                    <a:pt x="58" y="2"/>
                  </a:cubicBezTo>
                  <a:cubicBezTo>
                    <a:pt x="65" y="18"/>
                    <a:pt x="65" y="18"/>
                    <a:pt x="65" y="18"/>
                  </a:cubicBezTo>
                  <a:cubicBezTo>
                    <a:pt x="72" y="16"/>
                    <a:pt x="80" y="16"/>
                    <a:pt x="88" y="18"/>
                  </a:cubicBezTo>
                  <a:cubicBezTo>
                    <a:pt x="95" y="2"/>
                    <a:pt x="95" y="2"/>
                    <a:pt x="95" y="2"/>
                  </a:cubicBezTo>
                  <a:cubicBezTo>
                    <a:pt x="95" y="1"/>
                    <a:pt x="97" y="0"/>
                    <a:pt x="98" y="1"/>
                  </a:cubicBezTo>
                  <a:cubicBezTo>
                    <a:pt x="114" y="8"/>
                    <a:pt x="114" y="8"/>
                    <a:pt x="114" y="8"/>
                  </a:cubicBezTo>
                  <a:cubicBezTo>
                    <a:pt x="115" y="8"/>
                    <a:pt x="116" y="9"/>
                    <a:pt x="116" y="10"/>
                  </a:cubicBezTo>
                  <a:cubicBezTo>
                    <a:pt x="116" y="10"/>
                    <a:pt x="116" y="11"/>
                    <a:pt x="116" y="12"/>
                  </a:cubicBezTo>
                  <a:cubicBezTo>
                    <a:pt x="109" y="28"/>
                    <a:pt x="109" y="28"/>
                    <a:pt x="109" y="28"/>
                  </a:cubicBezTo>
                  <a:cubicBezTo>
                    <a:pt x="115" y="32"/>
                    <a:pt x="121" y="38"/>
                    <a:pt x="125" y="44"/>
                  </a:cubicBezTo>
                  <a:cubicBezTo>
                    <a:pt x="141" y="39"/>
                    <a:pt x="141" y="39"/>
                    <a:pt x="141" y="39"/>
                  </a:cubicBezTo>
                  <a:cubicBezTo>
                    <a:pt x="142" y="38"/>
                    <a:pt x="144" y="39"/>
                    <a:pt x="144" y="41"/>
                  </a:cubicBezTo>
                  <a:cubicBezTo>
                    <a:pt x="150" y="57"/>
                    <a:pt x="150" y="57"/>
                    <a:pt x="150" y="57"/>
                  </a:cubicBezTo>
                  <a:cubicBezTo>
                    <a:pt x="151" y="58"/>
                    <a:pt x="151" y="58"/>
                    <a:pt x="150" y="59"/>
                  </a:cubicBezTo>
                  <a:cubicBezTo>
                    <a:pt x="150" y="60"/>
                    <a:pt x="149" y="60"/>
                    <a:pt x="148" y="61"/>
                  </a:cubicBezTo>
                  <a:cubicBezTo>
                    <a:pt x="132" y="66"/>
                    <a:pt x="132" y="66"/>
                    <a:pt x="132" y="66"/>
                  </a:cubicBezTo>
                  <a:cubicBezTo>
                    <a:pt x="133" y="73"/>
                    <a:pt x="133" y="80"/>
                    <a:pt x="132" y="87"/>
                  </a:cubicBezTo>
                  <a:cubicBezTo>
                    <a:pt x="147" y="94"/>
                    <a:pt x="147" y="94"/>
                    <a:pt x="147" y="94"/>
                  </a:cubicBezTo>
                  <a:cubicBezTo>
                    <a:pt x="148" y="94"/>
                    <a:pt x="149" y="95"/>
                    <a:pt x="149" y="96"/>
                  </a:cubicBezTo>
                  <a:cubicBezTo>
                    <a:pt x="149" y="97"/>
                    <a:pt x="149" y="97"/>
                    <a:pt x="149" y="98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1" y="115"/>
                    <a:pt x="139" y="116"/>
                    <a:pt x="138" y="115"/>
                  </a:cubicBezTo>
                  <a:cubicBezTo>
                    <a:pt x="122" y="109"/>
                    <a:pt x="122" y="109"/>
                    <a:pt x="122" y="109"/>
                  </a:cubicBezTo>
                  <a:cubicBezTo>
                    <a:pt x="118" y="114"/>
                    <a:pt x="113" y="119"/>
                    <a:pt x="107" y="123"/>
                  </a:cubicBezTo>
                  <a:cubicBezTo>
                    <a:pt x="114" y="139"/>
                    <a:pt x="114" y="139"/>
                    <a:pt x="114" y="139"/>
                  </a:cubicBezTo>
                  <a:cubicBezTo>
                    <a:pt x="114" y="139"/>
                    <a:pt x="114" y="140"/>
                    <a:pt x="114" y="141"/>
                  </a:cubicBezTo>
                  <a:cubicBezTo>
                    <a:pt x="113" y="142"/>
                    <a:pt x="113" y="142"/>
                    <a:pt x="112" y="143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6" y="149"/>
                    <a:pt x="95" y="149"/>
                    <a:pt x="95" y="149"/>
                  </a:cubicBezTo>
                  <a:close/>
                  <a:moveTo>
                    <a:pt x="87" y="125"/>
                  </a:moveTo>
                  <a:cubicBezTo>
                    <a:pt x="89" y="125"/>
                    <a:pt x="90" y="126"/>
                    <a:pt x="90" y="127"/>
                  </a:cubicBezTo>
                  <a:cubicBezTo>
                    <a:pt x="96" y="142"/>
                    <a:pt x="96" y="142"/>
                    <a:pt x="96" y="142"/>
                  </a:cubicBezTo>
                  <a:cubicBezTo>
                    <a:pt x="107" y="138"/>
                    <a:pt x="107" y="138"/>
                    <a:pt x="107" y="138"/>
                  </a:cubicBezTo>
                  <a:cubicBezTo>
                    <a:pt x="101" y="123"/>
                    <a:pt x="101" y="123"/>
                    <a:pt x="101" y="123"/>
                  </a:cubicBezTo>
                  <a:cubicBezTo>
                    <a:pt x="100" y="121"/>
                    <a:pt x="101" y="120"/>
                    <a:pt x="102" y="119"/>
                  </a:cubicBezTo>
                  <a:cubicBezTo>
                    <a:pt x="109" y="115"/>
                    <a:pt x="114" y="110"/>
                    <a:pt x="119" y="103"/>
                  </a:cubicBezTo>
                  <a:cubicBezTo>
                    <a:pt x="119" y="102"/>
                    <a:pt x="121" y="101"/>
                    <a:pt x="122" y="102"/>
                  </a:cubicBezTo>
                  <a:cubicBezTo>
                    <a:pt x="137" y="109"/>
                    <a:pt x="137" y="109"/>
                    <a:pt x="137" y="109"/>
                  </a:cubicBezTo>
                  <a:cubicBezTo>
                    <a:pt x="142" y="98"/>
                    <a:pt x="142" y="98"/>
                    <a:pt x="142" y="98"/>
                  </a:cubicBezTo>
                  <a:cubicBezTo>
                    <a:pt x="127" y="92"/>
                    <a:pt x="127" y="92"/>
                    <a:pt x="127" y="92"/>
                  </a:cubicBezTo>
                  <a:cubicBezTo>
                    <a:pt x="126" y="91"/>
                    <a:pt x="125" y="90"/>
                    <a:pt x="125" y="88"/>
                  </a:cubicBezTo>
                  <a:cubicBezTo>
                    <a:pt x="127" y="81"/>
                    <a:pt x="128" y="73"/>
                    <a:pt x="126" y="65"/>
                  </a:cubicBezTo>
                  <a:cubicBezTo>
                    <a:pt x="126" y="64"/>
                    <a:pt x="127" y="62"/>
                    <a:pt x="128" y="62"/>
                  </a:cubicBezTo>
                  <a:cubicBezTo>
                    <a:pt x="144" y="56"/>
                    <a:pt x="144" y="56"/>
                    <a:pt x="144" y="56"/>
                  </a:cubicBezTo>
                  <a:cubicBezTo>
                    <a:pt x="140" y="45"/>
                    <a:pt x="140" y="45"/>
                    <a:pt x="140" y="45"/>
                  </a:cubicBezTo>
                  <a:cubicBezTo>
                    <a:pt x="124" y="51"/>
                    <a:pt x="124" y="51"/>
                    <a:pt x="124" y="51"/>
                  </a:cubicBezTo>
                  <a:cubicBezTo>
                    <a:pt x="123" y="51"/>
                    <a:pt x="121" y="51"/>
                    <a:pt x="121" y="50"/>
                  </a:cubicBezTo>
                  <a:cubicBezTo>
                    <a:pt x="116" y="42"/>
                    <a:pt x="111" y="36"/>
                    <a:pt x="103" y="31"/>
                  </a:cubicBezTo>
                  <a:cubicBezTo>
                    <a:pt x="102" y="30"/>
                    <a:pt x="102" y="29"/>
                    <a:pt x="102" y="27"/>
                  </a:cubicBezTo>
                  <a:cubicBezTo>
                    <a:pt x="109" y="12"/>
                    <a:pt x="109" y="12"/>
                    <a:pt x="109" y="12"/>
                  </a:cubicBezTo>
                  <a:cubicBezTo>
                    <a:pt x="99" y="8"/>
                    <a:pt x="99" y="8"/>
                    <a:pt x="99" y="8"/>
                  </a:cubicBezTo>
                  <a:cubicBezTo>
                    <a:pt x="92" y="23"/>
                    <a:pt x="92" y="23"/>
                    <a:pt x="92" y="23"/>
                  </a:cubicBezTo>
                  <a:cubicBezTo>
                    <a:pt x="91" y="24"/>
                    <a:pt x="90" y="25"/>
                    <a:pt x="89" y="24"/>
                  </a:cubicBezTo>
                  <a:cubicBezTo>
                    <a:pt x="80" y="22"/>
                    <a:pt x="72" y="22"/>
                    <a:pt x="63" y="24"/>
                  </a:cubicBezTo>
                  <a:cubicBezTo>
                    <a:pt x="62" y="24"/>
                    <a:pt x="60" y="24"/>
                    <a:pt x="60" y="22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0" y="28"/>
                    <a:pt x="49" y="29"/>
                    <a:pt x="48" y="30"/>
                  </a:cubicBezTo>
                  <a:cubicBezTo>
                    <a:pt x="41" y="34"/>
                    <a:pt x="36" y="40"/>
                    <a:pt x="32" y="46"/>
                  </a:cubicBezTo>
                  <a:cubicBezTo>
                    <a:pt x="31" y="47"/>
                    <a:pt x="29" y="48"/>
                    <a:pt x="28" y="47"/>
                  </a:cubicBezTo>
                  <a:cubicBezTo>
                    <a:pt x="13" y="41"/>
                    <a:pt x="13" y="41"/>
                    <a:pt x="13" y="4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4" y="58"/>
                    <a:pt x="25" y="60"/>
                    <a:pt x="25" y="61"/>
                  </a:cubicBezTo>
                  <a:cubicBezTo>
                    <a:pt x="23" y="69"/>
                    <a:pt x="22" y="77"/>
                    <a:pt x="24" y="84"/>
                  </a:cubicBezTo>
                  <a:cubicBezTo>
                    <a:pt x="24" y="86"/>
                    <a:pt x="23" y="87"/>
                    <a:pt x="22" y="88"/>
                  </a:cubicBezTo>
                  <a:cubicBezTo>
                    <a:pt x="6" y="93"/>
                    <a:pt x="6" y="93"/>
                    <a:pt x="6" y="93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26" y="98"/>
                    <a:pt x="26" y="98"/>
                    <a:pt x="26" y="98"/>
                  </a:cubicBezTo>
                  <a:cubicBezTo>
                    <a:pt x="27" y="98"/>
                    <a:pt x="29" y="98"/>
                    <a:pt x="29" y="100"/>
                  </a:cubicBezTo>
                  <a:cubicBezTo>
                    <a:pt x="34" y="107"/>
                    <a:pt x="40" y="114"/>
                    <a:pt x="47" y="118"/>
                  </a:cubicBezTo>
                  <a:cubicBezTo>
                    <a:pt x="48" y="119"/>
                    <a:pt x="48" y="121"/>
                    <a:pt x="48" y="122"/>
                  </a:cubicBezTo>
                  <a:cubicBezTo>
                    <a:pt x="41" y="137"/>
                    <a:pt x="41" y="137"/>
                    <a:pt x="41" y="137"/>
                  </a:cubicBezTo>
                  <a:cubicBezTo>
                    <a:pt x="51" y="142"/>
                    <a:pt x="51" y="142"/>
                    <a:pt x="51" y="142"/>
                  </a:cubicBezTo>
                  <a:cubicBezTo>
                    <a:pt x="58" y="127"/>
                    <a:pt x="58" y="127"/>
                    <a:pt x="58" y="127"/>
                  </a:cubicBezTo>
                  <a:cubicBezTo>
                    <a:pt x="59" y="125"/>
                    <a:pt x="60" y="125"/>
                    <a:pt x="62" y="125"/>
                  </a:cubicBezTo>
                  <a:cubicBezTo>
                    <a:pt x="70" y="127"/>
                    <a:pt x="79" y="127"/>
                    <a:pt x="87" y="125"/>
                  </a:cubicBezTo>
                  <a:cubicBezTo>
                    <a:pt x="87" y="125"/>
                    <a:pt x="87" y="125"/>
                    <a:pt x="87" y="125"/>
                  </a:cubicBezTo>
                  <a:close/>
                  <a:moveTo>
                    <a:pt x="75" y="107"/>
                  </a:moveTo>
                  <a:cubicBezTo>
                    <a:pt x="73" y="107"/>
                    <a:pt x="70" y="107"/>
                    <a:pt x="68" y="106"/>
                  </a:cubicBezTo>
                  <a:cubicBezTo>
                    <a:pt x="68" y="106"/>
                    <a:pt x="68" y="106"/>
                    <a:pt x="68" y="106"/>
                  </a:cubicBezTo>
                  <a:cubicBezTo>
                    <a:pt x="50" y="102"/>
                    <a:pt x="40" y="85"/>
                    <a:pt x="44" y="67"/>
                  </a:cubicBezTo>
                  <a:cubicBezTo>
                    <a:pt x="46" y="59"/>
                    <a:pt x="51" y="52"/>
                    <a:pt x="58" y="47"/>
                  </a:cubicBezTo>
                  <a:cubicBezTo>
                    <a:pt x="65" y="43"/>
                    <a:pt x="74" y="41"/>
                    <a:pt x="82" y="43"/>
                  </a:cubicBezTo>
                  <a:cubicBezTo>
                    <a:pt x="91" y="45"/>
                    <a:pt x="98" y="50"/>
                    <a:pt x="102" y="58"/>
                  </a:cubicBezTo>
                  <a:cubicBezTo>
                    <a:pt x="107" y="65"/>
                    <a:pt x="108" y="74"/>
                    <a:pt x="106" y="82"/>
                  </a:cubicBezTo>
                  <a:cubicBezTo>
                    <a:pt x="103" y="97"/>
                    <a:pt x="90" y="107"/>
                    <a:pt x="75" y="107"/>
                  </a:cubicBezTo>
                  <a:close/>
                  <a:moveTo>
                    <a:pt x="69" y="100"/>
                  </a:moveTo>
                  <a:cubicBezTo>
                    <a:pt x="76" y="102"/>
                    <a:pt x="83" y="101"/>
                    <a:pt x="89" y="97"/>
                  </a:cubicBezTo>
                  <a:cubicBezTo>
                    <a:pt x="95" y="93"/>
                    <a:pt x="99" y="87"/>
                    <a:pt x="101" y="81"/>
                  </a:cubicBezTo>
                  <a:cubicBezTo>
                    <a:pt x="102" y="74"/>
                    <a:pt x="101" y="67"/>
                    <a:pt x="97" y="61"/>
                  </a:cubicBezTo>
                  <a:cubicBezTo>
                    <a:pt x="94" y="55"/>
                    <a:pt x="88" y="51"/>
                    <a:pt x="81" y="49"/>
                  </a:cubicBezTo>
                  <a:cubicBezTo>
                    <a:pt x="74" y="47"/>
                    <a:pt x="67" y="49"/>
                    <a:pt x="61" y="52"/>
                  </a:cubicBezTo>
                  <a:cubicBezTo>
                    <a:pt x="55" y="56"/>
                    <a:pt x="51" y="62"/>
                    <a:pt x="49" y="69"/>
                  </a:cubicBezTo>
                  <a:cubicBezTo>
                    <a:pt x="46" y="83"/>
                    <a:pt x="55" y="97"/>
                    <a:pt x="69" y="1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" name="Freeform 281">
              <a:extLst>
                <a:ext uri="{FF2B5EF4-FFF2-40B4-BE49-F238E27FC236}">
                  <a16:creationId xmlns:a16="http://schemas.microsoft.com/office/drawing/2014/main" id="{C66E8A0F-AEFF-4A92-923B-A2B36A709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1339" y="1876426"/>
              <a:ext cx="376238" cy="14288"/>
            </a:xfrm>
            <a:custGeom>
              <a:avLst/>
              <a:gdLst>
                <a:gd name="T0" fmla="*/ 159 w 162"/>
                <a:gd name="T1" fmla="*/ 6 h 6"/>
                <a:gd name="T2" fmla="*/ 3 w 162"/>
                <a:gd name="T3" fmla="*/ 6 h 6"/>
                <a:gd name="T4" fmla="*/ 0 w 162"/>
                <a:gd name="T5" fmla="*/ 3 h 6"/>
                <a:gd name="T6" fmla="*/ 3 w 162"/>
                <a:gd name="T7" fmla="*/ 0 h 6"/>
                <a:gd name="T8" fmla="*/ 159 w 162"/>
                <a:gd name="T9" fmla="*/ 0 h 6"/>
                <a:gd name="T10" fmla="*/ 162 w 162"/>
                <a:gd name="T11" fmla="*/ 3 h 6"/>
                <a:gd name="T12" fmla="*/ 159 w 162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6">
                  <a:moveTo>
                    <a:pt x="159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61" y="0"/>
                    <a:pt x="162" y="1"/>
                    <a:pt x="162" y="3"/>
                  </a:cubicBezTo>
                  <a:cubicBezTo>
                    <a:pt x="162" y="4"/>
                    <a:pt x="161" y="6"/>
                    <a:pt x="15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" name="Freeform 282">
              <a:extLst>
                <a:ext uri="{FF2B5EF4-FFF2-40B4-BE49-F238E27FC236}">
                  <a16:creationId xmlns:a16="http://schemas.microsoft.com/office/drawing/2014/main" id="{8358E2EF-25B4-4C45-B430-395DCB6E98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8439" y="1876426"/>
              <a:ext cx="263525" cy="14288"/>
            </a:xfrm>
            <a:custGeom>
              <a:avLst/>
              <a:gdLst>
                <a:gd name="T0" fmla="*/ 111 w 114"/>
                <a:gd name="T1" fmla="*/ 6 h 6"/>
                <a:gd name="T2" fmla="*/ 3 w 114"/>
                <a:gd name="T3" fmla="*/ 6 h 6"/>
                <a:gd name="T4" fmla="*/ 0 w 114"/>
                <a:gd name="T5" fmla="*/ 3 h 6"/>
                <a:gd name="T6" fmla="*/ 3 w 114"/>
                <a:gd name="T7" fmla="*/ 0 h 6"/>
                <a:gd name="T8" fmla="*/ 111 w 114"/>
                <a:gd name="T9" fmla="*/ 0 h 6"/>
                <a:gd name="T10" fmla="*/ 114 w 114"/>
                <a:gd name="T11" fmla="*/ 3 h 6"/>
                <a:gd name="T12" fmla="*/ 111 w 114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" h="6">
                  <a:moveTo>
                    <a:pt x="111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3" y="0"/>
                    <a:pt x="114" y="1"/>
                    <a:pt x="114" y="3"/>
                  </a:cubicBezTo>
                  <a:cubicBezTo>
                    <a:pt x="114" y="4"/>
                    <a:pt x="113" y="6"/>
                    <a:pt x="1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283">
              <a:extLst>
                <a:ext uri="{FF2B5EF4-FFF2-40B4-BE49-F238E27FC236}">
                  <a16:creationId xmlns:a16="http://schemas.microsoft.com/office/drawing/2014/main" id="{2CF0142D-DBFB-4384-A18F-A371EEF1BA2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251" y="1485901"/>
              <a:ext cx="60325" cy="14288"/>
            </a:xfrm>
            <a:custGeom>
              <a:avLst/>
              <a:gdLst>
                <a:gd name="T0" fmla="*/ 23 w 26"/>
                <a:gd name="T1" fmla="*/ 6 h 6"/>
                <a:gd name="T2" fmla="*/ 3 w 26"/>
                <a:gd name="T3" fmla="*/ 6 h 6"/>
                <a:gd name="T4" fmla="*/ 0 w 26"/>
                <a:gd name="T5" fmla="*/ 3 h 6"/>
                <a:gd name="T6" fmla="*/ 3 w 26"/>
                <a:gd name="T7" fmla="*/ 0 h 6"/>
                <a:gd name="T8" fmla="*/ 23 w 26"/>
                <a:gd name="T9" fmla="*/ 0 h 6"/>
                <a:gd name="T10" fmla="*/ 26 w 26"/>
                <a:gd name="T11" fmla="*/ 3 h 6"/>
                <a:gd name="T12" fmla="*/ 23 w 26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6">
                  <a:moveTo>
                    <a:pt x="23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5" y="0"/>
                    <a:pt x="26" y="1"/>
                    <a:pt x="26" y="3"/>
                  </a:cubicBezTo>
                  <a:cubicBezTo>
                    <a:pt x="26" y="4"/>
                    <a:pt x="25" y="6"/>
                    <a:pt x="2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" name="Freeform 284">
              <a:extLst>
                <a:ext uri="{FF2B5EF4-FFF2-40B4-BE49-F238E27FC236}">
                  <a16:creationId xmlns:a16="http://schemas.microsoft.com/office/drawing/2014/main" id="{5FC8E8FB-1501-47A8-8746-70FB8DACF2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0389" y="1485901"/>
              <a:ext cx="217488" cy="14288"/>
            </a:xfrm>
            <a:custGeom>
              <a:avLst/>
              <a:gdLst>
                <a:gd name="T0" fmla="*/ 91 w 94"/>
                <a:gd name="T1" fmla="*/ 6 h 6"/>
                <a:gd name="T2" fmla="*/ 3 w 94"/>
                <a:gd name="T3" fmla="*/ 6 h 6"/>
                <a:gd name="T4" fmla="*/ 0 w 94"/>
                <a:gd name="T5" fmla="*/ 3 h 6"/>
                <a:gd name="T6" fmla="*/ 3 w 94"/>
                <a:gd name="T7" fmla="*/ 0 h 6"/>
                <a:gd name="T8" fmla="*/ 91 w 94"/>
                <a:gd name="T9" fmla="*/ 0 h 6"/>
                <a:gd name="T10" fmla="*/ 94 w 94"/>
                <a:gd name="T11" fmla="*/ 3 h 6"/>
                <a:gd name="T12" fmla="*/ 91 w 94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6">
                  <a:moveTo>
                    <a:pt x="91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3" y="0"/>
                    <a:pt x="94" y="1"/>
                    <a:pt x="94" y="3"/>
                  </a:cubicBezTo>
                  <a:cubicBezTo>
                    <a:pt x="94" y="4"/>
                    <a:pt x="93" y="6"/>
                    <a:pt x="9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" name="Freeform 285">
              <a:extLst>
                <a:ext uri="{FF2B5EF4-FFF2-40B4-BE49-F238E27FC236}">
                  <a16:creationId xmlns:a16="http://schemas.microsoft.com/office/drawing/2014/main" id="{488B68A6-71E1-4DB8-8B19-0570F070BD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8026" y="1681163"/>
              <a:ext cx="209550" cy="14288"/>
            </a:xfrm>
            <a:custGeom>
              <a:avLst/>
              <a:gdLst>
                <a:gd name="T0" fmla="*/ 87 w 90"/>
                <a:gd name="T1" fmla="*/ 6 h 6"/>
                <a:gd name="T2" fmla="*/ 3 w 90"/>
                <a:gd name="T3" fmla="*/ 6 h 6"/>
                <a:gd name="T4" fmla="*/ 0 w 90"/>
                <a:gd name="T5" fmla="*/ 3 h 6"/>
                <a:gd name="T6" fmla="*/ 3 w 90"/>
                <a:gd name="T7" fmla="*/ 0 h 6"/>
                <a:gd name="T8" fmla="*/ 87 w 90"/>
                <a:gd name="T9" fmla="*/ 0 h 6"/>
                <a:gd name="T10" fmla="*/ 90 w 90"/>
                <a:gd name="T11" fmla="*/ 3 h 6"/>
                <a:gd name="T12" fmla="*/ 87 w 9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6">
                  <a:moveTo>
                    <a:pt x="8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9" y="0"/>
                    <a:pt x="90" y="1"/>
                    <a:pt x="90" y="3"/>
                  </a:cubicBezTo>
                  <a:cubicBezTo>
                    <a:pt x="90" y="4"/>
                    <a:pt x="89" y="6"/>
                    <a:pt x="8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" name="Freeform 286">
              <a:extLst>
                <a:ext uri="{FF2B5EF4-FFF2-40B4-BE49-F238E27FC236}">
                  <a16:creationId xmlns:a16="http://schemas.microsoft.com/office/drawing/2014/main" id="{073D92E2-B831-42F8-B836-AFDB17A11DF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0389" y="1681163"/>
              <a:ext cx="69850" cy="14288"/>
            </a:xfrm>
            <a:custGeom>
              <a:avLst/>
              <a:gdLst>
                <a:gd name="T0" fmla="*/ 27 w 30"/>
                <a:gd name="T1" fmla="*/ 6 h 6"/>
                <a:gd name="T2" fmla="*/ 3 w 30"/>
                <a:gd name="T3" fmla="*/ 6 h 6"/>
                <a:gd name="T4" fmla="*/ 0 w 30"/>
                <a:gd name="T5" fmla="*/ 3 h 6"/>
                <a:gd name="T6" fmla="*/ 3 w 30"/>
                <a:gd name="T7" fmla="*/ 0 h 6"/>
                <a:gd name="T8" fmla="*/ 27 w 30"/>
                <a:gd name="T9" fmla="*/ 0 h 6"/>
                <a:gd name="T10" fmla="*/ 30 w 30"/>
                <a:gd name="T11" fmla="*/ 3 h 6"/>
                <a:gd name="T12" fmla="*/ 27 w 3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6">
                  <a:moveTo>
                    <a:pt x="2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9" y="0"/>
                    <a:pt x="30" y="1"/>
                    <a:pt x="30" y="3"/>
                  </a:cubicBezTo>
                  <a:cubicBezTo>
                    <a:pt x="30" y="4"/>
                    <a:pt x="29" y="6"/>
                    <a:pt x="2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" name="Freeform 287">
              <a:extLst>
                <a:ext uri="{FF2B5EF4-FFF2-40B4-BE49-F238E27FC236}">
                  <a16:creationId xmlns:a16="http://schemas.microsoft.com/office/drawing/2014/main" id="{C02F5FF0-FF5B-4265-A78F-CD5D277C1A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73589" y="1439863"/>
              <a:ext cx="107950" cy="106363"/>
            </a:xfrm>
            <a:custGeom>
              <a:avLst/>
              <a:gdLst>
                <a:gd name="T0" fmla="*/ 37 w 46"/>
                <a:gd name="T1" fmla="*/ 46 h 46"/>
                <a:gd name="T2" fmla="*/ 9 w 46"/>
                <a:gd name="T3" fmla="*/ 46 h 46"/>
                <a:gd name="T4" fmla="*/ 0 w 46"/>
                <a:gd name="T5" fmla="*/ 37 h 46"/>
                <a:gd name="T6" fmla="*/ 0 w 46"/>
                <a:gd name="T7" fmla="*/ 8 h 46"/>
                <a:gd name="T8" fmla="*/ 9 w 46"/>
                <a:gd name="T9" fmla="*/ 0 h 46"/>
                <a:gd name="T10" fmla="*/ 37 w 46"/>
                <a:gd name="T11" fmla="*/ 0 h 46"/>
                <a:gd name="T12" fmla="*/ 46 w 46"/>
                <a:gd name="T13" fmla="*/ 8 h 46"/>
                <a:gd name="T14" fmla="*/ 46 w 46"/>
                <a:gd name="T15" fmla="*/ 37 h 46"/>
                <a:gd name="T16" fmla="*/ 37 w 46"/>
                <a:gd name="T17" fmla="*/ 46 h 46"/>
                <a:gd name="T18" fmla="*/ 9 w 46"/>
                <a:gd name="T19" fmla="*/ 6 h 46"/>
                <a:gd name="T20" fmla="*/ 6 w 46"/>
                <a:gd name="T21" fmla="*/ 8 h 46"/>
                <a:gd name="T22" fmla="*/ 6 w 46"/>
                <a:gd name="T23" fmla="*/ 37 h 46"/>
                <a:gd name="T24" fmla="*/ 9 w 46"/>
                <a:gd name="T25" fmla="*/ 40 h 46"/>
                <a:gd name="T26" fmla="*/ 37 w 46"/>
                <a:gd name="T27" fmla="*/ 40 h 46"/>
                <a:gd name="T28" fmla="*/ 40 w 46"/>
                <a:gd name="T29" fmla="*/ 37 h 46"/>
                <a:gd name="T30" fmla="*/ 40 w 46"/>
                <a:gd name="T31" fmla="*/ 8 h 46"/>
                <a:gd name="T32" fmla="*/ 37 w 46"/>
                <a:gd name="T33" fmla="*/ 6 h 46"/>
                <a:gd name="T34" fmla="*/ 9 w 46"/>
                <a:gd name="T35" fmla="*/ 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46">
                  <a:moveTo>
                    <a:pt x="37" y="46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4" y="46"/>
                    <a:pt x="0" y="42"/>
                    <a:pt x="0" y="3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2" y="0"/>
                    <a:pt x="46" y="4"/>
                    <a:pt x="46" y="8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42"/>
                    <a:pt x="42" y="46"/>
                    <a:pt x="37" y="46"/>
                  </a:cubicBezTo>
                  <a:close/>
                  <a:moveTo>
                    <a:pt x="9" y="6"/>
                  </a:moveTo>
                  <a:cubicBezTo>
                    <a:pt x="7" y="6"/>
                    <a:pt x="6" y="7"/>
                    <a:pt x="6" y="8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39"/>
                    <a:pt x="7" y="40"/>
                    <a:pt x="9" y="40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9" y="40"/>
                    <a:pt x="40" y="39"/>
                    <a:pt x="40" y="37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7"/>
                    <a:pt x="39" y="6"/>
                    <a:pt x="37" y="6"/>
                  </a:cubicBezTo>
                  <a:lnTo>
                    <a:pt x="9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" name="Freeform 288">
              <a:extLst>
                <a:ext uri="{FF2B5EF4-FFF2-40B4-BE49-F238E27FC236}">
                  <a16:creationId xmlns:a16="http://schemas.microsoft.com/office/drawing/2014/main" id="{2C74562A-E875-426A-8528-49C4D32A4A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5951" y="1635126"/>
              <a:ext cx="106363" cy="106363"/>
            </a:xfrm>
            <a:custGeom>
              <a:avLst/>
              <a:gdLst>
                <a:gd name="T0" fmla="*/ 37 w 46"/>
                <a:gd name="T1" fmla="*/ 46 h 46"/>
                <a:gd name="T2" fmla="*/ 9 w 46"/>
                <a:gd name="T3" fmla="*/ 46 h 46"/>
                <a:gd name="T4" fmla="*/ 0 w 46"/>
                <a:gd name="T5" fmla="*/ 37 h 46"/>
                <a:gd name="T6" fmla="*/ 0 w 46"/>
                <a:gd name="T7" fmla="*/ 8 h 46"/>
                <a:gd name="T8" fmla="*/ 9 w 46"/>
                <a:gd name="T9" fmla="*/ 0 h 46"/>
                <a:gd name="T10" fmla="*/ 37 w 46"/>
                <a:gd name="T11" fmla="*/ 0 h 46"/>
                <a:gd name="T12" fmla="*/ 46 w 46"/>
                <a:gd name="T13" fmla="*/ 8 h 46"/>
                <a:gd name="T14" fmla="*/ 46 w 46"/>
                <a:gd name="T15" fmla="*/ 37 h 46"/>
                <a:gd name="T16" fmla="*/ 37 w 46"/>
                <a:gd name="T17" fmla="*/ 46 h 46"/>
                <a:gd name="T18" fmla="*/ 9 w 46"/>
                <a:gd name="T19" fmla="*/ 6 h 46"/>
                <a:gd name="T20" fmla="*/ 6 w 46"/>
                <a:gd name="T21" fmla="*/ 8 h 46"/>
                <a:gd name="T22" fmla="*/ 6 w 46"/>
                <a:gd name="T23" fmla="*/ 37 h 46"/>
                <a:gd name="T24" fmla="*/ 9 w 46"/>
                <a:gd name="T25" fmla="*/ 40 h 46"/>
                <a:gd name="T26" fmla="*/ 37 w 46"/>
                <a:gd name="T27" fmla="*/ 40 h 46"/>
                <a:gd name="T28" fmla="*/ 40 w 46"/>
                <a:gd name="T29" fmla="*/ 37 h 46"/>
                <a:gd name="T30" fmla="*/ 40 w 46"/>
                <a:gd name="T31" fmla="*/ 8 h 46"/>
                <a:gd name="T32" fmla="*/ 37 w 46"/>
                <a:gd name="T33" fmla="*/ 6 h 46"/>
                <a:gd name="T34" fmla="*/ 9 w 46"/>
                <a:gd name="T35" fmla="*/ 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46">
                  <a:moveTo>
                    <a:pt x="37" y="46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4" y="46"/>
                    <a:pt x="0" y="42"/>
                    <a:pt x="0" y="3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2" y="0"/>
                    <a:pt x="46" y="4"/>
                    <a:pt x="46" y="8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42"/>
                    <a:pt x="42" y="46"/>
                    <a:pt x="37" y="46"/>
                  </a:cubicBezTo>
                  <a:close/>
                  <a:moveTo>
                    <a:pt x="9" y="6"/>
                  </a:moveTo>
                  <a:cubicBezTo>
                    <a:pt x="7" y="6"/>
                    <a:pt x="6" y="7"/>
                    <a:pt x="6" y="8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39"/>
                    <a:pt x="7" y="40"/>
                    <a:pt x="9" y="40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9" y="40"/>
                    <a:pt x="40" y="39"/>
                    <a:pt x="40" y="37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7"/>
                    <a:pt x="39" y="6"/>
                    <a:pt x="37" y="6"/>
                  </a:cubicBezTo>
                  <a:lnTo>
                    <a:pt x="9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" name="Freeform 289">
              <a:extLst>
                <a:ext uri="{FF2B5EF4-FFF2-40B4-BE49-F238E27FC236}">
                  <a16:creationId xmlns:a16="http://schemas.microsoft.com/office/drawing/2014/main" id="{1851EE84-A286-402B-B17B-87D55A49D8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59264" y="1830388"/>
              <a:ext cx="106363" cy="106363"/>
            </a:xfrm>
            <a:custGeom>
              <a:avLst/>
              <a:gdLst>
                <a:gd name="T0" fmla="*/ 37 w 46"/>
                <a:gd name="T1" fmla="*/ 46 h 46"/>
                <a:gd name="T2" fmla="*/ 9 w 46"/>
                <a:gd name="T3" fmla="*/ 46 h 46"/>
                <a:gd name="T4" fmla="*/ 0 w 46"/>
                <a:gd name="T5" fmla="*/ 37 h 46"/>
                <a:gd name="T6" fmla="*/ 0 w 46"/>
                <a:gd name="T7" fmla="*/ 8 h 46"/>
                <a:gd name="T8" fmla="*/ 9 w 46"/>
                <a:gd name="T9" fmla="*/ 0 h 46"/>
                <a:gd name="T10" fmla="*/ 37 w 46"/>
                <a:gd name="T11" fmla="*/ 0 h 46"/>
                <a:gd name="T12" fmla="*/ 46 w 46"/>
                <a:gd name="T13" fmla="*/ 8 h 46"/>
                <a:gd name="T14" fmla="*/ 46 w 46"/>
                <a:gd name="T15" fmla="*/ 37 h 46"/>
                <a:gd name="T16" fmla="*/ 37 w 46"/>
                <a:gd name="T17" fmla="*/ 46 h 46"/>
                <a:gd name="T18" fmla="*/ 9 w 46"/>
                <a:gd name="T19" fmla="*/ 6 h 46"/>
                <a:gd name="T20" fmla="*/ 6 w 46"/>
                <a:gd name="T21" fmla="*/ 8 h 46"/>
                <a:gd name="T22" fmla="*/ 6 w 46"/>
                <a:gd name="T23" fmla="*/ 37 h 46"/>
                <a:gd name="T24" fmla="*/ 9 w 46"/>
                <a:gd name="T25" fmla="*/ 40 h 46"/>
                <a:gd name="T26" fmla="*/ 37 w 46"/>
                <a:gd name="T27" fmla="*/ 40 h 46"/>
                <a:gd name="T28" fmla="*/ 40 w 46"/>
                <a:gd name="T29" fmla="*/ 37 h 46"/>
                <a:gd name="T30" fmla="*/ 40 w 46"/>
                <a:gd name="T31" fmla="*/ 8 h 46"/>
                <a:gd name="T32" fmla="*/ 37 w 46"/>
                <a:gd name="T33" fmla="*/ 6 h 46"/>
                <a:gd name="T34" fmla="*/ 9 w 46"/>
                <a:gd name="T35" fmla="*/ 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46">
                  <a:moveTo>
                    <a:pt x="37" y="46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4" y="46"/>
                    <a:pt x="0" y="42"/>
                    <a:pt x="0" y="3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2" y="0"/>
                    <a:pt x="46" y="4"/>
                    <a:pt x="46" y="8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42"/>
                    <a:pt x="42" y="46"/>
                    <a:pt x="37" y="46"/>
                  </a:cubicBezTo>
                  <a:close/>
                  <a:moveTo>
                    <a:pt x="9" y="6"/>
                  </a:moveTo>
                  <a:cubicBezTo>
                    <a:pt x="7" y="6"/>
                    <a:pt x="6" y="7"/>
                    <a:pt x="6" y="8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39"/>
                    <a:pt x="7" y="40"/>
                    <a:pt x="9" y="40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9" y="40"/>
                    <a:pt x="40" y="39"/>
                    <a:pt x="40" y="37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7"/>
                    <a:pt x="39" y="6"/>
                    <a:pt x="37" y="6"/>
                  </a:cubicBezTo>
                  <a:lnTo>
                    <a:pt x="9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6436406" y="3831131"/>
            <a:ext cx="651410" cy="365135"/>
            <a:chOff x="3870326" y="2459038"/>
            <a:chExt cx="957263" cy="536575"/>
          </a:xfrm>
          <a:solidFill>
            <a:schemeClr val="bg2"/>
          </a:solidFill>
        </p:grpSpPr>
        <p:sp>
          <p:nvSpPr>
            <p:cNvPr id="51" name="Freeform 282"/>
            <p:cNvSpPr>
              <a:spLocks/>
            </p:cNvSpPr>
            <p:nvPr/>
          </p:nvSpPr>
          <p:spPr bwMode="auto">
            <a:xfrm>
              <a:off x="4602164" y="2660651"/>
              <a:ext cx="14288" cy="52388"/>
            </a:xfrm>
            <a:custGeom>
              <a:avLst/>
              <a:gdLst>
                <a:gd name="T0" fmla="*/ 3 w 6"/>
                <a:gd name="T1" fmla="*/ 22 h 22"/>
                <a:gd name="T2" fmla="*/ 0 w 6"/>
                <a:gd name="T3" fmla="*/ 19 h 22"/>
                <a:gd name="T4" fmla="*/ 0 w 6"/>
                <a:gd name="T5" fmla="*/ 3 h 22"/>
                <a:gd name="T6" fmla="*/ 3 w 6"/>
                <a:gd name="T7" fmla="*/ 0 h 22"/>
                <a:gd name="T8" fmla="*/ 6 w 6"/>
                <a:gd name="T9" fmla="*/ 3 h 22"/>
                <a:gd name="T10" fmla="*/ 6 w 6"/>
                <a:gd name="T11" fmla="*/ 19 h 22"/>
                <a:gd name="T12" fmla="*/ 3 w 6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2">
                  <a:moveTo>
                    <a:pt x="3" y="22"/>
                  </a:moveTo>
                  <a:cubicBezTo>
                    <a:pt x="2" y="22"/>
                    <a:pt x="0" y="21"/>
                    <a:pt x="0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1"/>
                    <a:pt x="5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" name="Freeform 283"/>
            <p:cNvSpPr>
              <a:spLocks/>
            </p:cNvSpPr>
            <p:nvPr/>
          </p:nvSpPr>
          <p:spPr bwMode="auto">
            <a:xfrm>
              <a:off x="4565651" y="2587626"/>
              <a:ext cx="90488" cy="125413"/>
            </a:xfrm>
            <a:custGeom>
              <a:avLst/>
              <a:gdLst>
                <a:gd name="T0" fmla="*/ 3 w 39"/>
                <a:gd name="T1" fmla="*/ 54 h 54"/>
                <a:gd name="T2" fmla="*/ 0 w 39"/>
                <a:gd name="T3" fmla="*/ 51 h 54"/>
                <a:gd name="T4" fmla="*/ 0 w 39"/>
                <a:gd name="T5" fmla="*/ 20 h 54"/>
                <a:gd name="T6" fmla="*/ 18 w 39"/>
                <a:gd name="T7" fmla="*/ 4 h 54"/>
                <a:gd name="T8" fmla="*/ 31 w 39"/>
                <a:gd name="T9" fmla="*/ 4 h 54"/>
                <a:gd name="T10" fmla="*/ 33 w 39"/>
                <a:gd name="T11" fmla="*/ 3 h 54"/>
                <a:gd name="T12" fmla="*/ 36 w 39"/>
                <a:gd name="T13" fmla="*/ 0 h 54"/>
                <a:gd name="T14" fmla="*/ 39 w 39"/>
                <a:gd name="T15" fmla="*/ 3 h 54"/>
                <a:gd name="T16" fmla="*/ 31 w 39"/>
                <a:gd name="T17" fmla="*/ 10 h 54"/>
                <a:gd name="T18" fmla="*/ 18 w 39"/>
                <a:gd name="T19" fmla="*/ 10 h 54"/>
                <a:gd name="T20" fmla="*/ 6 w 39"/>
                <a:gd name="T21" fmla="*/ 20 h 54"/>
                <a:gd name="T22" fmla="*/ 6 w 39"/>
                <a:gd name="T23" fmla="*/ 51 h 54"/>
                <a:gd name="T24" fmla="*/ 3 w 39"/>
                <a:gd name="T2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54">
                  <a:moveTo>
                    <a:pt x="3" y="54"/>
                  </a:moveTo>
                  <a:cubicBezTo>
                    <a:pt x="2" y="54"/>
                    <a:pt x="0" y="53"/>
                    <a:pt x="0" y="51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7"/>
                    <a:pt x="12" y="4"/>
                    <a:pt x="1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3" y="4"/>
                    <a:pt x="33" y="3"/>
                  </a:cubicBezTo>
                  <a:cubicBezTo>
                    <a:pt x="33" y="1"/>
                    <a:pt x="34" y="0"/>
                    <a:pt x="36" y="0"/>
                  </a:cubicBezTo>
                  <a:cubicBezTo>
                    <a:pt x="37" y="0"/>
                    <a:pt x="39" y="1"/>
                    <a:pt x="39" y="3"/>
                  </a:cubicBezTo>
                  <a:cubicBezTo>
                    <a:pt x="39" y="7"/>
                    <a:pt x="35" y="10"/>
                    <a:pt x="31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0"/>
                    <a:pt x="6" y="10"/>
                    <a:pt x="6" y="20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6" y="53"/>
                    <a:pt x="5" y="54"/>
                    <a:pt x="3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" name="Freeform 284"/>
            <p:cNvSpPr>
              <a:spLocks/>
            </p:cNvSpPr>
            <p:nvPr/>
          </p:nvSpPr>
          <p:spPr bwMode="auto">
            <a:xfrm>
              <a:off x="4722814" y="2663826"/>
              <a:ext cx="14288" cy="46038"/>
            </a:xfrm>
            <a:custGeom>
              <a:avLst/>
              <a:gdLst>
                <a:gd name="T0" fmla="*/ 3 w 6"/>
                <a:gd name="T1" fmla="*/ 20 h 20"/>
                <a:gd name="T2" fmla="*/ 0 w 6"/>
                <a:gd name="T3" fmla="*/ 17 h 20"/>
                <a:gd name="T4" fmla="*/ 0 w 6"/>
                <a:gd name="T5" fmla="*/ 3 h 20"/>
                <a:gd name="T6" fmla="*/ 3 w 6"/>
                <a:gd name="T7" fmla="*/ 0 h 20"/>
                <a:gd name="T8" fmla="*/ 6 w 6"/>
                <a:gd name="T9" fmla="*/ 3 h 20"/>
                <a:gd name="T10" fmla="*/ 6 w 6"/>
                <a:gd name="T11" fmla="*/ 17 h 20"/>
                <a:gd name="T12" fmla="*/ 3 w 6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0">
                  <a:moveTo>
                    <a:pt x="3" y="20"/>
                  </a:moveTo>
                  <a:cubicBezTo>
                    <a:pt x="2" y="20"/>
                    <a:pt x="0" y="19"/>
                    <a:pt x="0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9"/>
                    <a:pt x="5" y="20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" name="Freeform 285"/>
            <p:cNvSpPr>
              <a:spLocks/>
            </p:cNvSpPr>
            <p:nvPr/>
          </p:nvSpPr>
          <p:spPr bwMode="auto">
            <a:xfrm>
              <a:off x="4687889" y="2587626"/>
              <a:ext cx="88900" cy="122238"/>
            </a:xfrm>
            <a:custGeom>
              <a:avLst/>
              <a:gdLst>
                <a:gd name="T0" fmla="*/ 35 w 38"/>
                <a:gd name="T1" fmla="*/ 53 h 53"/>
                <a:gd name="T2" fmla="*/ 32 w 38"/>
                <a:gd name="T3" fmla="*/ 50 h 53"/>
                <a:gd name="T4" fmla="*/ 32 w 38"/>
                <a:gd name="T5" fmla="*/ 20 h 53"/>
                <a:gd name="T6" fmla="*/ 20 w 38"/>
                <a:gd name="T7" fmla="*/ 10 h 53"/>
                <a:gd name="T8" fmla="*/ 7 w 38"/>
                <a:gd name="T9" fmla="*/ 10 h 53"/>
                <a:gd name="T10" fmla="*/ 2 w 38"/>
                <a:gd name="T11" fmla="*/ 8 h 53"/>
                <a:gd name="T12" fmla="*/ 0 w 38"/>
                <a:gd name="T13" fmla="*/ 3 h 53"/>
                <a:gd name="T14" fmla="*/ 3 w 38"/>
                <a:gd name="T15" fmla="*/ 0 h 53"/>
                <a:gd name="T16" fmla="*/ 3 w 38"/>
                <a:gd name="T17" fmla="*/ 0 h 53"/>
                <a:gd name="T18" fmla="*/ 6 w 38"/>
                <a:gd name="T19" fmla="*/ 3 h 53"/>
                <a:gd name="T20" fmla="*/ 7 w 38"/>
                <a:gd name="T21" fmla="*/ 4 h 53"/>
                <a:gd name="T22" fmla="*/ 7 w 38"/>
                <a:gd name="T23" fmla="*/ 4 h 53"/>
                <a:gd name="T24" fmla="*/ 20 w 38"/>
                <a:gd name="T25" fmla="*/ 4 h 53"/>
                <a:gd name="T26" fmla="*/ 38 w 38"/>
                <a:gd name="T27" fmla="*/ 20 h 53"/>
                <a:gd name="T28" fmla="*/ 38 w 38"/>
                <a:gd name="T29" fmla="*/ 50 h 53"/>
                <a:gd name="T30" fmla="*/ 35 w 38"/>
                <a:gd name="T3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8" h="53">
                  <a:moveTo>
                    <a:pt x="35" y="53"/>
                  </a:moveTo>
                  <a:cubicBezTo>
                    <a:pt x="33" y="53"/>
                    <a:pt x="32" y="52"/>
                    <a:pt x="32" y="50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10"/>
                    <a:pt x="21" y="10"/>
                    <a:pt x="20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4" y="10"/>
                    <a:pt x="2" y="8"/>
                  </a:cubicBezTo>
                  <a:cubicBezTo>
                    <a:pt x="1" y="7"/>
                    <a:pt x="0" y="6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4"/>
                    <a:pt x="6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6" y="4"/>
                    <a:pt x="38" y="7"/>
                    <a:pt x="38" y="2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2"/>
                    <a:pt x="36" y="53"/>
                    <a:pt x="35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" name="Freeform 286"/>
            <p:cNvSpPr>
              <a:spLocks noEditPoints="1"/>
            </p:cNvSpPr>
            <p:nvPr/>
          </p:nvSpPr>
          <p:spPr bwMode="auto">
            <a:xfrm>
              <a:off x="4613276" y="2459038"/>
              <a:ext cx="114300" cy="125413"/>
            </a:xfrm>
            <a:custGeom>
              <a:avLst/>
              <a:gdLst>
                <a:gd name="T0" fmla="*/ 24 w 49"/>
                <a:gd name="T1" fmla="*/ 54 h 54"/>
                <a:gd name="T2" fmla="*/ 0 w 49"/>
                <a:gd name="T3" fmla="*/ 27 h 54"/>
                <a:gd name="T4" fmla="*/ 24 w 49"/>
                <a:gd name="T5" fmla="*/ 0 h 54"/>
                <a:gd name="T6" fmla="*/ 49 w 49"/>
                <a:gd name="T7" fmla="*/ 27 h 54"/>
                <a:gd name="T8" fmla="*/ 24 w 49"/>
                <a:gd name="T9" fmla="*/ 54 h 54"/>
                <a:gd name="T10" fmla="*/ 24 w 49"/>
                <a:gd name="T11" fmla="*/ 6 h 54"/>
                <a:gd name="T12" fmla="*/ 6 w 49"/>
                <a:gd name="T13" fmla="*/ 27 h 54"/>
                <a:gd name="T14" fmla="*/ 24 w 49"/>
                <a:gd name="T15" fmla="*/ 48 h 54"/>
                <a:gd name="T16" fmla="*/ 43 w 49"/>
                <a:gd name="T17" fmla="*/ 27 h 54"/>
                <a:gd name="T18" fmla="*/ 24 w 49"/>
                <a:gd name="T19" fmla="*/ 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54">
                  <a:moveTo>
                    <a:pt x="24" y="54"/>
                  </a:moveTo>
                  <a:cubicBezTo>
                    <a:pt x="11" y="54"/>
                    <a:pt x="0" y="42"/>
                    <a:pt x="0" y="27"/>
                  </a:cubicBezTo>
                  <a:cubicBezTo>
                    <a:pt x="0" y="12"/>
                    <a:pt x="11" y="0"/>
                    <a:pt x="24" y="0"/>
                  </a:cubicBezTo>
                  <a:cubicBezTo>
                    <a:pt x="38" y="0"/>
                    <a:pt x="49" y="12"/>
                    <a:pt x="49" y="27"/>
                  </a:cubicBezTo>
                  <a:cubicBezTo>
                    <a:pt x="49" y="42"/>
                    <a:pt x="38" y="54"/>
                    <a:pt x="24" y="54"/>
                  </a:cubicBezTo>
                  <a:close/>
                  <a:moveTo>
                    <a:pt x="24" y="6"/>
                  </a:moveTo>
                  <a:cubicBezTo>
                    <a:pt x="14" y="6"/>
                    <a:pt x="6" y="15"/>
                    <a:pt x="6" y="27"/>
                  </a:cubicBezTo>
                  <a:cubicBezTo>
                    <a:pt x="6" y="38"/>
                    <a:pt x="14" y="48"/>
                    <a:pt x="24" y="48"/>
                  </a:cubicBezTo>
                  <a:cubicBezTo>
                    <a:pt x="35" y="48"/>
                    <a:pt x="43" y="38"/>
                    <a:pt x="43" y="27"/>
                  </a:cubicBezTo>
                  <a:cubicBezTo>
                    <a:pt x="43" y="15"/>
                    <a:pt x="35" y="6"/>
                    <a:pt x="2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" name="Freeform 287"/>
            <p:cNvSpPr>
              <a:spLocks/>
            </p:cNvSpPr>
            <p:nvPr/>
          </p:nvSpPr>
          <p:spPr bwMode="auto">
            <a:xfrm>
              <a:off x="3960814" y="2660651"/>
              <a:ext cx="14288" cy="52388"/>
            </a:xfrm>
            <a:custGeom>
              <a:avLst/>
              <a:gdLst>
                <a:gd name="T0" fmla="*/ 3 w 6"/>
                <a:gd name="T1" fmla="*/ 22 h 22"/>
                <a:gd name="T2" fmla="*/ 0 w 6"/>
                <a:gd name="T3" fmla="*/ 19 h 22"/>
                <a:gd name="T4" fmla="*/ 0 w 6"/>
                <a:gd name="T5" fmla="*/ 3 h 22"/>
                <a:gd name="T6" fmla="*/ 3 w 6"/>
                <a:gd name="T7" fmla="*/ 0 h 22"/>
                <a:gd name="T8" fmla="*/ 6 w 6"/>
                <a:gd name="T9" fmla="*/ 3 h 22"/>
                <a:gd name="T10" fmla="*/ 6 w 6"/>
                <a:gd name="T11" fmla="*/ 19 h 22"/>
                <a:gd name="T12" fmla="*/ 3 w 6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2">
                  <a:moveTo>
                    <a:pt x="3" y="22"/>
                  </a:moveTo>
                  <a:cubicBezTo>
                    <a:pt x="1" y="22"/>
                    <a:pt x="0" y="21"/>
                    <a:pt x="0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1"/>
                    <a:pt x="5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" name="Freeform 288"/>
            <p:cNvSpPr>
              <a:spLocks/>
            </p:cNvSpPr>
            <p:nvPr/>
          </p:nvSpPr>
          <p:spPr bwMode="auto">
            <a:xfrm>
              <a:off x="3924301" y="2587626"/>
              <a:ext cx="88900" cy="125413"/>
            </a:xfrm>
            <a:custGeom>
              <a:avLst/>
              <a:gdLst>
                <a:gd name="T0" fmla="*/ 3 w 38"/>
                <a:gd name="T1" fmla="*/ 54 h 54"/>
                <a:gd name="T2" fmla="*/ 0 w 38"/>
                <a:gd name="T3" fmla="*/ 51 h 54"/>
                <a:gd name="T4" fmla="*/ 0 w 38"/>
                <a:gd name="T5" fmla="*/ 20 h 54"/>
                <a:gd name="T6" fmla="*/ 18 w 38"/>
                <a:gd name="T7" fmla="*/ 4 h 54"/>
                <a:gd name="T8" fmla="*/ 30 w 38"/>
                <a:gd name="T9" fmla="*/ 4 h 54"/>
                <a:gd name="T10" fmla="*/ 32 w 38"/>
                <a:gd name="T11" fmla="*/ 3 h 54"/>
                <a:gd name="T12" fmla="*/ 35 w 38"/>
                <a:gd name="T13" fmla="*/ 0 h 54"/>
                <a:gd name="T14" fmla="*/ 38 w 38"/>
                <a:gd name="T15" fmla="*/ 3 h 54"/>
                <a:gd name="T16" fmla="*/ 31 w 38"/>
                <a:gd name="T17" fmla="*/ 10 h 54"/>
                <a:gd name="T18" fmla="*/ 18 w 38"/>
                <a:gd name="T19" fmla="*/ 10 h 54"/>
                <a:gd name="T20" fmla="*/ 6 w 38"/>
                <a:gd name="T21" fmla="*/ 20 h 54"/>
                <a:gd name="T22" fmla="*/ 6 w 38"/>
                <a:gd name="T23" fmla="*/ 51 h 54"/>
                <a:gd name="T24" fmla="*/ 3 w 38"/>
                <a:gd name="T2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54">
                  <a:moveTo>
                    <a:pt x="3" y="54"/>
                  </a:moveTo>
                  <a:cubicBezTo>
                    <a:pt x="1" y="54"/>
                    <a:pt x="0" y="53"/>
                    <a:pt x="0" y="51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7"/>
                    <a:pt x="12" y="4"/>
                    <a:pt x="18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1" y="4"/>
                    <a:pt x="32" y="4"/>
                    <a:pt x="32" y="3"/>
                  </a:cubicBezTo>
                  <a:cubicBezTo>
                    <a:pt x="32" y="1"/>
                    <a:pt x="34" y="0"/>
                    <a:pt x="35" y="0"/>
                  </a:cubicBezTo>
                  <a:cubicBezTo>
                    <a:pt x="37" y="0"/>
                    <a:pt x="38" y="1"/>
                    <a:pt x="38" y="3"/>
                  </a:cubicBezTo>
                  <a:cubicBezTo>
                    <a:pt x="38" y="7"/>
                    <a:pt x="34" y="10"/>
                    <a:pt x="31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0"/>
                    <a:pt x="6" y="10"/>
                    <a:pt x="6" y="20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6" y="53"/>
                    <a:pt x="4" y="54"/>
                    <a:pt x="3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" name="Freeform 289"/>
            <p:cNvSpPr>
              <a:spLocks/>
            </p:cNvSpPr>
            <p:nvPr/>
          </p:nvSpPr>
          <p:spPr bwMode="auto">
            <a:xfrm>
              <a:off x="4081464" y="2663826"/>
              <a:ext cx="14288" cy="46038"/>
            </a:xfrm>
            <a:custGeom>
              <a:avLst/>
              <a:gdLst>
                <a:gd name="T0" fmla="*/ 3 w 6"/>
                <a:gd name="T1" fmla="*/ 20 h 20"/>
                <a:gd name="T2" fmla="*/ 0 w 6"/>
                <a:gd name="T3" fmla="*/ 17 h 20"/>
                <a:gd name="T4" fmla="*/ 0 w 6"/>
                <a:gd name="T5" fmla="*/ 3 h 20"/>
                <a:gd name="T6" fmla="*/ 3 w 6"/>
                <a:gd name="T7" fmla="*/ 0 h 20"/>
                <a:gd name="T8" fmla="*/ 6 w 6"/>
                <a:gd name="T9" fmla="*/ 3 h 20"/>
                <a:gd name="T10" fmla="*/ 6 w 6"/>
                <a:gd name="T11" fmla="*/ 17 h 20"/>
                <a:gd name="T12" fmla="*/ 3 w 6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0">
                  <a:moveTo>
                    <a:pt x="3" y="20"/>
                  </a:moveTo>
                  <a:cubicBezTo>
                    <a:pt x="1" y="20"/>
                    <a:pt x="0" y="19"/>
                    <a:pt x="0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9"/>
                    <a:pt x="5" y="20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" name="Freeform 290"/>
            <p:cNvSpPr>
              <a:spLocks/>
            </p:cNvSpPr>
            <p:nvPr/>
          </p:nvSpPr>
          <p:spPr bwMode="auto">
            <a:xfrm>
              <a:off x="4048126" y="2587626"/>
              <a:ext cx="85725" cy="122238"/>
            </a:xfrm>
            <a:custGeom>
              <a:avLst/>
              <a:gdLst>
                <a:gd name="T0" fmla="*/ 34 w 37"/>
                <a:gd name="T1" fmla="*/ 53 h 53"/>
                <a:gd name="T2" fmla="*/ 31 w 37"/>
                <a:gd name="T3" fmla="*/ 50 h 53"/>
                <a:gd name="T4" fmla="*/ 31 w 37"/>
                <a:gd name="T5" fmla="*/ 20 h 53"/>
                <a:gd name="T6" fmla="*/ 19 w 37"/>
                <a:gd name="T7" fmla="*/ 10 h 53"/>
                <a:gd name="T8" fmla="*/ 7 w 37"/>
                <a:gd name="T9" fmla="*/ 10 h 53"/>
                <a:gd name="T10" fmla="*/ 2 w 37"/>
                <a:gd name="T11" fmla="*/ 8 h 53"/>
                <a:gd name="T12" fmla="*/ 0 w 37"/>
                <a:gd name="T13" fmla="*/ 3 h 53"/>
                <a:gd name="T14" fmla="*/ 3 w 37"/>
                <a:gd name="T15" fmla="*/ 0 h 53"/>
                <a:gd name="T16" fmla="*/ 3 w 37"/>
                <a:gd name="T17" fmla="*/ 0 h 53"/>
                <a:gd name="T18" fmla="*/ 6 w 37"/>
                <a:gd name="T19" fmla="*/ 3 h 53"/>
                <a:gd name="T20" fmla="*/ 6 w 37"/>
                <a:gd name="T21" fmla="*/ 4 h 53"/>
                <a:gd name="T22" fmla="*/ 7 w 37"/>
                <a:gd name="T23" fmla="*/ 4 h 53"/>
                <a:gd name="T24" fmla="*/ 19 w 37"/>
                <a:gd name="T25" fmla="*/ 4 h 53"/>
                <a:gd name="T26" fmla="*/ 37 w 37"/>
                <a:gd name="T27" fmla="*/ 20 h 53"/>
                <a:gd name="T28" fmla="*/ 37 w 37"/>
                <a:gd name="T29" fmla="*/ 50 h 53"/>
                <a:gd name="T30" fmla="*/ 34 w 37"/>
                <a:gd name="T3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" h="53">
                  <a:moveTo>
                    <a:pt x="34" y="53"/>
                  </a:moveTo>
                  <a:cubicBezTo>
                    <a:pt x="33" y="53"/>
                    <a:pt x="31" y="52"/>
                    <a:pt x="31" y="50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1" y="10"/>
                    <a:pt x="20" y="10"/>
                    <a:pt x="19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6" y="10"/>
                    <a:pt x="4" y="10"/>
                    <a:pt x="2" y="8"/>
                  </a:cubicBezTo>
                  <a:cubicBezTo>
                    <a:pt x="1" y="7"/>
                    <a:pt x="0" y="6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7" y="4"/>
                    <a:pt x="7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25" y="4"/>
                    <a:pt x="37" y="7"/>
                    <a:pt x="37" y="2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2"/>
                    <a:pt x="36" y="53"/>
                    <a:pt x="34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" name="Freeform 291"/>
            <p:cNvSpPr>
              <a:spLocks noEditPoints="1"/>
            </p:cNvSpPr>
            <p:nvPr/>
          </p:nvSpPr>
          <p:spPr bwMode="auto">
            <a:xfrm>
              <a:off x="3973514" y="2459038"/>
              <a:ext cx="111125" cy="125413"/>
            </a:xfrm>
            <a:custGeom>
              <a:avLst/>
              <a:gdLst>
                <a:gd name="T0" fmla="*/ 24 w 48"/>
                <a:gd name="T1" fmla="*/ 54 h 54"/>
                <a:gd name="T2" fmla="*/ 0 w 48"/>
                <a:gd name="T3" fmla="*/ 27 h 54"/>
                <a:gd name="T4" fmla="*/ 24 w 48"/>
                <a:gd name="T5" fmla="*/ 0 h 54"/>
                <a:gd name="T6" fmla="*/ 48 w 48"/>
                <a:gd name="T7" fmla="*/ 27 h 54"/>
                <a:gd name="T8" fmla="*/ 24 w 48"/>
                <a:gd name="T9" fmla="*/ 54 h 54"/>
                <a:gd name="T10" fmla="*/ 24 w 48"/>
                <a:gd name="T11" fmla="*/ 6 h 54"/>
                <a:gd name="T12" fmla="*/ 6 w 48"/>
                <a:gd name="T13" fmla="*/ 27 h 54"/>
                <a:gd name="T14" fmla="*/ 24 w 48"/>
                <a:gd name="T15" fmla="*/ 48 h 54"/>
                <a:gd name="T16" fmla="*/ 42 w 48"/>
                <a:gd name="T17" fmla="*/ 27 h 54"/>
                <a:gd name="T18" fmla="*/ 24 w 48"/>
                <a:gd name="T19" fmla="*/ 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54">
                  <a:moveTo>
                    <a:pt x="24" y="54"/>
                  </a:moveTo>
                  <a:cubicBezTo>
                    <a:pt x="11" y="54"/>
                    <a:pt x="0" y="42"/>
                    <a:pt x="0" y="27"/>
                  </a:cubicBezTo>
                  <a:cubicBezTo>
                    <a:pt x="0" y="12"/>
                    <a:pt x="11" y="0"/>
                    <a:pt x="24" y="0"/>
                  </a:cubicBezTo>
                  <a:cubicBezTo>
                    <a:pt x="37" y="0"/>
                    <a:pt x="48" y="12"/>
                    <a:pt x="48" y="27"/>
                  </a:cubicBezTo>
                  <a:cubicBezTo>
                    <a:pt x="48" y="42"/>
                    <a:pt x="37" y="54"/>
                    <a:pt x="24" y="54"/>
                  </a:cubicBezTo>
                  <a:close/>
                  <a:moveTo>
                    <a:pt x="24" y="6"/>
                  </a:moveTo>
                  <a:cubicBezTo>
                    <a:pt x="14" y="6"/>
                    <a:pt x="6" y="15"/>
                    <a:pt x="6" y="27"/>
                  </a:cubicBezTo>
                  <a:cubicBezTo>
                    <a:pt x="6" y="38"/>
                    <a:pt x="14" y="48"/>
                    <a:pt x="24" y="48"/>
                  </a:cubicBezTo>
                  <a:cubicBezTo>
                    <a:pt x="34" y="48"/>
                    <a:pt x="42" y="38"/>
                    <a:pt x="42" y="27"/>
                  </a:cubicBezTo>
                  <a:cubicBezTo>
                    <a:pt x="42" y="15"/>
                    <a:pt x="34" y="6"/>
                    <a:pt x="2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" name="Freeform 292"/>
            <p:cNvSpPr>
              <a:spLocks/>
            </p:cNvSpPr>
            <p:nvPr/>
          </p:nvSpPr>
          <p:spPr bwMode="auto">
            <a:xfrm>
              <a:off x="4044951" y="2754313"/>
              <a:ext cx="169863" cy="120650"/>
            </a:xfrm>
            <a:custGeom>
              <a:avLst/>
              <a:gdLst>
                <a:gd name="T0" fmla="*/ 70 w 73"/>
                <a:gd name="T1" fmla="*/ 52 h 52"/>
                <a:gd name="T2" fmla="*/ 68 w 73"/>
                <a:gd name="T3" fmla="*/ 51 h 52"/>
                <a:gd name="T4" fmla="*/ 1 w 73"/>
                <a:gd name="T5" fmla="*/ 6 h 52"/>
                <a:gd name="T6" fmla="*/ 1 w 73"/>
                <a:gd name="T7" fmla="*/ 2 h 52"/>
                <a:gd name="T8" fmla="*/ 5 w 73"/>
                <a:gd name="T9" fmla="*/ 1 h 52"/>
                <a:gd name="T10" fmla="*/ 71 w 73"/>
                <a:gd name="T11" fmla="*/ 46 h 52"/>
                <a:gd name="T12" fmla="*/ 72 w 73"/>
                <a:gd name="T13" fmla="*/ 50 h 52"/>
                <a:gd name="T14" fmla="*/ 70 w 73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52">
                  <a:moveTo>
                    <a:pt x="70" y="52"/>
                  </a:moveTo>
                  <a:cubicBezTo>
                    <a:pt x="69" y="52"/>
                    <a:pt x="68" y="51"/>
                    <a:pt x="68" y="51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1"/>
                    <a:pt x="3" y="0"/>
                    <a:pt x="5" y="1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3" y="47"/>
                    <a:pt x="73" y="49"/>
                    <a:pt x="72" y="50"/>
                  </a:cubicBezTo>
                  <a:cubicBezTo>
                    <a:pt x="71" y="51"/>
                    <a:pt x="71" y="52"/>
                    <a:pt x="70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" name="Freeform 293"/>
            <p:cNvSpPr>
              <a:spLocks/>
            </p:cNvSpPr>
            <p:nvPr/>
          </p:nvSpPr>
          <p:spPr bwMode="auto">
            <a:xfrm>
              <a:off x="4481514" y="2751138"/>
              <a:ext cx="187325" cy="123825"/>
            </a:xfrm>
            <a:custGeom>
              <a:avLst/>
              <a:gdLst>
                <a:gd name="T0" fmla="*/ 4 w 81"/>
                <a:gd name="T1" fmla="*/ 53 h 53"/>
                <a:gd name="T2" fmla="*/ 1 w 81"/>
                <a:gd name="T3" fmla="*/ 51 h 53"/>
                <a:gd name="T4" fmla="*/ 2 w 81"/>
                <a:gd name="T5" fmla="*/ 47 h 53"/>
                <a:gd name="T6" fmla="*/ 76 w 81"/>
                <a:gd name="T7" fmla="*/ 1 h 53"/>
                <a:gd name="T8" fmla="*/ 80 w 81"/>
                <a:gd name="T9" fmla="*/ 2 h 53"/>
                <a:gd name="T10" fmla="*/ 79 w 81"/>
                <a:gd name="T11" fmla="*/ 6 h 53"/>
                <a:gd name="T12" fmla="*/ 5 w 81"/>
                <a:gd name="T13" fmla="*/ 52 h 53"/>
                <a:gd name="T14" fmla="*/ 4 w 81"/>
                <a:gd name="T1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53">
                  <a:moveTo>
                    <a:pt x="4" y="53"/>
                  </a:moveTo>
                  <a:cubicBezTo>
                    <a:pt x="3" y="53"/>
                    <a:pt x="2" y="52"/>
                    <a:pt x="1" y="51"/>
                  </a:cubicBezTo>
                  <a:cubicBezTo>
                    <a:pt x="0" y="50"/>
                    <a:pt x="1" y="48"/>
                    <a:pt x="2" y="47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8" y="0"/>
                    <a:pt x="79" y="0"/>
                    <a:pt x="80" y="2"/>
                  </a:cubicBezTo>
                  <a:cubicBezTo>
                    <a:pt x="81" y="3"/>
                    <a:pt x="81" y="5"/>
                    <a:pt x="79" y="6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5" y="52"/>
                    <a:pt x="4" y="53"/>
                    <a:pt x="4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" name="Freeform 294"/>
            <p:cNvSpPr>
              <a:spLocks/>
            </p:cNvSpPr>
            <p:nvPr/>
          </p:nvSpPr>
          <p:spPr bwMode="auto">
            <a:xfrm>
              <a:off x="4511676" y="2670176"/>
              <a:ext cx="315913" cy="95250"/>
            </a:xfrm>
            <a:custGeom>
              <a:avLst/>
              <a:gdLst>
                <a:gd name="T0" fmla="*/ 68 w 136"/>
                <a:gd name="T1" fmla="*/ 41 h 41"/>
                <a:gd name="T2" fmla="*/ 0 w 136"/>
                <a:gd name="T3" fmla="*/ 16 h 41"/>
                <a:gd name="T4" fmla="*/ 14 w 136"/>
                <a:gd name="T5" fmla="*/ 1 h 41"/>
                <a:gd name="T6" fmla="*/ 18 w 136"/>
                <a:gd name="T7" fmla="*/ 3 h 41"/>
                <a:gd name="T8" fmla="*/ 16 w 136"/>
                <a:gd name="T9" fmla="*/ 7 h 41"/>
                <a:gd name="T10" fmla="*/ 6 w 136"/>
                <a:gd name="T11" fmla="*/ 16 h 41"/>
                <a:gd name="T12" fmla="*/ 68 w 136"/>
                <a:gd name="T13" fmla="*/ 35 h 41"/>
                <a:gd name="T14" fmla="*/ 130 w 136"/>
                <a:gd name="T15" fmla="*/ 16 h 41"/>
                <a:gd name="T16" fmla="*/ 121 w 136"/>
                <a:gd name="T17" fmla="*/ 7 h 41"/>
                <a:gd name="T18" fmla="*/ 120 w 136"/>
                <a:gd name="T19" fmla="*/ 3 h 41"/>
                <a:gd name="T20" fmla="*/ 124 w 136"/>
                <a:gd name="T21" fmla="*/ 1 h 41"/>
                <a:gd name="T22" fmla="*/ 136 w 136"/>
                <a:gd name="T23" fmla="*/ 16 h 41"/>
                <a:gd name="T24" fmla="*/ 68 w 136"/>
                <a:gd name="T2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6" h="41">
                  <a:moveTo>
                    <a:pt x="68" y="41"/>
                  </a:moveTo>
                  <a:cubicBezTo>
                    <a:pt x="35" y="41"/>
                    <a:pt x="0" y="32"/>
                    <a:pt x="0" y="16"/>
                  </a:cubicBezTo>
                  <a:cubicBezTo>
                    <a:pt x="0" y="12"/>
                    <a:pt x="3" y="6"/>
                    <a:pt x="14" y="1"/>
                  </a:cubicBezTo>
                  <a:cubicBezTo>
                    <a:pt x="15" y="0"/>
                    <a:pt x="17" y="1"/>
                    <a:pt x="18" y="3"/>
                  </a:cubicBezTo>
                  <a:cubicBezTo>
                    <a:pt x="18" y="4"/>
                    <a:pt x="18" y="6"/>
                    <a:pt x="16" y="7"/>
                  </a:cubicBezTo>
                  <a:cubicBezTo>
                    <a:pt x="10" y="10"/>
                    <a:pt x="6" y="13"/>
                    <a:pt x="6" y="16"/>
                  </a:cubicBezTo>
                  <a:cubicBezTo>
                    <a:pt x="6" y="25"/>
                    <a:pt x="33" y="35"/>
                    <a:pt x="68" y="35"/>
                  </a:cubicBezTo>
                  <a:cubicBezTo>
                    <a:pt x="104" y="35"/>
                    <a:pt x="130" y="25"/>
                    <a:pt x="130" y="16"/>
                  </a:cubicBezTo>
                  <a:cubicBezTo>
                    <a:pt x="130" y="13"/>
                    <a:pt x="127" y="10"/>
                    <a:pt x="121" y="7"/>
                  </a:cubicBezTo>
                  <a:cubicBezTo>
                    <a:pt x="120" y="6"/>
                    <a:pt x="119" y="4"/>
                    <a:pt x="120" y="3"/>
                  </a:cubicBezTo>
                  <a:cubicBezTo>
                    <a:pt x="120" y="1"/>
                    <a:pt x="122" y="1"/>
                    <a:pt x="124" y="1"/>
                  </a:cubicBezTo>
                  <a:cubicBezTo>
                    <a:pt x="134" y="7"/>
                    <a:pt x="136" y="12"/>
                    <a:pt x="136" y="16"/>
                  </a:cubicBezTo>
                  <a:cubicBezTo>
                    <a:pt x="136" y="32"/>
                    <a:pt x="101" y="41"/>
                    <a:pt x="68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" name="Freeform 295"/>
            <p:cNvSpPr>
              <a:spLocks/>
            </p:cNvSpPr>
            <p:nvPr/>
          </p:nvSpPr>
          <p:spPr bwMode="auto">
            <a:xfrm>
              <a:off x="3870326" y="2673351"/>
              <a:ext cx="315913" cy="92075"/>
            </a:xfrm>
            <a:custGeom>
              <a:avLst/>
              <a:gdLst>
                <a:gd name="T0" fmla="*/ 68 w 136"/>
                <a:gd name="T1" fmla="*/ 40 h 40"/>
                <a:gd name="T2" fmla="*/ 0 w 136"/>
                <a:gd name="T3" fmla="*/ 16 h 40"/>
                <a:gd name="T4" fmla="*/ 13 w 136"/>
                <a:gd name="T5" fmla="*/ 1 h 40"/>
                <a:gd name="T6" fmla="*/ 17 w 136"/>
                <a:gd name="T7" fmla="*/ 2 h 40"/>
                <a:gd name="T8" fmla="*/ 16 w 136"/>
                <a:gd name="T9" fmla="*/ 6 h 40"/>
                <a:gd name="T10" fmla="*/ 6 w 136"/>
                <a:gd name="T11" fmla="*/ 16 h 40"/>
                <a:gd name="T12" fmla="*/ 68 w 136"/>
                <a:gd name="T13" fmla="*/ 34 h 40"/>
                <a:gd name="T14" fmla="*/ 130 w 136"/>
                <a:gd name="T15" fmla="*/ 16 h 40"/>
                <a:gd name="T16" fmla="*/ 121 w 136"/>
                <a:gd name="T17" fmla="*/ 6 h 40"/>
                <a:gd name="T18" fmla="*/ 119 w 136"/>
                <a:gd name="T19" fmla="*/ 2 h 40"/>
                <a:gd name="T20" fmla="*/ 123 w 136"/>
                <a:gd name="T21" fmla="*/ 1 h 40"/>
                <a:gd name="T22" fmla="*/ 136 w 136"/>
                <a:gd name="T23" fmla="*/ 16 h 40"/>
                <a:gd name="T24" fmla="*/ 68 w 136"/>
                <a:gd name="T2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6" h="40">
                  <a:moveTo>
                    <a:pt x="68" y="40"/>
                  </a:moveTo>
                  <a:cubicBezTo>
                    <a:pt x="35" y="40"/>
                    <a:pt x="0" y="32"/>
                    <a:pt x="0" y="16"/>
                  </a:cubicBezTo>
                  <a:cubicBezTo>
                    <a:pt x="0" y="12"/>
                    <a:pt x="2" y="6"/>
                    <a:pt x="13" y="1"/>
                  </a:cubicBezTo>
                  <a:cubicBezTo>
                    <a:pt x="15" y="0"/>
                    <a:pt x="16" y="1"/>
                    <a:pt x="17" y="2"/>
                  </a:cubicBezTo>
                  <a:cubicBezTo>
                    <a:pt x="18" y="4"/>
                    <a:pt x="17" y="6"/>
                    <a:pt x="16" y="6"/>
                  </a:cubicBezTo>
                  <a:cubicBezTo>
                    <a:pt x="10" y="9"/>
                    <a:pt x="6" y="13"/>
                    <a:pt x="6" y="16"/>
                  </a:cubicBezTo>
                  <a:cubicBezTo>
                    <a:pt x="6" y="24"/>
                    <a:pt x="33" y="34"/>
                    <a:pt x="68" y="34"/>
                  </a:cubicBezTo>
                  <a:cubicBezTo>
                    <a:pt x="104" y="34"/>
                    <a:pt x="130" y="24"/>
                    <a:pt x="130" y="16"/>
                  </a:cubicBezTo>
                  <a:cubicBezTo>
                    <a:pt x="130" y="13"/>
                    <a:pt x="127" y="9"/>
                    <a:pt x="121" y="6"/>
                  </a:cubicBezTo>
                  <a:cubicBezTo>
                    <a:pt x="119" y="6"/>
                    <a:pt x="119" y="4"/>
                    <a:pt x="119" y="2"/>
                  </a:cubicBezTo>
                  <a:cubicBezTo>
                    <a:pt x="120" y="1"/>
                    <a:pt x="122" y="0"/>
                    <a:pt x="123" y="1"/>
                  </a:cubicBezTo>
                  <a:cubicBezTo>
                    <a:pt x="134" y="6"/>
                    <a:pt x="136" y="12"/>
                    <a:pt x="136" y="16"/>
                  </a:cubicBezTo>
                  <a:cubicBezTo>
                    <a:pt x="136" y="32"/>
                    <a:pt x="101" y="40"/>
                    <a:pt x="68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" name="Freeform 296"/>
            <p:cNvSpPr>
              <a:spLocks/>
            </p:cNvSpPr>
            <p:nvPr/>
          </p:nvSpPr>
          <p:spPr bwMode="auto">
            <a:xfrm>
              <a:off x="4271964" y="2873376"/>
              <a:ext cx="14288" cy="52388"/>
            </a:xfrm>
            <a:custGeom>
              <a:avLst/>
              <a:gdLst>
                <a:gd name="T0" fmla="*/ 3 w 6"/>
                <a:gd name="T1" fmla="*/ 23 h 23"/>
                <a:gd name="T2" fmla="*/ 0 w 6"/>
                <a:gd name="T3" fmla="*/ 20 h 23"/>
                <a:gd name="T4" fmla="*/ 0 w 6"/>
                <a:gd name="T5" fmla="*/ 3 h 23"/>
                <a:gd name="T6" fmla="*/ 3 w 6"/>
                <a:gd name="T7" fmla="*/ 0 h 23"/>
                <a:gd name="T8" fmla="*/ 6 w 6"/>
                <a:gd name="T9" fmla="*/ 3 h 23"/>
                <a:gd name="T10" fmla="*/ 6 w 6"/>
                <a:gd name="T11" fmla="*/ 20 h 23"/>
                <a:gd name="T12" fmla="*/ 3 w 6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3">
                  <a:moveTo>
                    <a:pt x="3" y="23"/>
                  </a:moveTo>
                  <a:cubicBezTo>
                    <a:pt x="1" y="23"/>
                    <a:pt x="0" y="22"/>
                    <a:pt x="0" y="2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2"/>
                    <a:pt x="4" y="23"/>
                    <a:pt x="3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" name="Freeform 297"/>
            <p:cNvSpPr>
              <a:spLocks/>
            </p:cNvSpPr>
            <p:nvPr/>
          </p:nvSpPr>
          <p:spPr bwMode="auto">
            <a:xfrm>
              <a:off x="4229101" y="2786063"/>
              <a:ext cx="98425" cy="139700"/>
            </a:xfrm>
            <a:custGeom>
              <a:avLst/>
              <a:gdLst>
                <a:gd name="T0" fmla="*/ 3 w 43"/>
                <a:gd name="T1" fmla="*/ 60 h 60"/>
                <a:gd name="T2" fmla="*/ 0 w 43"/>
                <a:gd name="T3" fmla="*/ 57 h 60"/>
                <a:gd name="T4" fmla="*/ 0 w 43"/>
                <a:gd name="T5" fmla="*/ 22 h 60"/>
                <a:gd name="T6" fmla="*/ 20 w 43"/>
                <a:gd name="T7" fmla="*/ 4 h 60"/>
                <a:gd name="T8" fmla="*/ 35 w 43"/>
                <a:gd name="T9" fmla="*/ 4 h 60"/>
                <a:gd name="T10" fmla="*/ 37 w 43"/>
                <a:gd name="T11" fmla="*/ 3 h 60"/>
                <a:gd name="T12" fmla="*/ 40 w 43"/>
                <a:gd name="T13" fmla="*/ 0 h 60"/>
                <a:gd name="T14" fmla="*/ 43 w 43"/>
                <a:gd name="T15" fmla="*/ 3 h 60"/>
                <a:gd name="T16" fmla="*/ 35 w 43"/>
                <a:gd name="T17" fmla="*/ 10 h 60"/>
                <a:gd name="T18" fmla="*/ 20 w 43"/>
                <a:gd name="T19" fmla="*/ 10 h 60"/>
                <a:gd name="T20" fmla="*/ 6 w 43"/>
                <a:gd name="T21" fmla="*/ 22 h 60"/>
                <a:gd name="T22" fmla="*/ 6 w 43"/>
                <a:gd name="T23" fmla="*/ 57 h 60"/>
                <a:gd name="T24" fmla="*/ 3 w 43"/>
                <a:gd name="T2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60">
                  <a:moveTo>
                    <a:pt x="3" y="60"/>
                  </a:moveTo>
                  <a:cubicBezTo>
                    <a:pt x="2" y="60"/>
                    <a:pt x="0" y="59"/>
                    <a:pt x="0" y="57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8"/>
                    <a:pt x="13" y="4"/>
                    <a:pt x="20" y="4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4"/>
                    <a:pt x="37" y="4"/>
                    <a:pt x="37" y="3"/>
                  </a:cubicBezTo>
                  <a:cubicBezTo>
                    <a:pt x="37" y="1"/>
                    <a:pt x="39" y="0"/>
                    <a:pt x="40" y="0"/>
                  </a:cubicBezTo>
                  <a:cubicBezTo>
                    <a:pt x="42" y="0"/>
                    <a:pt x="43" y="1"/>
                    <a:pt x="43" y="3"/>
                  </a:cubicBezTo>
                  <a:cubicBezTo>
                    <a:pt x="43" y="7"/>
                    <a:pt x="39" y="10"/>
                    <a:pt x="35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6" y="11"/>
                    <a:pt x="6" y="22"/>
                  </a:cubicBezTo>
                  <a:cubicBezTo>
                    <a:pt x="6" y="57"/>
                    <a:pt x="6" y="57"/>
                    <a:pt x="6" y="57"/>
                  </a:cubicBezTo>
                  <a:cubicBezTo>
                    <a:pt x="6" y="59"/>
                    <a:pt x="5" y="60"/>
                    <a:pt x="3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" name="Freeform 298"/>
            <p:cNvSpPr>
              <a:spLocks/>
            </p:cNvSpPr>
            <p:nvPr/>
          </p:nvSpPr>
          <p:spPr bwMode="auto">
            <a:xfrm>
              <a:off x="4410076" y="2873376"/>
              <a:ext cx="12700" cy="50800"/>
            </a:xfrm>
            <a:custGeom>
              <a:avLst/>
              <a:gdLst>
                <a:gd name="T0" fmla="*/ 3 w 6"/>
                <a:gd name="T1" fmla="*/ 22 h 22"/>
                <a:gd name="T2" fmla="*/ 0 w 6"/>
                <a:gd name="T3" fmla="*/ 19 h 22"/>
                <a:gd name="T4" fmla="*/ 0 w 6"/>
                <a:gd name="T5" fmla="*/ 3 h 22"/>
                <a:gd name="T6" fmla="*/ 3 w 6"/>
                <a:gd name="T7" fmla="*/ 0 h 22"/>
                <a:gd name="T8" fmla="*/ 6 w 6"/>
                <a:gd name="T9" fmla="*/ 3 h 22"/>
                <a:gd name="T10" fmla="*/ 6 w 6"/>
                <a:gd name="T11" fmla="*/ 19 h 22"/>
                <a:gd name="T12" fmla="*/ 3 w 6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2">
                  <a:moveTo>
                    <a:pt x="3" y="22"/>
                  </a:moveTo>
                  <a:cubicBezTo>
                    <a:pt x="1" y="22"/>
                    <a:pt x="0" y="21"/>
                    <a:pt x="0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1"/>
                    <a:pt x="5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" name="Freeform 299"/>
            <p:cNvSpPr>
              <a:spLocks/>
            </p:cNvSpPr>
            <p:nvPr/>
          </p:nvSpPr>
          <p:spPr bwMode="auto">
            <a:xfrm>
              <a:off x="4370389" y="2786063"/>
              <a:ext cx="95250" cy="139700"/>
            </a:xfrm>
            <a:custGeom>
              <a:avLst/>
              <a:gdLst>
                <a:gd name="T0" fmla="*/ 38 w 41"/>
                <a:gd name="T1" fmla="*/ 60 h 60"/>
                <a:gd name="T2" fmla="*/ 35 w 41"/>
                <a:gd name="T3" fmla="*/ 57 h 60"/>
                <a:gd name="T4" fmla="*/ 35 w 41"/>
                <a:gd name="T5" fmla="*/ 22 h 60"/>
                <a:gd name="T6" fmla="*/ 21 w 41"/>
                <a:gd name="T7" fmla="*/ 10 h 60"/>
                <a:gd name="T8" fmla="*/ 7 w 41"/>
                <a:gd name="T9" fmla="*/ 10 h 60"/>
                <a:gd name="T10" fmla="*/ 2 w 41"/>
                <a:gd name="T11" fmla="*/ 8 h 60"/>
                <a:gd name="T12" fmla="*/ 0 w 41"/>
                <a:gd name="T13" fmla="*/ 3 h 60"/>
                <a:gd name="T14" fmla="*/ 3 w 41"/>
                <a:gd name="T15" fmla="*/ 0 h 60"/>
                <a:gd name="T16" fmla="*/ 3 w 41"/>
                <a:gd name="T17" fmla="*/ 0 h 60"/>
                <a:gd name="T18" fmla="*/ 6 w 41"/>
                <a:gd name="T19" fmla="*/ 3 h 60"/>
                <a:gd name="T20" fmla="*/ 6 w 41"/>
                <a:gd name="T21" fmla="*/ 4 h 60"/>
                <a:gd name="T22" fmla="*/ 7 w 41"/>
                <a:gd name="T23" fmla="*/ 4 h 60"/>
                <a:gd name="T24" fmla="*/ 7 w 41"/>
                <a:gd name="T25" fmla="*/ 4 h 60"/>
                <a:gd name="T26" fmla="*/ 21 w 41"/>
                <a:gd name="T27" fmla="*/ 4 h 60"/>
                <a:gd name="T28" fmla="*/ 41 w 41"/>
                <a:gd name="T29" fmla="*/ 22 h 60"/>
                <a:gd name="T30" fmla="*/ 41 w 41"/>
                <a:gd name="T31" fmla="*/ 57 h 60"/>
                <a:gd name="T32" fmla="*/ 38 w 41"/>
                <a:gd name="T3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60">
                  <a:moveTo>
                    <a:pt x="38" y="60"/>
                  </a:moveTo>
                  <a:cubicBezTo>
                    <a:pt x="37" y="60"/>
                    <a:pt x="35" y="58"/>
                    <a:pt x="35" y="57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11"/>
                    <a:pt x="23" y="10"/>
                    <a:pt x="21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4" y="10"/>
                    <a:pt x="2" y="8"/>
                  </a:cubicBezTo>
                  <a:cubicBezTo>
                    <a:pt x="1" y="7"/>
                    <a:pt x="0" y="6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3"/>
                    <a:pt x="6" y="4"/>
                    <a:pt x="6" y="4"/>
                  </a:cubicBezTo>
                  <a:cubicBezTo>
                    <a:pt x="6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8" y="4"/>
                    <a:pt x="41" y="8"/>
                    <a:pt x="41" y="22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8"/>
                    <a:pt x="40" y="60"/>
                    <a:pt x="38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" name="Freeform 300"/>
            <p:cNvSpPr>
              <a:spLocks noEditPoints="1"/>
            </p:cNvSpPr>
            <p:nvPr/>
          </p:nvSpPr>
          <p:spPr bwMode="auto">
            <a:xfrm>
              <a:off x="4284664" y="2640013"/>
              <a:ext cx="127000" cy="141288"/>
            </a:xfrm>
            <a:custGeom>
              <a:avLst/>
              <a:gdLst>
                <a:gd name="T0" fmla="*/ 27 w 55"/>
                <a:gd name="T1" fmla="*/ 61 h 61"/>
                <a:gd name="T2" fmla="*/ 0 w 55"/>
                <a:gd name="T3" fmla="*/ 30 h 61"/>
                <a:gd name="T4" fmla="*/ 27 w 55"/>
                <a:gd name="T5" fmla="*/ 0 h 61"/>
                <a:gd name="T6" fmla="*/ 55 w 55"/>
                <a:gd name="T7" fmla="*/ 30 h 61"/>
                <a:gd name="T8" fmla="*/ 27 w 55"/>
                <a:gd name="T9" fmla="*/ 61 h 61"/>
                <a:gd name="T10" fmla="*/ 27 w 55"/>
                <a:gd name="T11" fmla="*/ 6 h 61"/>
                <a:gd name="T12" fmla="*/ 6 w 55"/>
                <a:gd name="T13" fmla="*/ 30 h 61"/>
                <a:gd name="T14" fmla="*/ 27 w 55"/>
                <a:gd name="T15" fmla="*/ 55 h 61"/>
                <a:gd name="T16" fmla="*/ 49 w 55"/>
                <a:gd name="T17" fmla="*/ 30 h 61"/>
                <a:gd name="T18" fmla="*/ 27 w 55"/>
                <a:gd name="T19" fmla="*/ 6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61">
                  <a:moveTo>
                    <a:pt x="27" y="61"/>
                  </a:moveTo>
                  <a:cubicBezTo>
                    <a:pt x="12" y="61"/>
                    <a:pt x="0" y="47"/>
                    <a:pt x="0" y="30"/>
                  </a:cubicBezTo>
                  <a:cubicBezTo>
                    <a:pt x="0" y="13"/>
                    <a:pt x="12" y="0"/>
                    <a:pt x="27" y="0"/>
                  </a:cubicBezTo>
                  <a:cubicBezTo>
                    <a:pt x="42" y="0"/>
                    <a:pt x="55" y="13"/>
                    <a:pt x="55" y="30"/>
                  </a:cubicBezTo>
                  <a:cubicBezTo>
                    <a:pt x="55" y="47"/>
                    <a:pt x="42" y="61"/>
                    <a:pt x="27" y="61"/>
                  </a:cubicBezTo>
                  <a:close/>
                  <a:moveTo>
                    <a:pt x="27" y="6"/>
                  </a:moveTo>
                  <a:cubicBezTo>
                    <a:pt x="16" y="6"/>
                    <a:pt x="6" y="17"/>
                    <a:pt x="6" y="30"/>
                  </a:cubicBezTo>
                  <a:cubicBezTo>
                    <a:pt x="6" y="44"/>
                    <a:pt x="16" y="55"/>
                    <a:pt x="27" y="55"/>
                  </a:cubicBezTo>
                  <a:cubicBezTo>
                    <a:pt x="39" y="55"/>
                    <a:pt x="49" y="44"/>
                    <a:pt x="49" y="30"/>
                  </a:cubicBezTo>
                  <a:cubicBezTo>
                    <a:pt x="49" y="17"/>
                    <a:pt x="39" y="6"/>
                    <a:pt x="2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" name="Freeform 301"/>
            <p:cNvSpPr>
              <a:spLocks/>
            </p:cNvSpPr>
            <p:nvPr/>
          </p:nvSpPr>
          <p:spPr bwMode="auto">
            <a:xfrm>
              <a:off x="4173539" y="2894013"/>
              <a:ext cx="349250" cy="101600"/>
            </a:xfrm>
            <a:custGeom>
              <a:avLst/>
              <a:gdLst>
                <a:gd name="T0" fmla="*/ 75 w 151"/>
                <a:gd name="T1" fmla="*/ 44 h 44"/>
                <a:gd name="T2" fmla="*/ 0 w 151"/>
                <a:gd name="T3" fmla="*/ 17 h 44"/>
                <a:gd name="T4" fmla="*/ 14 w 151"/>
                <a:gd name="T5" fmla="*/ 1 h 44"/>
                <a:gd name="T6" fmla="*/ 18 w 151"/>
                <a:gd name="T7" fmla="*/ 2 h 44"/>
                <a:gd name="T8" fmla="*/ 17 w 151"/>
                <a:gd name="T9" fmla="*/ 6 h 44"/>
                <a:gd name="T10" fmla="*/ 6 w 151"/>
                <a:gd name="T11" fmla="*/ 17 h 44"/>
                <a:gd name="T12" fmla="*/ 75 w 151"/>
                <a:gd name="T13" fmla="*/ 38 h 44"/>
                <a:gd name="T14" fmla="*/ 145 w 151"/>
                <a:gd name="T15" fmla="*/ 17 h 44"/>
                <a:gd name="T16" fmla="*/ 134 w 151"/>
                <a:gd name="T17" fmla="*/ 6 h 44"/>
                <a:gd name="T18" fmla="*/ 133 w 151"/>
                <a:gd name="T19" fmla="*/ 2 h 44"/>
                <a:gd name="T20" fmla="*/ 137 w 151"/>
                <a:gd name="T21" fmla="*/ 1 h 44"/>
                <a:gd name="T22" fmla="*/ 151 w 151"/>
                <a:gd name="T23" fmla="*/ 17 h 44"/>
                <a:gd name="T24" fmla="*/ 75 w 151"/>
                <a:gd name="T25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1" h="44">
                  <a:moveTo>
                    <a:pt x="75" y="44"/>
                  </a:moveTo>
                  <a:cubicBezTo>
                    <a:pt x="39" y="44"/>
                    <a:pt x="0" y="34"/>
                    <a:pt x="0" y="17"/>
                  </a:cubicBezTo>
                  <a:cubicBezTo>
                    <a:pt x="0" y="13"/>
                    <a:pt x="2" y="6"/>
                    <a:pt x="14" y="1"/>
                  </a:cubicBezTo>
                  <a:cubicBezTo>
                    <a:pt x="16" y="0"/>
                    <a:pt x="18" y="0"/>
                    <a:pt x="18" y="2"/>
                  </a:cubicBezTo>
                  <a:cubicBezTo>
                    <a:pt x="19" y="3"/>
                    <a:pt x="18" y="5"/>
                    <a:pt x="17" y="6"/>
                  </a:cubicBezTo>
                  <a:cubicBezTo>
                    <a:pt x="10" y="9"/>
                    <a:pt x="6" y="13"/>
                    <a:pt x="6" y="17"/>
                  </a:cubicBezTo>
                  <a:cubicBezTo>
                    <a:pt x="6" y="27"/>
                    <a:pt x="34" y="38"/>
                    <a:pt x="75" y="38"/>
                  </a:cubicBezTo>
                  <a:cubicBezTo>
                    <a:pt x="116" y="38"/>
                    <a:pt x="145" y="27"/>
                    <a:pt x="145" y="17"/>
                  </a:cubicBezTo>
                  <a:cubicBezTo>
                    <a:pt x="145" y="13"/>
                    <a:pt x="141" y="9"/>
                    <a:pt x="134" y="6"/>
                  </a:cubicBezTo>
                  <a:cubicBezTo>
                    <a:pt x="133" y="5"/>
                    <a:pt x="132" y="4"/>
                    <a:pt x="133" y="2"/>
                  </a:cubicBezTo>
                  <a:cubicBezTo>
                    <a:pt x="133" y="1"/>
                    <a:pt x="135" y="0"/>
                    <a:pt x="137" y="1"/>
                  </a:cubicBezTo>
                  <a:cubicBezTo>
                    <a:pt x="148" y="6"/>
                    <a:pt x="151" y="13"/>
                    <a:pt x="151" y="17"/>
                  </a:cubicBezTo>
                  <a:cubicBezTo>
                    <a:pt x="151" y="34"/>
                    <a:pt x="112" y="44"/>
                    <a:pt x="75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78" name="Группа 77"/>
          <p:cNvGrpSpPr/>
          <p:nvPr/>
        </p:nvGrpSpPr>
        <p:grpSpPr>
          <a:xfrm>
            <a:off x="6686981" y="1636142"/>
            <a:ext cx="225289" cy="419946"/>
            <a:chOff x="5370513" y="3535363"/>
            <a:chExt cx="361951" cy="674687"/>
          </a:xfrm>
          <a:solidFill>
            <a:schemeClr val="bg2"/>
          </a:solidFill>
        </p:grpSpPr>
        <p:sp>
          <p:nvSpPr>
            <p:cNvPr id="79" name="Freeform 431">
              <a:extLst>
                <a:ext uri="{FF2B5EF4-FFF2-40B4-BE49-F238E27FC236}">
                  <a16:creationId xmlns:a16="http://schemas.microsoft.com/office/drawing/2014/main" id="{77D0E063-2350-42DF-9346-FBC1A20EE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0513" y="3752850"/>
              <a:ext cx="14288" cy="411163"/>
            </a:xfrm>
            <a:custGeom>
              <a:avLst/>
              <a:gdLst>
                <a:gd name="T0" fmla="*/ 3 w 6"/>
                <a:gd name="T1" fmla="*/ 177 h 177"/>
                <a:gd name="T2" fmla="*/ 0 w 6"/>
                <a:gd name="T3" fmla="*/ 174 h 177"/>
                <a:gd name="T4" fmla="*/ 0 w 6"/>
                <a:gd name="T5" fmla="*/ 3 h 177"/>
                <a:gd name="T6" fmla="*/ 3 w 6"/>
                <a:gd name="T7" fmla="*/ 0 h 177"/>
                <a:gd name="T8" fmla="*/ 6 w 6"/>
                <a:gd name="T9" fmla="*/ 3 h 177"/>
                <a:gd name="T10" fmla="*/ 6 w 6"/>
                <a:gd name="T11" fmla="*/ 174 h 177"/>
                <a:gd name="T12" fmla="*/ 3 w 6"/>
                <a:gd name="T13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77">
                  <a:moveTo>
                    <a:pt x="3" y="177"/>
                  </a:moveTo>
                  <a:cubicBezTo>
                    <a:pt x="1" y="177"/>
                    <a:pt x="0" y="175"/>
                    <a:pt x="0" y="17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4" y="0"/>
                    <a:pt x="6" y="2"/>
                    <a:pt x="6" y="3"/>
                  </a:cubicBezTo>
                  <a:cubicBezTo>
                    <a:pt x="6" y="174"/>
                    <a:pt x="6" y="174"/>
                    <a:pt x="6" y="174"/>
                  </a:cubicBezTo>
                  <a:cubicBezTo>
                    <a:pt x="6" y="175"/>
                    <a:pt x="4" y="177"/>
                    <a:pt x="3" y="1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" name="Freeform 432">
              <a:extLst>
                <a:ext uri="{FF2B5EF4-FFF2-40B4-BE49-F238E27FC236}">
                  <a16:creationId xmlns:a16="http://schemas.microsoft.com/office/drawing/2014/main" id="{03F3F011-7098-4170-9610-52218CED9E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8176" y="3752850"/>
              <a:ext cx="14288" cy="411163"/>
            </a:xfrm>
            <a:custGeom>
              <a:avLst/>
              <a:gdLst>
                <a:gd name="T0" fmla="*/ 3 w 6"/>
                <a:gd name="T1" fmla="*/ 177 h 177"/>
                <a:gd name="T2" fmla="*/ 0 w 6"/>
                <a:gd name="T3" fmla="*/ 174 h 177"/>
                <a:gd name="T4" fmla="*/ 0 w 6"/>
                <a:gd name="T5" fmla="*/ 3 h 177"/>
                <a:gd name="T6" fmla="*/ 3 w 6"/>
                <a:gd name="T7" fmla="*/ 0 h 177"/>
                <a:gd name="T8" fmla="*/ 6 w 6"/>
                <a:gd name="T9" fmla="*/ 3 h 177"/>
                <a:gd name="T10" fmla="*/ 6 w 6"/>
                <a:gd name="T11" fmla="*/ 174 h 177"/>
                <a:gd name="T12" fmla="*/ 3 w 6"/>
                <a:gd name="T13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77">
                  <a:moveTo>
                    <a:pt x="3" y="177"/>
                  </a:moveTo>
                  <a:cubicBezTo>
                    <a:pt x="1" y="177"/>
                    <a:pt x="0" y="175"/>
                    <a:pt x="0" y="17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4" y="0"/>
                    <a:pt x="6" y="2"/>
                    <a:pt x="6" y="3"/>
                  </a:cubicBezTo>
                  <a:cubicBezTo>
                    <a:pt x="6" y="174"/>
                    <a:pt x="6" y="174"/>
                    <a:pt x="6" y="174"/>
                  </a:cubicBezTo>
                  <a:cubicBezTo>
                    <a:pt x="6" y="175"/>
                    <a:pt x="4" y="177"/>
                    <a:pt x="3" y="1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" name="Freeform 433">
              <a:extLst>
                <a:ext uri="{FF2B5EF4-FFF2-40B4-BE49-F238E27FC236}">
                  <a16:creationId xmlns:a16="http://schemas.microsoft.com/office/drawing/2014/main" id="{0BF5987D-7C17-4F98-A65E-0C93018A8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0513" y="3716338"/>
              <a:ext cx="361950" cy="100013"/>
            </a:xfrm>
            <a:custGeom>
              <a:avLst/>
              <a:gdLst>
                <a:gd name="T0" fmla="*/ 78 w 156"/>
                <a:gd name="T1" fmla="*/ 43 h 43"/>
                <a:gd name="T2" fmla="*/ 0 w 156"/>
                <a:gd name="T3" fmla="*/ 19 h 43"/>
                <a:gd name="T4" fmla="*/ 31 w 156"/>
                <a:gd name="T5" fmla="*/ 1 h 43"/>
                <a:gd name="T6" fmla="*/ 34 w 156"/>
                <a:gd name="T7" fmla="*/ 3 h 43"/>
                <a:gd name="T8" fmla="*/ 32 w 156"/>
                <a:gd name="T9" fmla="*/ 7 h 43"/>
                <a:gd name="T10" fmla="*/ 6 w 156"/>
                <a:gd name="T11" fmla="*/ 19 h 43"/>
                <a:gd name="T12" fmla="*/ 78 w 156"/>
                <a:gd name="T13" fmla="*/ 37 h 43"/>
                <a:gd name="T14" fmla="*/ 150 w 156"/>
                <a:gd name="T15" fmla="*/ 19 h 43"/>
                <a:gd name="T16" fmla="*/ 122 w 156"/>
                <a:gd name="T17" fmla="*/ 7 h 43"/>
                <a:gd name="T18" fmla="*/ 120 w 156"/>
                <a:gd name="T19" fmla="*/ 3 h 43"/>
                <a:gd name="T20" fmla="*/ 124 w 156"/>
                <a:gd name="T21" fmla="*/ 1 h 43"/>
                <a:gd name="T22" fmla="*/ 156 w 156"/>
                <a:gd name="T23" fmla="*/ 19 h 43"/>
                <a:gd name="T24" fmla="*/ 78 w 156"/>
                <a:gd name="T2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6" h="43">
                  <a:moveTo>
                    <a:pt x="78" y="43"/>
                  </a:moveTo>
                  <a:cubicBezTo>
                    <a:pt x="41" y="43"/>
                    <a:pt x="0" y="33"/>
                    <a:pt x="0" y="19"/>
                  </a:cubicBezTo>
                  <a:cubicBezTo>
                    <a:pt x="0" y="10"/>
                    <a:pt x="19" y="4"/>
                    <a:pt x="31" y="1"/>
                  </a:cubicBezTo>
                  <a:cubicBezTo>
                    <a:pt x="32" y="1"/>
                    <a:pt x="34" y="2"/>
                    <a:pt x="34" y="3"/>
                  </a:cubicBezTo>
                  <a:cubicBezTo>
                    <a:pt x="35" y="5"/>
                    <a:pt x="34" y="6"/>
                    <a:pt x="32" y="7"/>
                  </a:cubicBezTo>
                  <a:cubicBezTo>
                    <a:pt x="12" y="11"/>
                    <a:pt x="6" y="17"/>
                    <a:pt x="6" y="19"/>
                  </a:cubicBezTo>
                  <a:cubicBezTo>
                    <a:pt x="6" y="25"/>
                    <a:pt x="33" y="37"/>
                    <a:pt x="78" y="37"/>
                  </a:cubicBezTo>
                  <a:cubicBezTo>
                    <a:pt x="122" y="37"/>
                    <a:pt x="150" y="25"/>
                    <a:pt x="150" y="19"/>
                  </a:cubicBezTo>
                  <a:cubicBezTo>
                    <a:pt x="150" y="17"/>
                    <a:pt x="143" y="11"/>
                    <a:pt x="122" y="7"/>
                  </a:cubicBezTo>
                  <a:cubicBezTo>
                    <a:pt x="121" y="6"/>
                    <a:pt x="120" y="5"/>
                    <a:pt x="120" y="3"/>
                  </a:cubicBezTo>
                  <a:cubicBezTo>
                    <a:pt x="120" y="1"/>
                    <a:pt x="122" y="0"/>
                    <a:pt x="124" y="1"/>
                  </a:cubicBezTo>
                  <a:cubicBezTo>
                    <a:pt x="133" y="3"/>
                    <a:pt x="156" y="9"/>
                    <a:pt x="156" y="19"/>
                  </a:cubicBezTo>
                  <a:cubicBezTo>
                    <a:pt x="156" y="33"/>
                    <a:pt x="115" y="43"/>
                    <a:pt x="7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" name="Freeform 434">
              <a:extLst>
                <a:ext uri="{FF2B5EF4-FFF2-40B4-BE49-F238E27FC236}">
                  <a16:creationId xmlns:a16="http://schemas.microsoft.com/office/drawing/2014/main" id="{E61C98B1-A1DB-4B5F-BD48-B52CED6E34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0513" y="4149725"/>
              <a:ext cx="361950" cy="60325"/>
            </a:xfrm>
            <a:custGeom>
              <a:avLst/>
              <a:gdLst>
                <a:gd name="T0" fmla="*/ 78 w 156"/>
                <a:gd name="T1" fmla="*/ 26 h 26"/>
                <a:gd name="T2" fmla="*/ 0 w 156"/>
                <a:gd name="T3" fmla="*/ 3 h 26"/>
                <a:gd name="T4" fmla="*/ 3 w 156"/>
                <a:gd name="T5" fmla="*/ 0 h 26"/>
                <a:gd name="T6" fmla="*/ 6 w 156"/>
                <a:gd name="T7" fmla="*/ 3 h 26"/>
                <a:gd name="T8" fmla="*/ 78 w 156"/>
                <a:gd name="T9" fmla="*/ 20 h 26"/>
                <a:gd name="T10" fmla="*/ 150 w 156"/>
                <a:gd name="T11" fmla="*/ 3 h 26"/>
                <a:gd name="T12" fmla="*/ 153 w 156"/>
                <a:gd name="T13" fmla="*/ 0 h 26"/>
                <a:gd name="T14" fmla="*/ 156 w 156"/>
                <a:gd name="T15" fmla="*/ 3 h 26"/>
                <a:gd name="T16" fmla="*/ 78 w 156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26">
                  <a:moveTo>
                    <a:pt x="78" y="26"/>
                  </a:moveTo>
                  <a:cubicBezTo>
                    <a:pt x="41" y="26"/>
                    <a:pt x="0" y="16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8"/>
                    <a:pt x="33" y="20"/>
                    <a:pt x="78" y="20"/>
                  </a:cubicBezTo>
                  <a:cubicBezTo>
                    <a:pt x="122" y="20"/>
                    <a:pt x="150" y="8"/>
                    <a:pt x="150" y="3"/>
                  </a:cubicBezTo>
                  <a:cubicBezTo>
                    <a:pt x="150" y="1"/>
                    <a:pt x="151" y="0"/>
                    <a:pt x="153" y="0"/>
                  </a:cubicBezTo>
                  <a:cubicBezTo>
                    <a:pt x="154" y="0"/>
                    <a:pt x="156" y="1"/>
                    <a:pt x="156" y="3"/>
                  </a:cubicBezTo>
                  <a:cubicBezTo>
                    <a:pt x="156" y="16"/>
                    <a:pt x="115" y="26"/>
                    <a:pt x="78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" name="Freeform 435">
              <a:extLst>
                <a:ext uri="{FF2B5EF4-FFF2-40B4-BE49-F238E27FC236}">
                  <a16:creationId xmlns:a16="http://schemas.microsoft.com/office/drawing/2014/main" id="{5E684C70-FA8C-4DED-9FB3-D5BAD3B43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0513" y="4022725"/>
              <a:ext cx="361950" cy="61913"/>
            </a:xfrm>
            <a:custGeom>
              <a:avLst/>
              <a:gdLst>
                <a:gd name="T0" fmla="*/ 78 w 156"/>
                <a:gd name="T1" fmla="*/ 27 h 27"/>
                <a:gd name="T2" fmla="*/ 0 w 156"/>
                <a:gd name="T3" fmla="*/ 3 h 27"/>
                <a:gd name="T4" fmla="*/ 3 w 156"/>
                <a:gd name="T5" fmla="*/ 0 h 27"/>
                <a:gd name="T6" fmla="*/ 6 w 156"/>
                <a:gd name="T7" fmla="*/ 3 h 27"/>
                <a:gd name="T8" fmla="*/ 78 w 156"/>
                <a:gd name="T9" fmla="*/ 21 h 27"/>
                <a:gd name="T10" fmla="*/ 150 w 156"/>
                <a:gd name="T11" fmla="*/ 3 h 27"/>
                <a:gd name="T12" fmla="*/ 153 w 156"/>
                <a:gd name="T13" fmla="*/ 0 h 27"/>
                <a:gd name="T14" fmla="*/ 156 w 156"/>
                <a:gd name="T15" fmla="*/ 3 h 27"/>
                <a:gd name="T16" fmla="*/ 78 w 156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27">
                  <a:moveTo>
                    <a:pt x="78" y="27"/>
                  </a:moveTo>
                  <a:cubicBezTo>
                    <a:pt x="41" y="27"/>
                    <a:pt x="0" y="17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8"/>
                    <a:pt x="33" y="21"/>
                    <a:pt x="78" y="21"/>
                  </a:cubicBezTo>
                  <a:cubicBezTo>
                    <a:pt x="122" y="21"/>
                    <a:pt x="150" y="8"/>
                    <a:pt x="150" y="3"/>
                  </a:cubicBezTo>
                  <a:cubicBezTo>
                    <a:pt x="150" y="1"/>
                    <a:pt x="151" y="0"/>
                    <a:pt x="153" y="0"/>
                  </a:cubicBezTo>
                  <a:cubicBezTo>
                    <a:pt x="154" y="0"/>
                    <a:pt x="156" y="1"/>
                    <a:pt x="156" y="3"/>
                  </a:cubicBezTo>
                  <a:cubicBezTo>
                    <a:pt x="156" y="17"/>
                    <a:pt x="115" y="27"/>
                    <a:pt x="78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" name="Freeform 436">
              <a:extLst>
                <a:ext uri="{FF2B5EF4-FFF2-40B4-BE49-F238E27FC236}">
                  <a16:creationId xmlns:a16="http://schemas.microsoft.com/office/drawing/2014/main" id="{7E6DE776-27C2-461E-8D96-5474D9F27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0513" y="3887788"/>
              <a:ext cx="361950" cy="61913"/>
            </a:xfrm>
            <a:custGeom>
              <a:avLst/>
              <a:gdLst>
                <a:gd name="T0" fmla="*/ 78 w 156"/>
                <a:gd name="T1" fmla="*/ 27 h 27"/>
                <a:gd name="T2" fmla="*/ 0 w 156"/>
                <a:gd name="T3" fmla="*/ 3 h 27"/>
                <a:gd name="T4" fmla="*/ 3 w 156"/>
                <a:gd name="T5" fmla="*/ 0 h 27"/>
                <a:gd name="T6" fmla="*/ 6 w 156"/>
                <a:gd name="T7" fmla="*/ 3 h 27"/>
                <a:gd name="T8" fmla="*/ 78 w 156"/>
                <a:gd name="T9" fmla="*/ 21 h 27"/>
                <a:gd name="T10" fmla="*/ 150 w 156"/>
                <a:gd name="T11" fmla="*/ 3 h 27"/>
                <a:gd name="T12" fmla="*/ 153 w 156"/>
                <a:gd name="T13" fmla="*/ 0 h 27"/>
                <a:gd name="T14" fmla="*/ 156 w 156"/>
                <a:gd name="T15" fmla="*/ 3 h 27"/>
                <a:gd name="T16" fmla="*/ 78 w 156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27">
                  <a:moveTo>
                    <a:pt x="78" y="27"/>
                  </a:moveTo>
                  <a:cubicBezTo>
                    <a:pt x="41" y="27"/>
                    <a:pt x="0" y="17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4" y="0"/>
                    <a:pt x="6" y="2"/>
                    <a:pt x="6" y="3"/>
                  </a:cubicBezTo>
                  <a:cubicBezTo>
                    <a:pt x="6" y="9"/>
                    <a:pt x="33" y="21"/>
                    <a:pt x="78" y="21"/>
                  </a:cubicBezTo>
                  <a:cubicBezTo>
                    <a:pt x="122" y="21"/>
                    <a:pt x="150" y="9"/>
                    <a:pt x="150" y="3"/>
                  </a:cubicBezTo>
                  <a:cubicBezTo>
                    <a:pt x="150" y="2"/>
                    <a:pt x="151" y="0"/>
                    <a:pt x="153" y="0"/>
                  </a:cubicBezTo>
                  <a:cubicBezTo>
                    <a:pt x="154" y="0"/>
                    <a:pt x="156" y="2"/>
                    <a:pt x="156" y="3"/>
                  </a:cubicBezTo>
                  <a:cubicBezTo>
                    <a:pt x="156" y="17"/>
                    <a:pt x="115" y="27"/>
                    <a:pt x="78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" name="Freeform 437">
              <a:extLst>
                <a:ext uri="{FF2B5EF4-FFF2-40B4-BE49-F238E27FC236}">
                  <a16:creationId xmlns:a16="http://schemas.microsoft.com/office/drawing/2014/main" id="{F56559BE-2B4E-46C2-A5E8-5091DBEE49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7188" y="3535363"/>
              <a:ext cx="225425" cy="242888"/>
            </a:xfrm>
            <a:custGeom>
              <a:avLst/>
              <a:gdLst>
                <a:gd name="T0" fmla="*/ 94 w 97"/>
                <a:gd name="T1" fmla="*/ 105 h 105"/>
                <a:gd name="T2" fmla="*/ 91 w 97"/>
                <a:gd name="T3" fmla="*/ 102 h 105"/>
                <a:gd name="T4" fmla="*/ 91 w 97"/>
                <a:gd name="T5" fmla="*/ 31 h 105"/>
                <a:gd name="T6" fmla="*/ 66 w 97"/>
                <a:gd name="T7" fmla="*/ 6 h 105"/>
                <a:gd name="T8" fmla="*/ 6 w 97"/>
                <a:gd name="T9" fmla="*/ 6 h 105"/>
                <a:gd name="T10" fmla="*/ 6 w 97"/>
                <a:gd name="T11" fmla="*/ 102 h 105"/>
                <a:gd name="T12" fmla="*/ 3 w 97"/>
                <a:gd name="T13" fmla="*/ 105 h 105"/>
                <a:gd name="T14" fmla="*/ 0 w 97"/>
                <a:gd name="T15" fmla="*/ 102 h 105"/>
                <a:gd name="T16" fmla="*/ 0 w 97"/>
                <a:gd name="T17" fmla="*/ 3 h 105"/>
                <a:gd name="T18" fmla="*/ 3 w 97"/>
                <a:gd name="T19" fmla="*/ 0 h 105"/>
                <a:gd name="T20" fmla="*/ 68 w 97"/>
                <a:gd name="T21" fmla="*/ 0 h 105"/>
                <a:gd name="T22" fmla="*/ 70 w 97"/>
                <a:gd name="T23" fmla="*/ 1 h 105"/>
                <a:gd name="T24" fmla="*/ 96 w 97"/>
                <a:gd name="T25" fmla="*/ 28 h 105"/>
                <a:gd name="T26" fmla="*/ 97 w 97"/>
                <a:gd name="T27" fmla="*/ 30 h 105"/>
                <a:gd name="T28" fmla="*/ 97 w 97"/>
                <a:gd name="T29" fmla="*/ 102 h 105"/>
                <a:gd name="T30" fmla="*/ 94 w 97"/>
                <a:gd name="T31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5">
                  <a:moveTo>
                    <a:pt x="94" y="105"/>
                  </a:moveTo>
                  <a:cubicBezTo>
                    <a:pt x="92" y="105"/>
                    <a:pt x="91" y="103"/>
                    <a:pt x="91" y="102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6" y="103"/>
                    <a:pt x="5" y="105"/>
                    <a:pt x="3" y="105"/>
                  </a:cubicBezTo>
                  <a:cubicBezTo>
                    <a:pt x="2" y="105"/>
                    <a:pt x="0" y="103"/>
                    <a:pt x="0" y="10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0"/>
                    <a:pt x="69" y="1"/>
                    <a:pt x="70" y="1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7" y="28"/>
                    <a:pt x="97" y="29"/>
                    <a:pt x="97" y="30"/>
                  </a:cubicBezTo>
                  <a:cubicBezTo>
                    <a:pt x="97" y="102"/>
                    <a:pt x="97" y="102"/>
                    <a:pt x="97" y="102"/>
                  </a:cubicBezTo>
                  <a:cubicBezTo>
                    <a:pt x="97" y="103"/>
                    <a:pt x="96" y="105"/>
                    <a:pt x="94" y="1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" name="Freeform 438">
              <a:extLst>
                <a:ext uri="{FF2B5EF4-FFF2-40B4-BE49-F238E27FC236}">
                  <a16:creationId xmlns:a16="http://schemas.microsoft.com/office/drawing/2014/main" id="{3D92396B-124E-480B-89CD-0DE410274E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88001" y="3535363"/>
              <a:ext cx="74613" cy="76200"/>
            </a:xfrm>
            <a:custGeom>
              <a:avLst/>
              <a:gdLst>
                <a:gd name="T0" fmla="*/ 29 w 32"/>
                <a:gd name="T1" fmla="*/ 33 h 33"/>
                <a:gd name="T2" fmla="*/ 3 w 32"/>
                <a:gd name="T3" fmla="*/ 33 h 33"/>
                <a:gd name="T4" fmla="*/ 0 w 32"/>
                <a:gd name="T5" fmla="*/ 30 h 33"/>
                <a:gd name="T6" fmla="*/ 0 w 32"/>
                <a:gd name="T7" fmla="*/ 3 h 33"/>
                <a:gd name="T8" fmla="*/ 1 w 32"/>
                <a:gd name="T9" fmla="*/ 1 h 33"/>
                <a:gd name="T10" fmla="*/ 5 w 32"/>
                <a:gd name="T11" fmla="*/ 1 h 33"/>
                <a:gd name="T12" fmla="*/ 31 w 32"/>
                <a:gd name="T13" fmla="*/ 28 h 33"/>
                <a:gd name="T14" fmla="*/ 32 w 32"/>
                <a:gd name="T15" fmla="*/ 31 h 33"/>
                <a:gd name="T16" fmla="*/ 29 w 32"/>
                <a:gd name="T17" fmla="*/ 33 h 33"/>
                <a:gd name="T18" fmla="*/ 6 w 32"/>
                <a:gd name="T19" fmla="*/ 27 h 33"/>
                <a:gd name="T20" fmla="*/ 22 w 32"/>
                <a:gd name="T21" fmla="*/ 27 h 33"/>
                <a:gd name="T22" fmla="*/ 6 w 32"/>
                <a:gd name="T23" fmla="*/ 11 h 33"/>
                <a:gd name="T24" fmla="*/ 6 w 32"/>
                <a:gd name="T25" fmla="*/ 2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33">
                  <a:moveTo>
                    <a:pt x="29" y="33"/>
                  </a:moveTo>
                  <a:cubicBezTo>
                    <a:pt x="3" y="33"/>
                    <a:pt x="3" y="33"/>
                    <a:pt x="3" y="33"/>
                  </a:cubicBezTo>
                  <a:cubicBezTo>
                    <a:pt x="1" y="33"/>
                    <a:pt x="0" y="31"/>
                    <a:pt x="0" y="3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3" y="0"/>
                    <a:pt x="4" y="0"/>
                    <a:pt x="5" y="1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2" y="28"/>
                    <a:pt x="32" y="30"/>
                    <a:pt x="32" y="31"/>
                  </a:cubicBezTo>
                  <a:cubicBezTo>
                    <a:pt x="31" y="32"/>
                    <a:pt x="30" y="33"/>
                    <a:pt x="29" y="33"/>
                  </a:cubicBezTo>
                  <a:close/>
                  <a:moveTo>
                    <a:pt x="6" y="27"/>
                  </a:moveTo>
                  <a:cubicBezTo>
                    <a:pt x="22" y="27"/>
                    <a:pt x="22" y="27"/>
                    <a:pt x="22" y="27"/>
                  </a:cubicBezTo>
                  <a:cubicBezTo>
                    <a:pt x="6" y="11"/>
                    <a:pt x="6" y="11"/>
                    <a:pt x="6" y="11"/>
                  </a:cubicBezTo>
                  <a:lnTo>
                    <a:pt x="6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7" name="Freeform 439">
              <a:extLst>
                <a:ext uri="{FF2B5EF4-FFF2-40B4-BE49-F238E27FC236}">
                  <a16:creationId xmlns:a16="http://schemas.microsoft.com/office/drawing/2014/main" id="{64E1E349-FBA0-477A-9655-E9FA048B04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0688" y="3632200"/>
              <a:ext cx="101600" cy="14288"/>
            </a:xfrm>
            <a:custGeom>
              <a:avLst/>
              <a:gdLst>
                <a:gd name="T0" fmla="*/ 41 w 44"/>
                <a:gd name="T1" fmla="*/ 6 h 6"/>
                <a:gd name="T2" fmla="*/ 3 w 44"/>
                <a:gd name="T3" fmla="*/ 6 h 6"/>
                <a:gd name="T4" fmla="*/ 0 w 44"/>
                <a:gd name="T5" fmla="*/ 3 h 6"/>
                <a:gd name="T6" fmla="*/ 3 w 44"/>
                <a:gd name="T7" fmla="*/ 0 h 6"/>
                <a:gd name="T8" fmla="*/ 41 w 44"/>
                <a:gd name="T9" fmla="*/ 0 h 6"/>
                <a:gd name="T10" fmla="*/ 44 w 44"/>
                <a:gd name="T11" fmla="*/ 3 h 6"/>
                <a:gd name="T12" fmla="*/ 41 w 44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6">
                  <a:moveTo>
                    <a:pt x="41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3" y="0"/>
                    <a:pt x="44" y="1"/>
                    <a:pt x="44" y="3"/>
                  </a:cubicBezTo>
                  <a:cubicBezTo>
                    <a:pt x="44" y="5"/>
                    <a:pt x="43" y="6"/>
                    <a:pt x="4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8" name="Freeform 440">
              <a:extLst>
                <a:ext uri="{FF2B5EF4-FFF2-40B4-BE49-F238E27FC236}">
                  <a16:creationId xmlns:a16="http://schemas.microsoft.com/office/drawing/2014/main" id="{1A0EDAFB-32C9-4E8B-B5E9-38FBA3FA4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3690938"/>
              <a:ext cx="139700" cy="12700"/>
            </a:xfrm>
            <a:custGeom>
              <a:avLst/>
              <a:gdLst>
                <a:gd name="T0" fmla="*/ 57 w 60"/>
                <a:gd name="T1" fmla="*/ 6 h 6"/>
                <a:gd name="T2" fmla="*/ 3 w 60"/>
                <a:gd name="T3" fmla="*/ 6 h 6"/>
                <a:gd name="T4" fmla="*/ 0 w 60"/>
                <a:gd name="T5" fmla="*/ 3 h 6"/>
                <a:gd name="T6" fmla="*/ 3 w 60"/>
                <a:gd name="T7" fmla="*/ 0 h 6"/>
                <a:gd name="T8" fmla="*/ 57 w 60"/>
                <a:gd name="T9" fmla="*/ 0 h 6"/>
                <a:gd name="T10" fmla="*/ 60 w 60"/>
                <a:gd name="T11" fmla="*/ 3 h 6"/>
                <a:gd name="T12" fmla="*/ 57 w 6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6">
                  <a:moveTo>
                    <a:pt x="5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9" y="0"/>
                    <a:pt x="60" y="2"/>
                    <a:pt x="60" y="3"/>
                  </a:cubicBezTo>
                  <a:cubicBezTo>
                    <a:pt x="60" y="5"/>
                    <a:pt x="59" y="6"/>
                    <a:pt x="5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9" name="Freeform 441">
              <a:extLst>
                <a:ext uri="{FF2B5EF4-FFF2-40B4-BE49-F238E27FC236}">
                  <a16:creationId xmlns:a16="http://schemas.microsoft.com/office/drawing/2014/main" id="{B6A2080B-A276-4682-849E-3FF9DAC9A0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3729038"/>
              <a:ext cx="139700" cy="14288"/>
            </a:xfrm>
            <a:custGeom>
              <a:avLst/>
              <a:gdLst>
                <a:gd name="T0" fmla="*/ 57 w 60"/>
                <a:gd name="T1" fmla="*/ 6 h 6"/>
                <a:gd name="T2" fmla="*/ 3 w 60"/>
                <a:gd name="T3" fmla="*/ 6 h 6"/>
                <a:gd name="T4" fmla="*/ 0 w 60"/>
                <a:gd name="T5" fmla="*/ 3 h 6"/>
                <a:gd name="T6" fmla="*/ 3 w 60"/>
                <a:gd name="T7" fmla="*/ 0 h 6"/>
                <a:gd name="T8" fmla="*/ 57 w 60"/>
                <a:gd name="T9" fmla="*/ 0 h 6"/>
                <a:gd name="T10" fmla="*/ 60 w 60"/>
                <a:gd name="T11" fmla="*/ 3 h 6"/>
                <a:gd name="T12" fmla="*/ 57 w 6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6">
                  <a:moveTo>
                    <a:pt x="5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9" y="0"/>
                    <a:pt x="60" y="2"/>
                    <a:pt x="60" y="3"/>
                  </a:cubicBezTo>
                  <a:cubicBezTo>
                    <a:pt x="60" y="5"/>
                    <a:pt x="59" y="6"/>
                    <a:pt x="5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90" name="Группа 89"/>
          <p:cNvGrpSpPr/>
          <p:nvPr/>
        </p:nvGrpSpPr>
        <p:grpSpPr>
          <a:xfrm>
            <a:off x="5064008" y="1672904"/>
            <a:ext cx="491095" cy="398394"/>
            <a:chOff x="3975100" y="4972050"/>
            <a:chExt cx="706438" cy="573088"/>
          </a:xfrm>
          <a:solidFill>
            <a:schemeClr val="bg2"/>
          </a:solidFill>
        </p:grpSpPr>
        <p:sp>
          <p:nvSpPr>
            <p:cNvPr id="91" name="Freeform 309">
              <a:extLst>
                <a:ext uri="{FF2B5EF4-FFF2-40B4-BE49-F238E27FC236}">
                  <a16:creationId xmlns:a16="http://schemas.microsoft.com/office/drawing/2014/main" id="{9C2BE221-9AD6-4C2B-B03F-F052DEA000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1475" y="4972050"/>
              <a:ext cx="500063" cy="334963"/>
            </a:xfrm>
            <a:custGeom>
              <a:avLst/>
              <a:gdLst>
                <a:gd name="T0" fmla="*/ 181 w 219"/>
                <a:gd name="T1" fmla="*/ 145 h 145"/>
                <a:gd name="T2" fmla="*/ 181 w 219"/>
                <a:gd name="T3" fmla="*/ 145 h 145"/>
                <a:gd name="T4" fmla="*/ 140 w 219"/>
                <a:gd name="T5" fmla="*/ 145 h 145"/>
                <a:gd name="T6" fmla="*/ 137 w 219"/>
                <a:gd name="T7" fmla="*/ 142 h 145"/>
                <a:gd name="T8" fmla="*/ 140 w 219"/>
                <a:gd name="T9" fmla="*/ 139 h 145"/>
                <a:gd name="T10" fmla="*/ 140 w 219"/>
                <a:gd name="T11" fmla="*/ 139 h 145"/>
                <a:gd name="T12" fmla="*/ 181 w 219"/>
                <a:gd name="T13" fmla="*/ 139 h 145"/>
                <a:gd name="T14" fmla="*/ 181 w 219"/>
                <a:gd name="T15" fmla="*/ 139 h 145"/>
                <a:gd name="T16" fmla="*/ 213 w 219"/>
                <a:gd name="T17" fmla="*/ 106 h 145"/>
                <a:gd name="T18" fmla="*/ 181 w 219"/>
                <a:gd name="T19" fmla="*/ 73 h 145"/>
                <a:gd name="T20" fmla="*/ 179 w 219"/>
                <a:gd name="T21" fmla="*/ 72 h 145"/>
                <a:gd name="T22" fmla="*/ 178 w 219"/>
                <a:gd name="T23" fmla="*/ 69 h 145"/>
                <a:gd name="T24" fmla="*/ 183 w 219"/>
                <a:gd name="T25" fmla="*/ 49 h 145"/>
                <a:gd name="T26" fmla="*/ 140 w 219"/>
                <a:gd name="T27" fmla="*/ 6 h 145"/>
                <a:gd name="T28" fmla="*/ 101 w 219"/>
                <a:gd name="T29" fmla="*/ 29 h 145"/>
                <a:gd name="T30" fmla="*/ 99 w 219"/>
                <a:gd name="T31" fmla="*/ 30 h 145"/>
                <a:gd name="T32" fmla="*/ 97 w 219"/>
                <a:gd name="T33" fmla="*/ 30 h 145"/>
                <a:gd name="T34" fmla="*/ 71 w 219"/>
                <a:gd name="T35" fmla="*/ 20 h 145"/>
                <a:gd name="T36" fmla="*/ 31 w 219"/>
                <a:gd name="T37" fmla="*/ 60 h 145"/>
                <a:gd name="T38" fmla="*/ 29 w 219"/>
                <a:gd name="T39" fmla="*/ 63 h 145"/>
                <a:gd name="T40" fmla="*/ 6 w 219"/>
                <a:gd name="T41" fmla="*/ 99 h 145"/>
                <a:gd name="T42" fmla="*/ 3 w 219"/>
                <a:gd name="T43" fmla="*/ 102 h 145"/>
                <a:gd name="T44" fmla="*/ 0 w 219"/>
                <a:gd name="T45" fmla="*/ 99 h 145"/>
                <a:gd name="T46" fmla="*/ 25 w 219"/>
                <a:gd name="T47" fmla="*/ 58 h 145"/>
                <a:gd name="T48" fmla="*/ 71 w 219"/>
                <a:gd name="T49" fmla="*/ 14 h 145"/>
                <a:gd name="T50" fmla="*/ 98 w 219"/>
                <a:gd name="T51" fmla="*/ 23 h 145"/>
                <a:gd name="T52" fmla="*/ 140 w 219"/>
                <a:gd name="T53" fmla="*/ 0 h 145"/>
                <a:gd name="T54" fmla="*/ 189 w 219"/>
                <a:gd name="T55" fmla="*/ 49 h 145"/>
                <a:gd name="T56" fmla="*/ 186 w 219"/>
                <a:gd name="T57" fmla="*/ 68 h 145"/>
                <a:gd name="T58" fmla="*/ 219 w 219"/>
                <a:gd name="T59" fmla="*/ 106 h 145"/>
                <a:gd name="T60" fmla="*/ 181 w 219"/>
                <a:gd name="T61" fmla="*/ 145 h 145"/>
                <a:gd name="T62" fmla="*/ 181 w 219"/>
                <a:gd name="T6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9" h="145">
                  <a:moveTo>
                    <a:pt x="181" y="145"/>
                  </a:moveTo>
                  <a:cubicBezTo>
                    <a:pt x="181" y="145"/>
                    <a:pt x="181" y="145"/>
                    <a:pt x="181" y="145"/>
                  </a:cubicBezTo>
                  <a:cubicBezTo>
                    <a:pt x="140" y="145"/>
                    <a:pt x="140" y="145"/>
                    <a:pt x="140" y="145"/>
                  </a:cubicBezTo>
                  <a:cubicBezTo>
                    <a:pt x="138" y="145"/>
                    <a:pt x="137" y="144"/>
                    <a:pt x="137" y="142"/>
                  </a:cubicBezTo>
                  <a:cubicBezTo>
                    <a:pt x="137" y="141"/>
                    <a:pt x="138" y="139"/>
                    <a:pt x="140" y="139"/>
                  </a:cubicBezTo>
                  <a:cubicBezTo>
                    <a:pt x="140" y="139"/>
                    <a:pt x="140" y="139"/>
                    <a:pt x="140" y="139"/>
                  </a:cubicBezTo>
                  <a:cubicBezTo>
                    <a:pt x="181" y="139"/>
                    <a:pt x="181" y="139"/>
                    <a:pt x="181" y="139"/>
                  </a:cubicBezTo>
                  <a:cubicBezTo>
                    <a:pt x="181" y="139"/>
                    <a:pt x="181" y="139"/>
                    <a:pt x="181" y="139"/>
                  </a:cubicBezTo>
                  <a:cubicBezTo>
                    <a:pt x="199" y="139"/>
                    <a:pt x="213" y="124"/>
                    <a:pt x="213" y="106"/>
                  </a:cubicBezTo>
                  <a:cubicBezTo>
                    <a:pt x="213" y="88"/>
                    <a:pt x="199" y="74"/>
                    <a:pt x="181" y="73"/>
                  </a:cubicBezTo>
                  <a:cubicBezTo>
                    <a:pt x="180" y="73"/>
                    <a:pt x="179" y="73"/>
                    <a:pt x="179" y="72"/>
                  </a:cubicBezTo>
                  <a:cubicBezTo>
                    <a:pt x="178" y="71"/>
                    <a:pt x="178" y="70"/>
                    <a:pt x="178" y="69"/>
                  </a:cubicBezTo>
                  <a:cubicBezTo>
                    <a:pt x="182" y="63"/>
                    <a:pt x="183" y="56"/>
                    <a:pt x="183" y="49"/>
                  </a:cubicBezTo>
                  <a:cubicBezTo>
                    <a:pt x="183" y="25"/>
                    <a:pt x="164" y="6"/>
                    <a:pt x="140" y="6"/>
                  </a:cubicBezTo>
                  <a:cubicBezTo>
                    <a:pt x="124" y="6"/>
                    <a:pt x="109" y="14"/>
                    <a:pt x="101" y="29"/>
                  </a:cubicBezTo>
                  <a:cubicBezTo>
                    <a:pt x="101" y="29"/>
                    <a:pt x="100" y="30"/>
                    <a:pt x="99" y="30"/>
                  </a:cubicBezTo>
                  <a:cubicBezTo>
                    <a:pt x="98" y="30"/>
                    <a:pt x="98" y="30"/>
                    <a:pt x="97" y="30"/>
                  </a:cubicBezTo>
                  <a:cubicBezTo>
                    <a:pt x="90" y="23"/>
                    <a:pt x="81" y="20"/>
                    <a:pt x="71" y="20"/>
                  </a:cubicBezTo>
                  <a:cubicBezTo>
                    <a:pt x="49" y="20"/>
                    <a:pt x="31" y="38"/>
                    <a:pt x="31" y="60"/>
                  </a:cubicBezTo>
                  <a:cubicBezTo>
                    <a:pt x="31" y="61"/>
                    <a:pt x="30" y="62"/>
                    <a:pt x="29" y="63"/>
                  </a:cubicBezTo>
                  <a:cubicBezTo>
                    <a:pt x="15" y="69"/>
                    <a:pt x="6" y="84"/>
                    <a:pt x="6" y="99"/>
                  </a:cubicBezTo>
                  <a:cubicBezTo>
                    <a:pt x="6" y="101"/>
                    <a:pt x="4" y="102"/>
                    <a:pt x="3" y="102"/>
                  </a:cubicBezTo>
                  <a:cubicBezTo>
                    <a:pt x="1" y="102"/>
                    <a:pt x="0" y="101"/>
                    <a:pt x="0" y="99"/>
                  </a:cubicBezTo>
                  <a:cubicBezTo>
                    <a:pt x="0" y="82"/>
                    <a:pt x="10" y="66"/>
                    <a:pt x="25" y="58"/>
                  </a:cubicBezTo>
                  <a:cubicBezTo>
                    <a:pt x="26" y="34"/>
                    <a:pt x="46" y="14"/>
                    <a:pt x="71" y="14"/>
                  </a:cubicBezTo>
                  <a:cubicBezTo>
                    <a:pt x="81" y="14"/>
                    <a:pt x="90" y="17"/>
                    <a:pt x="98" y="23"/>
                  </a:cubicBezTo>
                  <a:cubicBezTo>
                    <a:pt x="107" y="8"/>
                    <a:pt x="123" y="0"/>
                    <a:pt x="140" y="0"/>
                  </a:cubicBezTo>
                  <a:cubicBezTo>
                    <a:pt x="167" y="0"/>
                    <a:pt x="189" y="22"/>
                    <a:pt x="189" y="49"/>
                  </a:cubicBezTo>
                  <a:cubicBezTo>
                    <a:pt x="189" y="55"/>
                    <a:pt x="188" y="62"/>
                    <a:pt x="186" y="68"/>
                  </a:cubicBezTo>
                  <a:cubicBezTo>
                    <a:pt x="205" y="70"/>
                    <a:pt x="219" y="86"/>
                    <a:pt x="219" y="106"/>
                  </a:cubicBezTo>
                  <a:cubicBezTo>
                    <a:pt x="219" y="127"/>
                    <a:pt x="202" y="145"/>
                    <a:pt x="181" y="145"/>
                  </a:cubicBezTo>
                  <a:cubicBezTo>
                    <a:pt x="181" y="145"/>
                    <a:pt x="181" y="145"/>
                    <a:pt x="181" y="1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2" name="Freeform 310">
              <a:extLst>
                <a:ext uri="{FF2B5EF4-FFF2-40B4-BE49-F238E27FC236}">
                  <a16:creationId xmlns:a16="http://schemas.microsoft.com/office/drawing/2014/main" id="{6F3DC16D-2B2E-4637-BB55-263DED0339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0500" y="5486400"/>
              <a:ext cx="547688" cy="58738"/>
            </a:xfrm>
            <a:custGeom>
              <a:avLst/>
              <a:gdLst>
                <a:gd name="T0" fmla="*/ 219 w 240"/>
                <a:gd name="T1" fmla="*/ 25 h 25"/>
                <a:gd name="T2" fmla="*/ 17 w 240"/>
                <a:gd name="T3" fmla="*/ 25 h 25"/>
                <a:gd name="T4" fmla="*/ 0 w 240"/>
                <a:gd name="T5" fmla="*/ 7 h 25"/>
                <a:gd name="T6" fmla="*/ 0 w 240"/>
                <a:gd name="T7" fmla="*/ 3 h 25"/>
                <a:gd name="T8" fmla="*/ 1 w 240"/>
                <a:gd name="T9" fmla="*/ 1 h 25"/>
                <a:gd name="T10" fmla="*/ 3 w 240"/>
                <a:gd name="T11" fmla="*/ 0 h 25"/>
                <a:gd name="T12" fmla="*/ 3 w 240"/>
                <a:gd name="T13" fmla="*/ 0 h 25"/>
                <a:gd name="T14" fmla="*/ 237 w 240"/>
                <a:gd name="T15" fmla="*/ 0 h 25"/>
                <a:gd name="T16" fmla="*/ 239 w 240"/>
                <a:gd name="T17" fmla="*/ 1 h 25"/>
                <a:gd name="T18" fmla="*/ 240 w 240"/>
                <a:gd name="T19" fmla="*/ 3 h 25"/>
                <a:gd name="T20" fmla="*/ 240 w 240"/>
                <a:gd name="T21" fmla="*/ 8 h 25"/>
                <a:gd name="T22" fmla="*/ 223 w 240"/>
                <a:gd name="T23" fmla="*/ 25 h 25"/>
                <a:gd name="T24" fmla="*/ 219 w 240"/>
                <a:gd name="T25" fmla="*/ 25 h 25"/>
                <a:gd name="T26" fmla="*/ 6 w 240"/>
                <a:gd name="T27" fmla="*/ 6 h 25"/>
                <a:gd name="T28" fmla="*/ 6 w 240"/>
                <a:gd name="T29" fmla="*/ 7 h 25"/>
                <a:gd name="T30" fmla="*/ 17 w 240"/>
                <a:gd name="T31" fmla="*/ 19 h 25"/>
                <a:gd name="T32" fmla="*/ 223 w 240"/>
                <a:gd name="T33" fmla="*/ 19 h 25"/>
                <a:gd name="T34" fmla="*/ 234 w 240"/>
                <a:gd name="T35" fmla="*/ 8 h 25"/>
                <a:gd name="T36" fmla="*/ 234 w 240"/>
                <a:gd name="T37" fmla="*/ 6 h 25"/>
                <a:gd name="T38" fmla="*/ 6 w 240"/>
                <a:gd name="T39" fmla="*/ 6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0" h="25">
                  <a:moveTo>
                    <a:pt x="219" y="25"/>
                  </a:moveTo>
                  <a:cubicBezTo>
                    <a:pt x="189" y="25"/>
                    <a:pt x="19" y="25"/>
                    <a:pt x="17" y="25"/>
                  </a:cubicBezTo>
                  <a:cubicBezTo>
                    <a:pt x="2" y="25"/>
                    <a:pt x="0" y="17"/>
                    <a:pt x="0" y="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37" y="0"/>
                    <a:pt x="237" y="0"/>
                    <a:pt x="237" y="0"/>
                  </a:cubicBezTo>
                  <a:cubicBezTo>
                    <a:pt x="238" y="0"/>
                    <a:pt x="239" y="1"/>
                    <a:pt x="239" y="1"/>
                  </a:cubicBezTo>
                  <a:cubicBezTo>
                    <a:pt x="240" y="2"/>
                    <a:pt x="240" y="3"/>
                    <a:pt x="240" y="3"/>
                  </a:cubicBezTo>
                  <a:cubicBezTo>
                    <a:pt x="240" y="8"/>
                    <a:pt x="240" y="8"/>
                    <a:pt x="240" y="8"/>
                  </a:cubicBezTo>
                  <a:cubicBezTo>
                    <a:pt x="240" y="17"/>
                    <a:pt x="239" y="25"/>
                    <a:pt x="223" y="25"/>
                  </a:cubicBezTo>
                  <a:cubicBezTo>
                    <a:pt x="223" y="25"/>
                    <a:pt x="222" y="25"/>
                    <a:pt x="219" y="25"/>
                  </a:cubicBezTo>
                  <a:close/>
                  <a:moveTo>
                    <a:pt x="6" y="6"/>
                  </a:moveTo>
                  <a:cubicBezTo>
                    <a:pt x="6" y="7"/>
                    <a:pt x="6" y="7"/>
                    <a:pt x="6" y="7"/>
                  </a:cubicBezTo>
                  <a:cubicBezTo>
                    <a:pt x="6" y="16"/>
                    <a:pt x="7" y="19"/>
                    <a:pt x="17" y="19"/>
                  </a:cubicBezTo>
                  <a:cubicBezTo>
                    <a:pt x="19" y="19"/>
                    <a:pt x="220" y="19"/>
                    <a:pt x="223" y="19"/>
                  </a:cubicBezTo>
                  <a:cubicBezTo>
                    <a:pt x="234" y="19"/>
                    <a:pt x="234" y="16"/>
                    <a:pt x="234" y="8"/>
                  </a:cubicBezTo>
                  <a:cubicBezTo>
                    <a:pt x="234" y="6"/>
                    <a:pt x="234" y="6"/>
                    <a:pt x="234" y="6"/>
                  </a:cubicBez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3" name="Freeform 311">
              <a:extLst>
                <a:ext uri="{FF2B5EF4-FFF2-40B4-BE49-F238E27FC236}">
                  <a16:creationId xmlns:a16="http://schemas.microsoft.com/office/drawing/2014/main" id="{9C38B617-A091-4D7C-946E-307ED7478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7175" y="5221288"/>
              <a:ext cx="417513" cy="279400"/>
            </a:xfrm>
            <a:custGeom>
              <a:avLst/>
              <a:gdLst>
                <a:gd name="T0" fmla="*/ 180 w 183"/>
                <a:gd name="T1" fmla="*/ 121 h 121"/>
                <a:gd name="T2" fmla="*/ 177 w 183"/>
                <a:gd name="T3" fmla="*/ 118 h 121"/>
                <a:gd name="T4" fmla="*/ 177 w 183"/>
                <a:gd name="T5" fmla="*/ 9 h 121"/>
                <a:gd name="T6" fmla="*/ 173 w 183"/>
                <a:gd name="T7" fmla="*/ 6 h 121"/>
                <a:gd name="T8" fmla="*/ 9 w 183"/>
                <a:gd name="T9" fmla="*/ 6 h 121"/>
                <a:gd name="T10" fmla="*/ 6 w 183"/>
                <a:gd name="T11" fmla="*/ 9 h 121"/>
                <a:gd name="T12" fmla="*/ 6 w 183"/>
                <a:gd name="T13" fmla="*/ 116 h 121"/>
                <a:gd name="T14" fmla="*/ 3 w 183"/>
                <a:gd name="T15" fmla="*/ 119 h 121"/>
                <a:gd name="T16" fmla="*/ 0 w 183"/>
                <a:gd name="T17" fmla="*/ 116 h 121"/>
                <a:gd name="T18" fmla="*/ 0 w 183"/>
                <a:gd name="T19" fmla="*/ 9 h 121"/>
                <a:gd name="T20" fmla="*/ 9 w 183"/>
                <a:gd name="T21" fmla="*/ 0 h 121"/>
                <a:gd name="T22" fmla="*/ 173 w 183"/>
                <a:gd name="T23" fmla="*/ 0 h 121"/>
                <a:gd name="T24" fmla="*/ 183 w 183"/>
                <a:gd name="T25" fmla="*/ 9 h 121"/>
                <a:gd name="T26" fmla="*/ 183 w 183"/>
                <a:gd name="T27" fmla="*/ 118 h 121"/>
                <a:gd name="T28" fmla="*/ 180 w 183"/>
                <a:gd name="T2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3" h="121">
                  <a:moveTo>
                    <a:pt x="180" y="121"/>
                  </a:moveTo>
                  <a:cubicBezTo>
                    <a:pt x="178" y="121"/>
                    <a:pt x="177" y="120"/>
                    <a:pt x="177" y="118"/>
                  </a:cubicBezTo>
                  <a:cubicBezTo>
                    <a:pt x="177" y="9"/>
                    <a:pt x="177" y="9"/>
                    <a:pt x="177" y="9"/>
                  </a:cubicBezTo>
                  <a:cubicBezTo>
                    <a:pt x="177" y="6"/>
                    <a:pt x="174" y="6"/>
                    <a:pt x="17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8" y="6"/>
                    <a:pt x="6" y="7"/>
                    <a:pt x="6" y="9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6" y="118"/>
                    <a:pt x="4" y="119"/>
                    <a:pt x="3" y="119"/>
                  </a:cubicBezTo>
                  <a:cubicBezTo>
                    <a:pt x="1" y="119"/>
                    <a:pt x="0" y="118"/>
                    <a:pt x="0" y="11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3"/>
                    <a:pt x="5" y="0"/>
                    <a:pt x="9" y="0"/>
                  </a:cubicBezTo>
                  <a:cubicBezTo>
                    <a:pt x="173" y="0"/>
                    <a:pt x="173" y="0"/>
                    <a:pt x="173" y="0"/>
                  </a:cubicBezTo>
                  <a:cubicBezTo>
                    <a:pt x="177" y="0"/>
                    <a:pt x="183" y="3"/>
                    <a:pt x="183" y="9"/>
                  </a:cubicBezTo>
                  <a:cubicBezTo>
                    <a:pt x="183" y="118"/>
                    <a:pt x="183" y="118"/>
                    <a:pt x="183" y="118"/>
                  </a:cubicBezTo>
                  <a:cubicBezTo>
                    <a:pt x="183" y="120"/>
                    <a:pt x="181" y="121"/>
                    <a:pt x="180" y="1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4" name="Freeform 312">
              <a:extLst>
                <a:ext uri="{FF2B5EF4-FFF2-40B4-BE49-F238E27FC236}">
                  <a16:creationId xmlns:a16="http://schemas.microsoft.com/office/drawing/2014/main" id="{7BDD312E-C084-403A-899B-1F52C6203F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925" y="5253038"/>
              <a:ext cx="355600" cy="228600"/>
            </a:xfrm>
            <a:custGeom>
              <a:avLst/>
              <a:gdLst>
                <a:gd name="T0" fmla="*/ 153 w 156"/>
                <a:gd name="T1" fmla="*/ 99 h 99"/>
                <a:gd name="T2" fmla="*/ 150 w 156"/>
                <a:gd name="T3" fmla="*/ 96 h 99"/>
                <a:gd name="T4" fmla="*/ 150 w 156"/>
                <a:gd name="T5" fmla="*/ 6 h 99"/>
                <a:gd name="T6" fmla="*/ 6 w 156"/>
                <a:gd name="T7" fmla="*/ 6 h 99"/>
                <a:gd name="T8" fmla="*/ 6 w 156"/>
                <a:gd name="T9" fmla="*/ 94 h 99"/>
                <a:gd name="T10" fmla="*/ 3 w 156"/>
                <a:gd name="T11" fmla="*/ 97 h 99"/>
                <a:gd name="T12" fmla="*/ 0 w 156"/>
                <a:gd name="T13" fmla="*/ 94 h 99"/>
                <a:gd name="T14" fmla="*/ 0 w 156"/>
                <a:gd name="T15" fmla="*/ 3 h 99"/>
                <a:gd name="T16" fmla="*/ 3 w 156"/>
                <a:gd name="T17" fmla="*/ 0 h 99"/>
                <a:gd name="T18" fmla="*/ 153 w 156"/>
                <a:gd name="T19" fmla="*/ 0 h 99"/>
                <a:gd name="T20" fmla="*/ 156 w 156"/>
                <a:gd name="T21" fmla="*/ 3 h 99"/>
                <a:gd name="T22" fmla="*/ 156 w 156"/>
                <a:gd name="T23" fmla="*/ 96 h 99"/>
                <a:gd name="T24" fmla="*/ 153 w 156"/>
                <a:gd name="T2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6" h="99">
                  <a:moveTo>
                    <a:pt x="153" y="99"/>
                  </a:moveTo>
                  <a:cubicBezTo>
                    <a:pt x="151" y="99"/>
                    <a:pt x="150" y="97"/>
                    <a:pt x="150" y="96"/>
                  </a:cubicBezTo>
                  <a:cubicBezTo>
                    <a:pt x="150" y="6"/>
                    <a:pt x="150" y="6"/>
                    <a:pt x="150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94"/>
                    <a:pt x="6" y="94"/>
                    <a:pt x="6" y="94"/>
                  </a:cubicBezTo>
                  <a:cubicBezTo>
                    <a:pt x="6" y="95"/>
                    <a:pt x="4" y="97"/>
                    <a:pt x="3" y="97"/>
                  </a:cubicBezTo>
                  <a:cubicBezTo>
                    <a:pt x="1" y="97"/>
                    <a:pt x="0" y="95"/>
                    <a:pt x="0" y="9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4" y="0"/>
                    <a:pt x="156" y="1"/>
                    <a:pt x="156" y="3"/>
                  </a:cubicBezTo>
                  <a:cubicBezTo>
                    <a:pt x="156" y="96"/>
                    <a:pt x="156" y="96"/>
                    <a:pt x="156" y="96"/>
                  </a:cubicBezTo>
                  <a:cubicBezTo>
                    <a:pt x="156" y="97"/>
                    <a:pt x="154" y="99"/>
                    <a:pt x="153" y="9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5" name="Freeform 313">
              <a:extLst>
                <a:ext uri="{FF2B5EF4-FFF2-40B4-BE49-F238E27FC236}">
                  <a16:creationId xmlns:a16="http://schemas.microsoft.com/office/drawing/2014/main" id="{C0A4C8A0-A6F6-4638-9082-4AC765CEA1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100" y="5094288"/>
              <a:ext cx="169863" cy="327025"/>
            </a:xfrm>
            <a:custGeom>
              <a:avLst/>
              <a:gdLst>
                <a:gd name="T0" fmla="*/ 3 w 74"/>
                <a:gd name="T1" fmla="*/ 142 h 142"/>
                <a:gd name="T2" fmla="*/ 0 w 74"/>
                <a:gd name="T3" fmla="*/ 139 h 142"/>
                <a:gd name="T4" fmla="*/ 0 w 74"/>
                <a:gd name="T5" fmla="*/ 3 h 142"/>
                <a:gd name="T6" fmla="*/ 3 w 74"/>
                <a:gd name="T7" fmla="*/ 0 h 142"/>
                <a:gd name="T8" fmla="*/ 71 w 74"/>
                <a:gd name="T9" fmla="*/ 0 h 142"/>
                <a:gd name="T10" fmla="*/ 74 w 74"/>
                <a:gd name="T11" fmla="*/ 3 h 142"/>
                <a:gd name="T12" fmla="*/ 71 w 74"/>
                <a:gd name="T13" fmla="*/ 6 h 142"/>
                <a:gd name="T14" fmla="*/ 6 w 74"/>
                <a:gd name="T15" fmla="*/ 6 h 142"/>
                <a:gd name="T16" fmla="*/ 6 w 74"/>
                <a:gd name="T17" fmla="*/ 139 h 142"/>
                <a:gd name="T18" fmla="*/ 3 w 74"/>
                <a:gd name="T1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142">
                  <a:moveTo>
                    <a:pt x="3" y="142"/>
                  </a:moveTo>
                  <a:cubicBezTo>
                    <a:pt x="1" y="142"/>
                    <a:pt x="0" y="141"/>
                    <a:pt x="0" y="13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2" y="0"/>
                    <a:pt x="74" y="1"/>
                    <a:pt x="74" y="3"/>
                  </a:cubicBezTo>
                  <a:cubicBezTo>
                    <a:pt x="74" y="5"/>
                    <a:pt x="72" y="6"/>
                    <a:pt x="71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139"/>
                    <a:pt x="6" y="139"/>
                    <a:pt x="6" y="139"/>
                  </a:cubicBezTo>
                  <a:cubicBezTo>
                    <a:pt x="6" y="141"/>
                    <a:pt x="4" y="142"/>
                    <a:pt x="3" y="1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6" name="Freeform 314">
              <a:extLst>
                <a:ext uri="{FF2B5EF4-FFF2-40B4-BE49-F238E27FC236}">
                  <a16:creationId xmlns:a16="http://schemas.microsoft.com/office/drawing/2014/main" id="{C77B44B1-701B-41B9-BABD-A0BEA98B5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1838" y="5343525"/>
              <a:ext cx="41275" cy="96838"/>
            </a:xfrm>
            <a:custGeom>
              <a:avLst/>
              <a:gdLst>
                <a:gd name="T0" fmla="*/ 15 w 18"/>
                <a:gd name="T1" fmla="*/ 42 h 42"/>
                <a:gd name="T2" fmla="*/ 3 w 18"/>
                <a:gd name="T3" fmla="*/ 42 h 42"/>
                <a:gd name="T4" fmla="*/ 0 w 18"/>
                <a:gd name="T5" fmla="*/ 39 h 42"/>
                <a:gd name="T6" fmla="*/ 3 w 18"/>
                <a:gd name="T7" fmla="*/ 36 h 42"/>
                <a:gd name="T8" fmla="*/ 12 w 18"/>
                <a:gd name="T9" fmla="*/ 36 h 42"/>
                <a:gd name="T10" fmla="*/ 12 w 18"/>
                <a:gd name="T11" fmla="*/ 3 h 42"/>
                <a:gd name="T12" fmla="*/ 15 w 18"/>
                <a:gd name="T13" fmla="*/ 0 h 42"/>
                <a:gd name="T14" fmla="*/ 18 w 18"/>
                <a:gd name="T15" fmla="*/ 3 h 42"/>
                <a:gd name="T16" fmla="*/ 18 w 18"/>
                <a:gd name="T17" fmla="*/ 39 h 42"/>
                <a:gd name="T18" fmla="*/ 15 w 18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42">
                  <a:moveTo>
                    <a:pt x="15" y="42"/>
                  </a:moveTo>
                  <a:cubicBezTo>
                    <a:pt x="3" y="42"/>
                    <a:pt x="3" y="42"/>
                    <a:pt x="3" y="42"/>
                  </a:cubicBezTo>
                  <a:cubicBezTo>
                    <a:pt x="1" y="42"/>
                    <a:pt x="0" y="41"/>
                    <a:pt x="0" y="39"/>
                  </a:cubicBezTo>
                  <a:cubicBezTo>
                    <a:pt x="0" y="37"/>
                    <a:pt x="1" y="36"/>
                    <a:pt x="3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1"/>
                    <a:pt x="13" y="0"/>
                    <a:pt x="15" y="0"/>
                  </a:cubicBezTo>
                  <a:cubicBezTo>
                    <a:pt x="16" y="0"/>
                    <a:pt x="18" y="1"/>
                    <a:pt x="18" y="3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41"/>
                    <a:pt x="16" y="42"/>
                    <a:pt x="15" y="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7" name="Freeform 315">
              <a:extLst>
                <a:ext uri="{FF2B5EF4-FFF2-40B4-BE49-F238E27FC236}">
                  <a16:creationId xmlns:a16="http://schemas.microsoft.com/office/drawing/2014/main" id="{3C4B7BB0-259A-42AF-8CBD-278101762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5800" y="5426075"/>
              <a:ext cx="23813" cy="14288"/>
            </a:xfrm>
            <a:custGeom>
              <a:avLst/>
              <a:gdLst>
                <a:gd name="T0" fmla="*/ 7 w 10"/>
                <a:gd name="T1" fmla="*/ 6 h 6"/>
                <a:gd name="T2" fmla="*/ 3 w 10"/>
                <a:gd name="T3" fmla="*/ 6 h 6"/>
                <a:gd name="T4" fmla="*/ 0 w 10"/>
                <a:gd name="T5" fmla="*/ 3 h 6"/>
                <a:gd name="T6" fmla="*/ 3 w 10"/>
                <a:gd name="T7" fmla="*/ 0 h 6"/>
                <a:gd name="T8" fmla="*/ 7 w 10"/>
                <a:gd name="T9" fmla="*/ 0 h 6"/>
                <a:gd name="T10" fmla="*/ 10 w 10"/>
                <a:gd name="T11" fmla="*/ 3 h 6"/>
                <a:gd name="T12" fmla="*/ 7 w 1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6">
                  <a:moveTo>
                    <a:pt x="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10" y="1"/>
                    <a:pt x="10" y="3"/>
                  </a:cubicBezTo>
                  <a:cubicBezTo>
                    <a:pt x="10" y="5"/>
                    <a:pt x="8" y="6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8" name="Freeform 316">
              <a:extLst>
                <a:ext uri="{FF2B5EF4-FFF2-40B4-BE49-F238E27FC236}">
                  <a16:creationId xmlns:a16="http://schemas.microsoft.com/office/drawing/2014/main" id="{4EAE1E90-89B1-4155-98CB-9C055CECD7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7188" y="5094288"/>
              <a:ext cx="22225" cy="14288"/>
            </a:xfrm>
            <a:custGeom>
              <a:avLst/>
              <a:gdLst>
                <a:gd name="T0" fmla="*/ 7 w 10"/>
                <a:gd name="T1" fmla="*/ 6 h 6"/>
                <a:gd name="T2" fmla="*/ 3 w 10"/>
                <a:gd name="T3" fmla="*/ 6 h 6"/>
                <a:gd name="T4" fmla="*/ 0 w 10"/>
                <a:gd name="T5" fmla="*/ 3 h 6"/>
                <a:gd name="T6" fmla="*/ 3 w 10"/>
                <a:gd name="T7" fmla="*/ 0 h 6"/>
                <a:gd name="T8" fmla="*/ 7 w 10"/>
                <a:gd name="T9" fmla="*/ 0 h 6"/>
                <a:gd name="T10" fmla="*/ 10 w 10"/>
                <a:gd name="T11" fmla="*/ 3 h 6"/>
                <a:gd name="T12" fmla="*/ 7 w 1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6">
                  <a:moveTo>
                    <a:pt x="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10" y="1"/>
                    <a:pt x="10" y="3"/>
                  </a:cubicBezTo>
                  <a:cubicBezTo>
                    <a:pt x="10" y="5"/>
                    <a:pt x="8" y="6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103" name="Google Shape;122;p17"/>
          <p:cNvSpPr txBox="1">
            <a:spLocks noGrp="1"/>
          </p:cNvSpPr>
          <p:nvPr>
            <p:ph type="title"/>
          </p:nvPr>
        </p:nvSpPr>
        <p:spPr>
          <a:xfrm>
            <a:off x="1502267" y="6103938"/>
            <a:ext cx="9186900" cy="4636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 algn="ctr">
              <a:lnSpc>
                <a:spcPct val="100000"/>
              </a:lnSpc>
              <a:buSzPts val="990"/>
            </a:pPr>
            <a:r>
              <a:rPr lang="ru-RU" sz="2800" b="1" dirty="0">
                <a:solidFill>
                  <a:srgbClr val="FFFFFF"/>
                </a:solidFill>
                <a:latin typeface="Segoe UI Semibold" panose="020B0702040204020203" pitchFamily="34" charset="0"/>
                <a:ea typeface="Open Sans"/>
                <a:cs typeface="Segoe UI Semibold" panose="020B0702040204020203" pitchFamily="34" charset="0"/>
                <a:sym typeface="Open Sans"/>
              </a:rPr>
              <a:t>Готовность </a:t>
            </a:r>
            <a:r>
              <a:rPr lang="en-US" sz="2800" b="1" dirty="0">
                <a:solidFill>
                  <a:srgbClr val="FFFFFF"/>
                </a:solidFill>
                <a:latin typeface="Segoe UI Semibold" panose="020B0702040204020203" pitchFamily="34" charset="0"/>
                <a:ea typeface="Open Sans"/>
                <a:cs typeface="Segoe UI Semibold" panose="020B0702040204020203" pitchFamily="34" charset="0"/>
                <a:sym typeface="Open Sans"/>
              </a:rPr>
              <a:t>VS </a:t>
            </a:r>
            <a:r>
              <a:rPr lang="ru-RU" sz="2800" b="1" dirty="0">
                <a:solidFill>
                  <a:srgbClr val="FFFFFF"/>
                </a:solidFill>
                <a:latin typeface="Segoe UI Semibold" panose="020B0702040204020203" pitchFamily="34" charset="0"/>
                <a:ea typeface="Open Sans"/>
                <a:cs typeface="Segoe UI Semibold" panose="020B0702040204020203" pitchFamily="34" charset="0"/>
                <a:sym typeface="Open Sans"/>
              </a:rPr>
              <a:t>Зрелость</a:t>
            </a:r>
          </a:p>
        </p:txBody>
      </p:sp>
      <p:cxnSp>
        <p:nvCxnSpPr>
          <p:cNvPr id="105" name="Прямая соединительная линия 104"/>
          <p:cNvCxnSpPr/>
          <p:nvPr/>
        </p:nvCxnSpPr>
        <p:spPr>
          <a:xfrm>
            <a:off x="7950829" y="2926051"/>
            <a:ext cx="3803021" cy="0"/>
          </a:xfrm>
          <a:prstGeom prst="line">
            <a:avLst/>
          </a:prstGeom>
          <a:ln w="6350">
            <a:solidFill>
              <a:srgbClr val="FE575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Прямая соединительная линия 106"/>
          <p:cNvCxnSpPr/>
          <p:nvPr/>
        </p:nvCxnSpPr>
        <p:spPr>
          <a:xfrm>
            <a:off x="847725" y="2926051"/>
            <a:ext cx="3441212" cy="0"/>
          </a:xfrm>
          <a:prstGeom prst="line">
            <a:avLst/>
          </a:prstGeom>
          <a:ln w="6350">
            <a:solidFill>
              <a:srgbClr val="FE575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Box 107"/>
          <p:cNvSpPr txBox="1"/>
          <p:nvPr/>
        </p:nvSpPr>
        <p:spPr>
          <a:xfrm>
            <a:off x="8621069" y="1427844"/>
            <a:ext cx="3263300" cy="10618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Начало пути</a:t>
            </a:r>
            <a:r>
              <a:rPr lang="en-US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для традиционных отраслей</a:t>
            </a:r>
          </a:p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Нет сложившегося устойчивого шаблона 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8621069" y="3101618"/>
            <a:ext cx="3263300" cy="12157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Не вовлечены</a:t>
            </a:r>
          </a:p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Не обучены</a:t>
            </a:r>
          </a:p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Не хватает</a:t>
            </a:r>
          </a:p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Рынок перегрет</a:t>
            </a:r>
          </a:p>
        </p:txBody>
      </p:sp>
      <p:sp>
        <p:nvSpPr>
          <p:cNvPr id="111" name="Овал 110"/>
          <p:cNvSpPr/>
          <p:nvPr/>
        </p:nvSpPr>
        <p:spPr>
          <a:xfrm>
            <a:off x="8396953" y="1475773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rgbClr val="FE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7" name="Овал 116"/>
          <p:cNvSpPr/>
          <p:nvPr/>
        </p:nvSpPr>
        <p:spPr>
          <a:xfrm>
            <a:off x="8396953" y="2063582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rgbClr val="FE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8" name="Овал 117"/>
          <p:cNvSpPr/>
          <p:nvPr/>
        </p:nvSpPr>
        <p:spPr>
          <a:xfrm>
            <a:off x="8396953" y="3150770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rgbClr val="FE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9" name="Овал 118"/>
          <p:cNvSpPr/>
          <p:nvPr/>
        </p:nvSpPr>
        <p:spPr>
          <a:xfrm>
            <a:off x="8396953" y="3450317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rgbClr val="FE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0" name="Овал 119"/>
          <p:cNvSpPr/>
          <p:nvPr/>
        </p:nvSpPr>
        <p:spPr>
          <a:xfrm>
            <a:off x="8396953" y="3795179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rgbClr val="FE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1" name="Овал 120"/>
          <p:cNvSpPr/>
          <p:nvPr/>
        </p:nvSpPr>
        <p:spPr>
          <a:xfrm>
            <a:off x="8396953" y="4131036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rgbClr val="FE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2" name="TextBox 121"/>
          <p:cNvSpPr txBox="1"/>
          <p:nvPr/>
        </p:nvSpPr>
        <p:spPr>
          <a:xfrm>
            <a:off x="1733549" y="1427844"/>
            <a:ext cx="2546415" cy="892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Не едины</a:t>
            </a:r>
          </a:p>
          <a:p>
            <a:pPr>
              <a:spcAft>
                <a:spcPts val="600"/>
              </a:spcAft>
            </a:pPr>
            <a:r>
              <a:rPr lang="ru-RU" sz="16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Импортозависимы</a:t>
            </a:r>
            <a:endParaRPr lang="ru-RU" sz="16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Нет типовых решений</a:t>
            </a:r>
          </a:p>
        </p:txBody>
      </p:sp>
      <p:sp>
        <p:nvSpPr>
          <p:cNvPr id="123" name="Овал 122"/>
          <p:cNvSpPr/>
          <p:nvPr/>
        </p:nvSpPr>
        <p:spPr>
          <a:xfrm>
            <a:off x="1501736" y="1475773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rgbClr val="FE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4" name="Овал 123"/>
          <p:cNvSpPr/>
          <p:nvPr/>
        </p:nvSpPr>
        <p:spPr>
          <a:xfrm>
            <a:off x="1501736" y="1818688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rgbClr val="FE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5" name="Овал 124"/>
          <p:cNvSpPr/>
          <p:nvPr/>
        </p:nvSpPr>
        <p:spPr>
          <a:xfrm>
            <a:off x="1501736" y="2124998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rgbClr val="FE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6" name="TextBox 125"/>
          <p:cNvSpPr txBox="1"/>
          <p:nvPr/>
        </p:nvSpPr>
        <p:spPr>
          <a:xfrm>
            <a:off x="1733549" y="3101618"/>
            <a:ext cx="2546415" cy="14619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Нет единых библиотек процессов</a:t>
            </a:r>
          </a:p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Не выровнены</a:t>
            </a:r>
          </a:p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Не едины</a:t>
            </a:r>
          </a:p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Разрознены</a:t>
            </a:r>
          </a:p>
        </p:txBody>
      </p:sp>
      <p:sp>
        <p:nvSpPr>
          <p:cNvPr id="130" name="Овал 129"/>
          <p:cNvSpPr/>
          <p:nvPr/>
        </p:nvSpPr>
        <p:spPr>
          <a:xfrm>
            <a:off x="1501736" y="3175601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rgbClr val="FE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1" name="Овал 130"/>
          <p:cNvSpPr/>
          <p:nvPr/>
        </p:nvSpPr>
        <p:spPr>
          <a:xfrm>
            <a:off x="1501736" y="3718141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rgbClr val="FE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2" name="Овал 131"/>
          <p:cNvSpPr/>
          <p:nvPr/>
        </p:nvSpPr>
        <p:spPr>
          <a:xfrm>
            <a:off x="1501736" y="4051400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rgbClr val="FE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3" name="Овал 132"/>
          <p:cNvSpPr/>
          <p:nvPr/>
        </p:nvSpPr>
        <p:spPr>
          <a:xfrm>
            <a:off x="1501736" y="4374530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rgbClr val="FE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олилиния 16"/>
          <p:cNvSpPr/>
          <p:nvPr/>
        </p:nvSpPr>
        <p:spPr>
          <a:xfrm>
            <a:off x="6143625" y="895350"/>
            <a:ext cx="5781675" cy="161925"/>
          </a:xfrm>
          <a:custGeom>
            <a:avLst/>
            <a:gdLst>
              <a:gd name="connsiteX0" fmla="*/ 0 w 5781675"/>
              <a:gd name="connsiteY0" fmla="*/ 161925 h 161925"/>
              <a:gd name="connsiteX1" fmla="*/ 0 w 5781675"/>
              <a:gd name="connsiteY1" fmla="*/ 0 h 161925"/>
              <a:gd name="connsiteX2" fmla="*/ 5781675 w 5781675"/>
              <a:gd name="connsiteY2" fmla="*/ 0 h 16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81675" h="161925">
                <a:moveTo>
                  <a:pt x="0" y="161925"/>
                </a:moveTo>
                <a:lnTo>
                  <a:pt x="0" y="0"/>
                </a:lnTo>
                <a:lnTo>
                  <a:pt x="5781675" y="0"/>
                </a:lnTo>
              </a:path>
            </a:pathLst>
          </a:custGeom>
          <a:noFill/>
          <a:ln w="6350">
            <a:solidFill>
              <a:srgbClr val="FE5757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4" name="Полилиния 133"/>
          <p:cNvSpPr/>
          <p:nvPr/>
        </p:nvSpPr>
        <p:spPr>
          <a:xfrm flipH="1">
            <a:off x="1402873" y="895350"/>
            <a:ext cx="4637281" cy="161925"/>
          </a:xfrm>
          <a:custGeom>
            <a:avLst/>
            <a:gdLst>
              <a:gd name="connsiteX0" fmla="*/ 0 w 5781675"/>
              <a:gd name="connsiteY0" fmla="*/ 161925 h 161925"/>
              <a:gd name="connsiteX1" fmla="*/ 0 w 5781675"/>
              <a:gd name="connsiteY1" fmla="*/ 0 h 161925"/>
              <a:gd name="connsiteX2" fmla="*/ 5781675 w 5781675"/>
              <a:gd name="connsiteY2" fmla="*/ 0 h 16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81675" h="161925">
                <a:moveTo>
                  <a:pt x="0" y="161925"/>
                </a:moveTo>
                <a:lnTo>
                  <a:pt x="0" y="0"/>
                </a:lnTo>
                <a:lnTo>
                  <a:pt x="5781675" y="0"/>
                </a:lnTo>
              </a:path>
            </a:pathLst>
          </a:custGeom>
          <a:noFill/>
          <a:ln w="6350">
            <a:solidFill>
              <a:srgbClr val="FE5757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6012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23"/>
          <p:cNvSpPr txBox="1"/>
          <p:nvPr/>
        </p:nvSpPr>
        <p:spPr>
          <a:xfrm>
            <a:off x="524110" y="282355"/>
            <a:ext cx="1120697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600" dirty="0">
                <a:latin typeface="+mn-lt"/>
              </a:rPr>
              <a:t>ОПИСАНИЕ ТЕКУЩЕЙ ИТ-АРХИТЕКТУРЫ </a:t>
            </a:r>
            <a:r>
              <a:rPr lang="ru-RU" sz="3600" dirty="0">
                <a:solidFill>
                  <a:srgbClr val="FF0000"/>
                </a:solidFill>
                <a:latin typeface="+mn-lt"/>
              </a:rPr>
              <a:t>AS IS</a:t>
            </a:r>
          </a:p>
        </p:txBody>
      </p:sp>
      <p:pic>
        <p:nvPicPr>
          <p:cNvPr id="26" name="Picture 2" descr="Корпоративная архитектура — Архитектура ИТ-решений">
            <a:extLst>
              <a:ext uri="{FF2B5EF4-FFF2-40B4-BE49-F238E27FC236}">
                <a16:creationId xmlns:a16="http://schemas.microsoft.com/office/drawing/2014/main" id="{DA60EB5E-86B0-7B47-801E-4A7211DEAB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8316" y="1413084"/>
            <a:ext cx="2101166" cy="1330741"/>
          </a:xfrm>
          <a:prstGeom prst="rect">
            <a:avLst/>
          </a:prstGeom>
          <a:noFill/>
          <a:ln>
            <a:solidFill>
              <a:schemeClr val="bg2">
                <a:lumMod val="20000"/>
                <a:lumOff val="8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0" descr="Diagram: A more complex Network Diagram (example) – A Practical Guide to  Software Architecture">
            <a:extLst>
              <a:ext uri="{FF2B5EF4-FFF2-40B4-BE49-F238E27FC236}">
                <a16:creationId xmlns:a16="http://schemas.microsoft.com/office/drawing/2014/main" id="{980967F7-540C-C240-B70C-3EA5693164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3771" y="1413083"/>
            <a:ext cx="2065125" cy="1330741"/>
          </a:xfrm>
          <a:prstGeom prst="rect">
            <a:avLst/>
          </a:prstGeom>
          <a:noFill/>
          <a:ln>
            <a:solidFill>
              <a:schemeClr val="bg2">
                <a:lumMod val="20000"/>
                <a:lumOff val="8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20D71AD1-9211-1944-8595-56290D47963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60" t="-2466" r="-460" b="8088"/>
          <a:stretch/>
        </p:blipFill>
        <p:spPr>
          <a:xfrm>
            <a:off x="7765303" y="1377709"/>
            <a:ext cx="1921575" cy="1354011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32" name="Picture 12" descr="Core Solution Architecture Methods | Web Age Solutions">
            <a:extLst>
              <a:ext uri="{FF2B5EF4-FFF2-40B4-BE49-F238E27FC236}">
                <a16:creationId xmlns:a16="http://schemas.microsoft.com/office/drawing/2014/main" id="{5AD28893-C1C6-F34F-ADF3-7D2DA493D1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6460" y="3212408"/>
            <a:ext cx="1921575" cy="1458397"/>
          </a:xfrm>
          <a:prstGeom prst="rect">
            <a:avLst/>
          </a:prstGeom>
          <a:noFill/>
          <a:ln>
            <a:solidFill>
              <a:schemeClr val="bg2">
                <a:lumMod val="20000"/>
                <a:lumOff val="8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8" descr="Example of High-Level Architecture. | Download Scientific Diagram">
            <a:extLst>
              <a:ext uri="{FF2B5EF4-FFF2-40B4-BE49-F238E27FC236}">
                <a16:creationId xmlns:a16="http://schemas.microsoft.com/office/drawing/2014/main" id="{D87B67B1-E684-CD45-8E63-5CA0892ABC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8316" y="3212408"/>
            <a:ext cx="2082625" cy="1376942"/>
          </a:xfrm>
          <a:prstGeom prst="rect">
            <a:avLst/>
          </a:prstGeom>
          <a:noFill/>
          <a:ln>
            <a:solidFill>
              <a:schemeClr val="bg2">
                <a:lumMod val="20000"/>
                <a:lumOff val="8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53771" y="3212408"/>
            <a:ext cx="2065125" cy="1439602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466979" y="5039349"/>
            <a:ext cx="2211057" cy="165331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153771" y="5039349"/>
            <a:ext cx="2065125" cy="1418252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16F032F1-DB98-4345-BF38-449BAE4553C3}"/>
              </a:ext>
            </a:extLst>
          </p:cNvPr>
          <p:cNvSpPr txBox="1"/>
          <p:nvPr/>
        </p:nvSpPr>
        <p:spPr>
          <a:xfrm>
            <a:off x="2568316" y="1104736"/>
            <a:ext cx="2075860" cy="27297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ru-RU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ДЗО 1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6F032F1-DB98-4345-BF38-449BAE4553C3}"/>
              </a:ext>
            </a:extLst>
          </p:cNvPr>
          <p:cNvSpPr txBox="1"/>
          <p:nvPr/>
        </p:nvSpPr>
        <p:spPr>
          <a:xfrm>
            <a:off x="5143037" y="1104736"/>
            <a:ext cx="2075860" cy="27297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ru-RU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ДЗО 2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6F032F1-DB98-4345-BF38-449BAE4553C3}"/>
              </a:ext>
            </a:extLst>
          </p:cNvPr>
          <p:cNvSpPr txBox="1"/>
          <p:nvPr/>
        </p:nvSpPr>
        <p:spPr>
          <a:xfrm>
            <a:off x="7756460" y="1104736"/>
            <a:ext cx="1930418" cy="27297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ru-RU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ДЗО 3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6F032F1-DB98-4345-BF38-449BAE4553C3}"/>
              </a:ext>
            </a:extLst>
          </p:cNvPr>
          <p:cNvSpPr txBox="1"/>
          <p:nvPr/>
        </p:nvSpPr>
        <p:spPr>
          <a:xfrm>
            <a:off x="2568316" y="2942820"/>
            <a:ext cx="2075860" cy="27297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ru-RU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ДЗО 4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6F032F1-DB98-4345-BF38-449BAE4553C3}"/>
              </a:ext>
            </a:extLst>
          </p:cNvPr>
          <p:cNvSpPr txBox="1"/>
          <p:nvPr/>
        </p:nvSpPr>
        <p:spPr>
          <a:xfrm>
            <a:off x="5143037" y="2942820"/>
            <a:ext cx="2075860" cy="27297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ru-RU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ДЗО 5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6F032F1-DB98-4345-BF38-449BAE4553C3}"/>
              </a:ext>
            </a:extLst>
          </p:cNvPr>
          <p:cNvSpPr txBox="1"/>
          <p:nvPr/>
        </p:nvSpPr>
        <p:spPr>
          <a:xfrm>
            <a:off x="7756460" y="2942820"/>
            <a:ext cx="1930418" cy="27297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ru-RU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ДЗО 6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6F032F1-DB98-4345-BF38-449BAE4553C3}"/>
              </a:ext>
            </a:extLst>
          </p:cNvPr>
          <p:cNvSpPr txBox="1"/>
          <p:nvPr/>
        </p:nvSpPr>
        <p:spPr>
          <a:xfrm>
            <a:off x="2568316" y="4739552"/>
            <a:ext cx="2075860" cy="27297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ru-RU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ДЗО 7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6F032F1-DB98-4345-BF38-449BAE4553C3}"/>
              </a:ext>
            </a:extLst>
          </p:cNvPr>
          <p:cNvSpPr txBox="1"/>
          <p:nvPr/>
        </p:nvSpPr>
        <p:spPr>
          <a:xfrm>
            <a:off x="5143037" y="4739552"/>
            <a:ext cx="2075860" cy="27297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ru-RU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ДЗО 8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6F032F1-DB98-4345-BF38-449BAE4553C3}"/>
              </a:ext>
            </a:extLst>
          </p:cNvPr>
          <p:cNvSpPr txBox="1"/>
          <p:nvPr/>
        </p:nvSpPr>
        <p:spPr>
          <a:xfrm>
            <a:off x="7756460" y="4739552"/>
            <a:ext cx="1930418" cy="27297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ru-RU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ДЗО </a:t>
            </a: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N</a:t>
            </a:r>
            <a:endParaRPr lang="ru-RU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568316" y="5039349"/>
            <a:ext cx="2144619" cy="1429746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103858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" descr="Корпоративная архитектура — Архитектура ИТ-решений">
            <a:extLst>
              <a:ext uri="{FF2B5EF4-FFF2-40B4-BE49-F238E27FC236}">
                <a16:creationId xmlns:a16="http://schemas.microsoft.com/office/drawing/2014/main" id="{DA60EB5E-86B0-7B47-801E-4A7211DEAB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1381" y="749203"/>
            <a:ext cx="2216838" cy="1404000"/>
          </a:xfrm>
          <a:prstGeom prst="rect">
            <a:avLst/>
          </a:prstGeom>
          <a:noFill/>
          <a:ln>
            <a:solidFill>
              <a:schemeClr val="bg2">
                <a:lumMod val="20000"/>
                <a:lumOff val="8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0" descr="Diagram: A more complex Network Diagram (example) – A Practical Guide to  Software Architecture">
            <a:extLst>
              <a:ext uri="{FF2B5EF4-FFF2-40B4-BE49-F238E27FC236}">
                <a16:creationId xmlns:a16="http://schemas.microsoft.com/office/drawing/2014/main" id="{980967F7-540C-C240-B70C-3EA5693164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9168" y="749202"/>
            <a:ext cx="2178813" cy="1404000"/>
          </a:xfrm>
          <a:prstGeom prst="rect">
            <a:avLst/>
          </a:prstGeom>
          <a:noFill/>
          <a:ln>
            <a:solidFill>
              <a:schemeClr val="bg2">
                <a:lumMod val="20000"/>
                <a:lumOff val="8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20D71AD1-9211-1944-8595-56290D47963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60" t="-2466" r="-460" b="8088"/>
          <a:stretch/>
        </p:blipFill>
        <p:spPr>
          <a:xfrm>
            <a:off x="7704468" y="711880"/>
            <a:ext cx="2027360" cy="1428551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32" name="Picture 12" descr="Core Solution Architecture Methods | Web Age Solutions">
            <a:extLst>
              <a:ext uri="{FF2B5EF4-FFF2-40B4-BE49-F238E27FC236}">
                <a16:creationId xmlns:a16="http://schemas.microsoft.com/office/drawing/2014/main" id="{5AD28893-C1C6-F34F-ADF3-7D2DA493D1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5138" y="2647582"/>
            <a:ext cx="2027360" cy="1538684"/>
          </a:xfrm>
          <a:prstGeom prst="rect">
            <a:avLst/>
          </a:prstGeom>
          <a:noFill/>
          <a:ln>
            <a:solidFill>
              <a:schemeClr val="bg2">
                <a:lumMod val="20000"/>
                <a:lumOff val="8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8" descr="Example of High-Level Architecture. | Download Scientific Diagram">
            <a:extLst>
              <a:ext uri="{FF2B5EF4-FFF2-40B4-BE49-F238E27FC236}">
                <a16:creationId xmlns:a16="http://schemas.microsoft.com/office/drawing/2014/main" id="{D87B67B1-E684-CD45-8E63-5CA0892ABC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1381" y="2647582"/>
            <a:ext cx="2197276" cy="1452744"/>
          </a:xfrm>
          <a:prstGeom prst="rect">
            <a:avLst/>
          </a:prstGeom>
          <a:noFill/>
          <a:ln>
            <a:solidFill>
              <a:schemeClr val="bg2">
                <a:lumMod val="20000"/>
                <a:lumOff val="8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49168" y="2647582"/>
            <a:ext cx="2178813" cy="1518854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389721" y="4575098"/>
            <a:ext cx="2332778" cy="1744329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949168" y="4575098"/>
            <a:ext cx="2178813" cy="1496329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16F032F1-DB98-4345-BF38-449BAE4553C3}"/>
              </a:ext>
            </a:extLst>
          </p:cNvPr>
          <p:cNvSpPr txBox="1"/>
          <p:nvPr/>
        </p:nvSpPr>
        <p:spPr>
          <a:xfrm>
            <a:off x="2221381" y="423880"/>
            <a:ext cx="2190138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ru-RU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ДЗО 1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6F032F1-DB98-4345-BF38-449BAE4553C3}"/>
              </a:ext>
            </a:extLst>
          </p:cNvPr>
          <p:cNvSpPr txBox="1"/>
          <p:nvPr/>
        </p:nvSpPr>
        <p:spPr>
          <a:xfrm>
            <a:off x="4937843" y="423880"/>
            <a:ext cx="2190138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ru-RU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ДЗО 2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6F032F1-DB98-4345-BF38-449BAE4553C3}"/>
              </a:ext>
            </a:extLst>
          </p:cNvPr>
          <p:cNvSpPr txBox="1"/>
          <p:nvPr/>
        </p:nvSpPr>
        <p:spPr>
          <a:xfrm>
            <a:off x="7695138" y="423880"/>
            <a:ext cx="2036690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ru-RU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ДЗО 3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6F032F1-DB98-4345-BF38-449BAE4553C3}"/>
              </a:ext>
            </a:extLst>
          </p:cNvPr>
          <p:cNvSpPr txBox="1"/>
          <p:nvPr/>
        </p:nvSpPr>
        <p:spPr>
          <a:xfrm>
            <a:off x="2221381" y="2363153"/>
            <a:ext cx="2190138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ru-RU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ДЗО 4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6F032F1-DB98-4345-BF38-449BAE4553C3}"/>
              </a:ext>
            </a:extLst>
          </p:cNvPr>
          <p:cNvSpPr txBox="1"/>
          <p:nvPr/>
        </p:nvSpPr>
        <p:spPr>
          <a:xfrm>
            <a:off x="4937843" y="2363153"/>
            <a:ext cx="2190138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ru-RU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ДЗО 5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6F032F1-DB98-4345-BF38-449BAE4553C3}"/>
              </a:ext>
            </a:extLst>
          </p:cNvPr>
          <p:cNvSpPr txBox="1"/>
          <p:nvPr/>
        </p:nvSpPr>
        <p:spPr>
          <a:xfrm>
            <a:off x="7695138" y="2363153"/>
            <a:ext cx="2036690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ru-RU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ДЗО 6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6F032F1-DB98-4345-BF38-449BAE4553C3}"/>
              </a:ext>
            </a:extLst>
          </p:cNvPr>
          <p:cNvSpPr txBox="1"/>
          <p:nvPr/>
        </p:nvSpPr>
        <p:spPr>
          <a:xfrm>
            <a:off x="2221381" y="4258797"/>
            <a:ext cx="2190138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ru-RU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ДЗО 7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6F032F1-DB98-4345-BF38-449BAE4553C3}"/>
              </a:ext>
            </a:extLst>
          </p:cNvPr>
          <p:cNvSpPr txBox="1"/>
          <p:nvPr/>
        </p:nvSpPr>
        <p:spPr>
          <a:xfrm>
            <a:off x="4937843" y="4258797"/>
            <a:ext cx="2190138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ru-RU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ДЗО 8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6F032F1-DB98-4345-BF38-449BAE4553C3}"/>
              </a:ext>
            </a:extLst>
          </p:cNvPr>
          <p:cNvSpPr txBox="1"/>
          <p:nvPr/>
        </p:nvSpPr>
        <p:spPr>
          <a:xfrm>
            <a:off x="7695138" y="4258797"/>
            <a:ext cx="2036690" cy="288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ru-RU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ДЗО </a:t>
            </a:r>
            <a:r>
              <a:rPr lang="en-US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N</a:t>
            </a:r>
            <a:endParaRPr lang="ru-RU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221381" y="4575098"/>
            <a:ext cx="2262683" cy="1508455"/>
          </a:xfrm>
          <a:prstGeom prst="rect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</p:pic>
      <p:sp>
        <p:nvSpPr>
          <p:cNvPr id="21" name="Прямоугольник 2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lumMod val="20000"/>
              <a:lumOff val="80000"/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505409" y="1278247"/>
            <a:ext cx="2717877" cy="4445126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0" y="5584785"/>
            <a:ext cx="12192000" cy="1273215"/>
          </a:xfrm>
          <a:prstGeom prst="rect">
            <a:avLst/>
          </a:prstGeom>
          <a:solidFill>
            <a:srgbClr val="FE57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extBox 22"/>
          <p:cNvSpPr txBox="1"/>
          <p:nvPr/>
        </p:nvSpPr>
        <p:spPr>
          <a:xfrm>
            <a:off x="1166636" y="5779357"/>
            <a:ext cx="9858729" cy="884070"/>
          </a:xfrm>
          <a:prstGeom prst="rect">
            <a:avLst/>
          </a:prstGeom>
          <a:noFill/>
        </p:spPr>
        <p:txBody>
          <a:bodyPr wrap="square" lIns="180000" tIns="72000" rIns="72000" bIns="72000" rtlCol="0" anchor="ctr" anchorCtr="0">
            <a:spAutoFit/>
          </a:bodyPr>
          <a:lstStyle/>
          <a:p>
            <a:pPr algn="ctr"/>
            <a:r>
              <a:rPr lang="ru-RU" sz="48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КАЖДЫЙ СУСЛИК – АГРОНОМ</a:t>
            </a:r>
          </a:p>
        </p:txBody>
      </p:sp>
    </p:spTree>
    <p:extLst>
      <p:ext uri="{BB962C8B-B14F-4D97-AF65-F5344CB8AC3E}">
        <p14:creationId xmlns:p14="http://schemas.microsoft.com/office/powerpoint/2010/main" val="1772487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>
            <a:grayscl/>
          </a:blip>
          <a:srcRect b="43749"/>
          <a:stretch/>
        </p:blipFill>
        <p:spPr>
          <a:xfrm>
            <a:off x="0" y="1"/>
            <a:ext cx="12191998" cy="6858000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lumMod val="60000"/>
              <a:lumOff val="40000"/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/>
          <p:cNvSpPr txBox="1"/>
          <p:nvPr/>
        </p:nvSpPr>
        <p:spPr>
          <a:xfrm>
            <a:off x="-205272" y="2015412"/>
            <a:ext cx="4338734" cy="2827176"/>
          </a:xfrm>
          <a:prstGeom prst="homePlate">
            <a:avLst>
              <a:gd name="adj" fmla="val 14132"/>
            </a:avLst>
          </a:prstGeom>
          <a:solidFill>
            <a:srgbClr val="FF2649"/>
          </a:solidFill>
          <a:ln w="19050">
            <a:noFill/>
          </a:ln>
        </p:spPr>
        <p:txBody>
          <a:bodyPr wrap="square" lIns="360000" tIns="36000" rIns="36000" bIns="36000" rtlCol="0" anchor="ctr" anchorCtr="0">
            <a:noAutofit/>
          </a:bodyPr>
          <a:lstStyle/>
          <a:p>
            <a:r>
              <a:rPr lang="ru-RU" sz="28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ПРОБЛЕМА АВТОМАТИЗАЦИИ КРУПНОЙ КОРПОРАЦИИ – </a:t>
            </a:r>
            <a:endParaRPr lang="ru-RU" sz="3600" b="1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8497077" y="2617633"/>
            <a:ext cx="3778898" cy="1622734"/>
          </a:xfrm>
          <a:prstGeom prst="rect">
            <a:avLst/>
          </a:prstGeom>
          <a:noFill/>
        </p:spPr>
        <p:txBody>
          <a:bodyPr wrap="square" lIns="180000" tIns="72000" rIns="72000" bIns="72000" rtlCol="0" anchor="ctr" anchorCtr="0">
            <a:spAutoFit/>
          </a:bodyPr>
          <a:lstStyle/>
          <a:p>
            <a:r>
              <a:rPr lang="ru-RU" sz="32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ПРОБЛЕМА </a:t>
            </a:r>
            <a:r>
              <a:rPr lang="ru-RU" sz="3200" b="1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ВАВИЛОНСКОЙ БАШНИ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8322906" y="2472612"/>
            <a:ext cx="4254759" cy="1987421"/>
          </a:xfrm>
          <a:prstGeom prst="rect">
            <a:avLst/>
          </a:prstGeom>
          <a:noFill/>
          <a:ln w="12700">
            <a:solidFill>
              <a:srgbClr val="FF26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 flipV="1">
            <a:off x="4133461" y="3426667"/>
            <a:ext cx="4189445" cy="4667"/>
          </a:xfrm>
          <a:prstGeom prst="line">
            <a:avLst/>
          </a:prstGeom>
          <a:ln w="12700">
            <a:solidFill>
              <a:srgbClr val="FF2649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5884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/>
          <p:cNvGrpSpPr/>
          <p:nvPr/>
        </p:nvGrpSpPr>
        <p:grpSpPr>
          <a:xfrm>
            <a:off x="2492213" y="931085"/>
            <a:ext cx="7260046" cy="5632785"/>
            <a:chOff x="1894114" y="442288"/>
            <a:chExt cx="8145626" cy="6319872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1894114" y="442288"/>
              <a:ext cx="8145626" cy="2021000"/>
              <a:chOff x="1894114" y="181026"/>
              <a:chExt cx="8145626" cy="2021000"/>
            </a:xfrm>
          </p:grpSpPr>
          <p:pic>
            <p:nvPicPr>
              <p:cNvPr id="5" name="Рисунок 4"/>
              <p:cNvPicPr>
                <a:picLocks noChangeAspect="1"/>
              </p:cNvPicPr>
              <p:nvPr/>
            </p:nvPicPr>
            <p:blipFill rotWithShape="1">
              <a:blip r:embed="rId3"/>
              <a:srcRect t="3991" b="4086"/>
              <a:stretch/>
            </p:blipFill>
            <p:spPr>
              <a:xfrm>
                <a:off x="1894114" y="496679"/>
                <a:ext cx="2481852" cy="1705347"/>
              </a:xfrm>
              <a:prstGeom prst="rect">
                <a:avLst/>
              </a:prstGeom>
            </p:spPr>
          </p:pic>
          <p:pic>
            <p:nvPicPr>
              <p:cNvPr id="65" name="Рисунок 64"/>
              <p:cNvPicPr>
                <a:picLocks noChangeAspect="1"/>
              </p:cNvPicPr>
              <p:nvPr/>
            </p:nvPicPr>
            <p:blipFill rotWithShape="1">
              <a:blip r:embed="rId3"/>
              <a:srcRect t="3991" b="4086"/>
              <a:stretch/>
            </p:blipFill>
            <p:spPr>
              <a:xfrm>
                <a:off x="4726001" y="496679"/>
                <a:ext cx="2481852" cy="1705347"/>
              </a:xfrm>
              <a:prstGeom prst="rect">
                <a:avLst/>
              </a:prstGeom>
            </p:spPr>
          </p:pic>
          <p:pic>
            <p:nvPicPr>
              <p:cNvPr id="66" name="Рисунок 65"/>
              <p:cNvPicPr>
                <a:picLocks noChangeAspect="1"/>
              </p:cNvPicPr>
              <p:nvPr/>
            </p:nvPicPr>
            <p:blipFill rotWithShape="1">
              <a:blip r:embed="rId3"/>
              <a:srcRect t="3991" b="4086"/>
              <a:stretch/>
            </p:blipFill>
            <p:spPr>
              <a:xfrm>
                <a:off x="7557888" y="496679"/>
                <a:ext cx="2481852" cy="1705347"/>
              </a:xfrm>
              <a:prstGeom prst="rect">
                <a:avLst/>
              </a:prstGeom>
            </p:spPr>
          </p:pic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16F032F1-DB98-4345-BF38-449BAE4553C3}"/>
                  </a:ext>
                </a:extLst>
              </p:cNvPr>
              <p:cNvSpPr txBox="1"/>
              <p:nvPr/>
            </p:nvSpPr>
            <p:spPr>
              <a:xfrm>
                <a:off x="1964916" y="181026"/>
                <a:ext cx="2307671" cy="27061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ru-RU" sz="1600" dirty="0"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ДЗО 1</a:t>
                </a:r>
              </a:p>
            </p:txBody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16F032F1-DB98-4345-BF38-449BAE4553C3}"/>
                  </a:ext>
                </a:extLst>
              </p:cNvPr>
              <p:cNvSpPr txBox="1"/>
              <p:nvPr/>
            </p:nvSpPr>
            <p:spPr>
              <a:xfrm>
                <a:off x="4769253" y="181026"/>
                <a:ext cx="2307671" cy="31565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ru-RU" sz="1600" dirty="0"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ДЗО 2</a:t>
                </a:r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16F032F1-DB98-4345-BF38-449BAE4553C3}"/>
                  </a:ext>
                </a:extLst>
              </p:cNvPr>
              <p:cNvSpPr txBox="1"/>
              <p:nvPr/>
            </p:nvSpPr>
            <p:spPr>
              <a:xfrm>
                <a:off x="7573589" y="181026"/>
                <a:ext cx="2466150" cy="31565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ru-RU" sz="1600" dirty="0"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ДЗО 3</a:t>
                </a:r>
              </a:p>
            </p:txBody>
          </p:sp>
          <p:sp>
            <p:nvSpPr>
              <p:cNvPr id="7" name="Прямоугольник 6"/>
              <p:cNvSpPr/>
              <p:nvPr/>
            </p:nvSpPr>
            <p:spPr>
              <a:xfrm>
                <a:off x="2371725" y="761134"/>
                <a:ext cx="345498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2765459" y="882796"/>
                <a:ext cx="345498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3544777" y="882365"/>
                <a:ext cx="345498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2371724" y="1860111"/>
                <a:ext cx="36079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3159760" y="1982310"/>
                <a:ext cx="345498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2" name="Прямоугольник 101"/>
              <p:cNvSpPr/>
              <p:nvPr/>
            </p:nvSpPr>
            <p:spPr>
              <a:xfrm rot="16200000">
                <a:off x="4785895" y="848873"/>
                <a:ext cx="296276" cy="106084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3" name="Прямоугольник 102"/>
              <p:cNvSpPr/>
              <p:nvPr/>
            </p:nvSpPr>
            <p:spPr>
              <a:xfrm rot="16200000">
                <a:off x="4907870" y="848873"/>
                <a:ext cx="296276" cy="106084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4" name="Прямоугольник 103"/>
              <p:cNvSpPr/>
              <p:nvPr/>
            </p:nvSpPr>
            <p:spPr>
              <a:xfrm rot="16200000">
                <a:off x="4907870" y="1521683"/>
                <a:ext cx="296276" cy="106084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5" name="Прямоугольник 104"/>
              <p:cNvSpPr/>
              <p:nvPr/>
            </p:nvSpPr>
            <p:spPr>
              <a:xfrm>
                <a:off x="5599167" y="765658"/>
                <a:ext cx="345498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6" name="Прямоугольник 105"/>
              <p:cNvSpPr/>
              <p:nvPr/>
            </p:nvSpPr>
            <p:spPr>
              <a:xfrm>
                <a:off x="5983650" y="765658"/>
                <a:ext cx="345498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7" name="Прямоугольник 106"/>
              <p:cNvSpPr/>
              <p:nvPr/>
            </p:nvSpPr>
            <p:spPr>
              <a:xfrm>
                <a:off x="8417035" y="1982309"/>
                <a:ext cx="368041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8" name="Прямоугольник 107"/>
              <p:cNvSpPr/>
              <p:nvPr/>
            </p:nvSpPr>
            <p:spPr>
              <a:xfrm>
                <a:off x="5599167" y="1863400"/>
                <a:ext cx="345498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09" name="Прямоугольник 108"/>
              <p:cNvSpPr/>
              <p:nvPr/>
            </p:nvSpPr>
            <p:spPr>
              <a:xfrm>
                <a:off x="6380559" y="1863400"/>
                <a:ext cx="345498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0" name="Прямоугольник 109"/>
              <p:cNvSpPr/>
              <p:nvPr/>
            </p:nvSpPr>
            <p:spPr>
              <a:xfrm>
                <a:off x="8038600" y="1863400"/>
                <a:ext cx="345498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1" name="Прямоугольник 110"/>
              <p:cNvSpPr/>
              <p:nvPr/>
            </p:nvSpPr>
            <p:spPr>
              <a:xfrm>
                <a:off x="8825669" y="1860111"/>
                <a:ext cx="349036" cy="91612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2" name="Прямоугольник 111"/>
              <p:cNvSpPr/>
              <p:nvPr/>
            </p:nvSpPr>
            <p:spPr>
              <a:xfrm>
                <a:off x="9216639" y="1979021"/>
                <a:ext cx="349036" cy="91612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3" name="Прямоугольник 112"/>
              <p:cNvSpPr/>
              <p:nvPr/>
            </p:nvSpPr>
            <p:spPr>
              <a:xfrm rot="16200000">
                <a:off x="9675813" y="848873"/>
                <a:ext cx="296276" cy="106084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4" name="Прямоугольник 113"/>
              <p:cNvSpPr/>
              <p:nvPr/>
            </p:nvSpPr>
            <p:spPr>
              <a:xfrm rot="16200000">
                <a:off x="9570221" y="1184316"/>
                <a:ext cx="295291" cy="106084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5" name="Прямоугольник 114"/>
              <p:cNvSpPr/>
              <p:nvPr/>
            </p:nvSpPr>
            <p:spPr>
              <a:xfrm rot="16200000">
                <a:off x="9676306" y="1522175"/>
                <a:ext cx="295291" cy="106084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6" name="Прямоугольник 115"/>
              <p:cNvSpPr/>
              <p:nvPr/>
            </p:nvSpPr>
            <p:spPr>
              <a:xfrm rot="16200000">
                <a:off x="9683261" y="1191269"/>
                <a:ext cx="295291" cy="92177"/>
              </a:xfrm>
              <a:prstGeom prst="rect">
                <a:avLst/>
              </a:prstGeom>
              <a:solidFill>
                <a:srgbClr val="FFFF00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7" name="Прямоугольник 116"/>
              <p:cNvSpPr/>
              <p:nvPr/>
            </p:nvSpPr>
            <p:spPr>
              <a:xfrm rot="16200000">
                <a:off x="9562885" y="1864141"/>
                <a:ext cx="295291" cy="92177"/>
              </a:xfrm>
              <a:prstGeom prst="rect">
                <a:avLst/>
              </a:prstGeom>
              <a:solidFill>
                <a:srgbClr val="FE5757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6" name="Прямоугольник 135"/>
              <p:cNvSpPr/>
              <p:nvPr/>
            </p:nvSpPr>
            <p:spPr>
              <a:xfrm>
                <a:off x="2371722" y="1234257"/>
                <a:ext cx="694333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7" name="Прямоугольник 136"/>
              <p:cNvSpPr/>
              <p:nvPr/>
            </p:nvSpPr>
            <p:spPr>
              <a:xfrm>
                <a:off x="3177781" y="1234257"/>
                <a:ext cx="69433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8" name="Прямоугольник 137"/>
              <p:cNvSpPr/>
              <p:nvPr/>
            </p:nvSpPr>
            <p:spPr>
              <a:xfrm>
                <a:off x="3177781" y="1606541"/>
                <a:ext cx="694333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9" name="Прямоугольник 138"/>
              <p:cNvSpPr/>
              <p:nvPr/>
            </p:nvSpPr>
            <p:spPr>
              <a:xfrm rot="16200000">
                <a:off x="3897127" y="855957"/>
                <a:ext cx="296276" cy="106084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40" name="Прямоугольник 139"/>
              <p:cNvSpPr/>
              <p:nvPr/>
            </p:nvSpPr>
            <p:spPr>
              <a:xfrm rot="16200000">
                <a:off x="4021176" y="1184808"/>
                <a:ext cx="296276" cy="106084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41" name="Прямоугольник 140"/>
              <p:cNvSpPr/>
              <p:nvPr/>
            </p:nvSpPr>
            <p:spPr>
              <a:xfrm rot="16200000">
                <a:off x="3897397" y="1528767"/>
                <a:ext cx="296276" cy="106084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42" name="Прямоугольник 141"/>
              <p:cNvSpPr/>
              <p:nvPr/>
            </p:nvSpPr>
            <p:spPr>
              <a:xfrm rot="16200000">
                <a:off x="4021176" y="1855278"/>
                <a:ext cx="296276" cy="106084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43" name="Прямоугольник 142"/>
              <p:cNvSpPr/>
              <p:nvPr/>
            </p:nvSpPr>
            <p:spPr>
              <a:xfrm rot="16200000">
                <a:off x="1954753" y="1181215"/>
                <a:ext cx="296276" cy="106084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44" name="Прямоугольник 143"/>
              <p:cNvSpPr/>
              <p:nvPr/>
            </p:nvSpPr>
            <p:spPr>
              <a:xfrm rot="16200000">
                <a:off x="2069974" y="1181215"/>
                <a:ext cx="296276" cy="106084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45" name="Прямоугольник 144"/>
              <p:cNvSpPr/>
              <p:nvPr/>
            </p:nvSpPr>
            <p:spPr>
              <a:xfrm rot="16200000">
                <a:off x="1954753" y="1854025"/>
                <a:ext cx="296276" cy="106084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46" name="Прямоугольник 145"/>
              <p:cNvSpPr/>
              <p:nvPr/>
            </p:nvSpPr>
            <p:spPr>
              <a:xfrm rot="16200000">
                <a:off x="2069974" y="1854025"/>
                <a:ext cx="296276" cy="106084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47" name="Прямоугольник 146"/>
              <p:cNvSpPr/>
              <p:nvPr/>
            </p:nvSpPr>
            <p:spPr>
              <a:xfrm>
                <a:off x="5205884" y="1236564"/>
                <a:ext cx="694333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48" name="Прямоугольник 147"/>
              <p:cNvSpPr/>
              <p:nvPr/>
            </p:nvSpPr>
            <p:spPr>
              <a:xfrm>
                <a:off x="6014913" y="1608410"/>
                <a:ext cx="69433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49" name="Прямоугольник 148"/>
              <p:cNvSpPr/>
              <p:nvPr/>
            </p:nvSpPr>
            <p:spPr>
              <a:xfrm rot="16200000">
                <a:off x="6740313" y="1184808"/>
                <a:ext cx="296276" cy="106084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50" name="Прямоугольник 149"/>
              <p:cNvSpPr/>
              <p:nvPr/>
            </p:nvSpPr>
            <p:spPr>
              <a:xfrm rot="16200000">
                <a:off x="6859660" y="860754"/>
                <a:ext cx="296276" cy="106084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51" name="Прямоугольник 150"/>
              <p:cNvSpPr/>
              <p:nvPr/>
            </p:nvSpPr>
            <p:spPr>
              <a:xfrm rot="16200000">
                <a:off x="6849479" y="1850478"/>
                <a:ext cx="296276" cy="106084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52" name="Прямоугольник 151"/>
              <p:cNvSpPr/>
              <p:nvPr/>
            </p:nvSpPr>
            <p:spPr>
              <a:xfrm rot="16200000">
                <a:off x="6849479" y="1521318"/>
                <a:ext cx="296276" cy="106084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53" name="Прямоугольник 152"/>
              <p:cNvSpPr/>
              <p:nvPr/>
            </p:nvSpPr>
            <p:spPr>
              <a:xfrm>
                <a:off x="6014912" y="1236564"/>
                <a:ext cx="694333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54" name="Прямоугольник 153"/>
              <p:cNvSpPr/>
              <p:nvPr/>
            </p:nvSpPr>
            <p:spPr>
              <a:xfrm rot="16200000">
                <a:off x="7625405" y="850440"/>
                <a:ext cx="296276" cy="106084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55" name="Прямоугольник 154"/>
              <p:cNvSpPr/>
              <p:nvPr/>
            </p:nvSpPr>
            <p:spPr>
              <a:xfrm rot="16200000">
                <a:off x="7625405" y="1181214"/>
                <a:ext cx="296276" cy="106084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56" name="Прямоугольник 155"/>
              <p:cNvSpPr/>
              <p:nvPr/>
            </p:nvSpPr>
            <p:spPr>
              <a:xfrm rot="16200000">
                <a:off x="7625405" y="1521683"/>
                <a:ext cx="296276" cy="106084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57" name="Прямоугольник 156"/>
              <p:cNvSpPr/>
              <p:nvPr/>
            </p:nvSpPr>
            <p:spPr>
              <a:xfrm rot="16200000">
                <a:off x="7625405" y="1847266"/>
                <a:ext cx="296276" cy="106084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58" name="Прямоугольник 157"/>
              <p:cNvSpPr/>
              <p:nvPr/>
            </p:nvSpPr>
            <p:spPr>
              <a:xfrm rot="16200000">
                <a:off x="7744660" y="850440"/>
                <a:ext cx="296276" cy="106084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59" name="Прямоугольник 158"/>
              <p:cNvSpPr/>
              <p:nvPr/>
            </p:nvSpPr>
            <p:spPr>
              <a:xfrm rot="16200000">
                <a:off x="7744660" y="1181214"/>
                <a:ext cx="296276" cy="106084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60" name="Прямоугольник 159"/>
              <p:cNvSpPr/>
              <p:nvPr/>
            </p:nvSpPr>
            <p:spPr>
              <a:xfrm rot="16200000">
                <a:off x="7744660" y="1521683"/>
                <a:ext cx="296276" cy="106084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61" name="Прямоугольник 160"/>
              <p:cNvSpPr/>
              <p:nvPr/>
            </p:nvSpPr>
            <p:spPr>
              <a:xfrm rot="16200000">
                <a:off x="7744660" y="1847266"/>
                <a:ext cx="296276" cy="106084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62" name="Прямоугольник 161"/>
              <p:cNvSpPr/>
              <p:nvPr/>
            </p:nvSpPr>
            <p:spPr>
              <a:xfrm>
                <a:off x="8038600" y="765658"/>
                <a:ext cx="345498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63" name="Прямоугольник 162"/>
              <p:cNvSpPr/>
              <p:nvPr/>
            </p:nvSpPr>
            <p:spPr>
              <a:xfrm>
                <a:off x="8430499" y="765658"/>
                <a:ext cx="345498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64" name="Прямоугольник 163"/>
              <p:cNvSpPr/>
              <p:nvPr/>
            </p:nvSpPr>
            <p:spPr>
              <a:xfrm>
                <a:off x="8828278" y="882365"/>
                <a:ext cx="345498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65" name="Прямоугольник 164"/>
              <p:cNvSpPr/>
              <p:nvPr/>
            </p:nvSpPr>
            <p:spPr>
              <a:xfrm>
                <a:off x="9220177" y="882365"/>
                <a:ext cx="345498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66" name="Прямоугольник 165"/>
              <p:cNvSpPr/>
              <p:nvPr/>
            </p:nvSpPr>
            <p:spPr>
              <a:xfrm>
                <a:off x="8038600" y="1226206"/>
                <a:ext cx="699764" cy="112522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67" name="Прямоугольник 166"/>
              <p:cNvSpPr/>
              <p:nvPr/>
            </p:nvSpPr>
            <p:spPr>
              <a:xfrm>
                <a:off x="8038600" y="1590108"/>
                <a:ext cx="699764" cy="112522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68" name="Прямоугольник 167"/>
              <p:cNvSpPr/>
              <p:nvPr/>
            </p:nvSpPr>
            <p:spPr>
              <a:xfrm>
                <a:off x="8845805" y="1218266"/>
                <a:ext cx="699764" cy="112522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69" name="Прямоугольник 168"/>
              <p:cNvSpPr/>
              <p:nvPr/>
            </p:nvSpPr>
            <p:spPr>
              <a:xfrm>
                <a:off x="8821758" y="1980086"/>
                <a:ext cx="345498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70" name="Прямоугольник 169"/>
              <p:cNvSpPr/>
              <p:nvPr/>
            </p:nvSpPr>
            <p:spPr>
              <a:xfrm>
                <a:off x="5996755" y="1982310"/>
                <a:ext cx="345498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71" name="Прямоугольник 170"/>
              <p:cNvSpPr/>
              <p:nvPr/>
            </p:nvSpPr>
            <p:spPr>
              <a:xfrm>
                <a:off x="8845805" y="1613080"/>
                <a:ext cx="694333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50" name="Прямоугольник 349"/>
              <p:cNvSpPr/>
              <p:nvPr/>
            </p:nvSpPr>
            <p:spPr>
              <a:xfrm>
                <a:off x="8430499" y="880680"/>
                <a:ext cx="345498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51" name="Прямоугольник 350"/>
              <p:cNvSpPr/>
              <p:nvPr/>
            </p:nvSpPr>
            <p:spPr>
              <a:xfrm>
                <a:off x="8816926" y="765658"/>
                <a:ext cx="345498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52" name="Прямоугольник 351"/>
              <p:cNvSpPr/>
              <p:nvPr/>
            </p:nvSpPr>
            <p:spPr>
              <a:xfrm>
                <a:off x="9206675" y="765658"/>
                <a:ext cx="345498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53" name="Прямоугольник 352"/>
              <p:cNvSpPr/>
              <p:nvPr/>
            </p:nvSpPr>
            <p:spPr>
              <a:xfrm>
                <a:off x="8039559" y="878639"/>
                <a:ext cx="345498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54" name="Прямоугольник 353"/>
              <p:cNvSpPr/>
              <p:nvPr/>
            </p:nvSpPr>
            <p:spPr>
              <a:xfrm>
                <a:off x="5599167" y="876025"/>
                <a:ext cx="345498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55" name="Прямоугольник 354"/>
              <p:cNvSpPr/>
              <p:nvPr/>
            </p:nvSpPr>
            <p:spPr>
              <a:xfrm>
                <a:off x="5983650" y="876025"/>
                <a:ext cx="345498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56" name="Прямоугольник 355"/>
              <p:cNvSpPr/>
              <p:nvPr/>
            </p:nvSpPr>
            <p:spPr>
              <a:xfrm>
                <a:off x="5202009" y="765658"/>
                <a:ext cx="345498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57" name="Прямоугольник 356"/>
              <p:cNvSpPr/>
              <p:nvPr/>
            </p:nvSpPr>
            <p:spPr>
              <a:xfrm>
                <a:off x="6377270" y="878639"/>
                <a:ext cx="345498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58" name="Прямоугольник 357"/>
              <p:cNvSpPr/>
              <p:nvPr/>
            </p:nvSpPr>
            <p:spPr>
              <a:xfrm>
                <a:off x="5205884" y="1610424"/>
                <a:ext cx="694333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59" name="Прямоугольник 358"/>
              <p:cNvSpPr/>
              <p:nvPr/>
            </p:nvSpPr>
            <p:spPr>
              <a:xfrm>
                <a:off x="2371722" y="1607431"/>
                <a:ext cx="694333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60" name="Прямоугольник 359"/>
              <p:cNvSpPr/>
              <p:nvPr/>
            </p:nvSpPr>
            <p:spPr>
              <a:xfrm>
                <a:off x="2762611" y="763521"/>
                <a:ext cx="345498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61" name="Прямоугольник 360"/>
              <p:cNvSpPr/>
              <p:nvPr/>
            </p:nvSpPr>
            <p:spPr>
              <a:xfrm>
                <a:off x="3151077" y="763521"/>
                <a:ext cx="345498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62" name="Прямоугольник 361"/>
              <p:cNvSpPr/>
              <p:nvPr/>
            </p:nvSpPr>
            <p:spPr>
              <a:xfrm>
                <a:off x="2763646" y="1860682"/>
                <a:ext cx="345498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63" name="Прямоугольник 362"/>
              <p:cNvSpPr/>
              <p:nvPr/>
            </p:nvSpPr>
            <p:spPr>
              <a:xfrm>
                <a:off x="3152112" y="1860682"/>
                <a:ext cx="345498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64" name="Прямоугольник 363"/>
              <p:cNvSpPr/>
              <p:nvPr/>
            </p:nvSpPr>
            <p:spPr>
              <a:xfrm>
                <a:off x="3550715" y="1860111"/>
                <a:ext cx="345498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65" name="Прямоугольник 364"/>
              <p:cNvSpPr/>
              <p:nvPr/>
            </p:nvSpPr>
            <p:spPr>
              <a:xfrm rot="16200000">
                <a:off x="2072602" y="853361"/>
                <a:ext cx="296276" cy="106084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66" name="Прямоугольник 365"/>
              <p:cNvSpPr/>
              <p:nvPr/>
            </p:nvSpPr>
            <p:spPr>
              <a:xfrm rot="16200000">
                <a:off x="1955452" y="1512713"/>
                <a:ext cx="296276" cy="106084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67" name="Прямоугольник 366"/>
              <p:cNvSpPr/>
              <p:nvPr/>
            </p:nvSpPr>
            <p:spPr>
              <a:xfrm rot="16200000">
                <a:off x="2068683" y="1512713"/>
                <a:ext cx="296276" cy="106084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2" name="Группа 1"/>
            <p:cNvGrpSpPr/>
            <p:nvPr/>
          </p:nvGrpSpPr>
          <p:grpSpPr>
            <a:xfrm>
              <a:off x="1894114" y="4687715"/>
              <a:ext cx="8145626" cy="2074445"/>
              <a:chOff x="1894114" y="4687715"/>
              <a:chExt cx="8145626" cy="2074445"/>
            </a:xfrm>
          </p:grpSpPr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16F032F1-DB98-4345-BF38-449BAE4553C3}"/>
                  </a:ext>
                </a:extLst>
              </p:cNvPr>
              <p:cNvSpPr txBox="1"/>
              <p:nvPr/>
            </p:nvSpPr>
            <p:spPr>
              <a:xfrm>
                <a:off x="1964916" y="4687715"/>
                <a:ext cx="2307671" cy="27061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ru-RU" sz="1600" dirty="0"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ДЗО 7</a:t>
                </a:r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16F032F1-DB98-4345-BF38-449BAE4553C3}"/>
                  </a:ext>
                </a:extLst>
              </p:cNvPr>
              <p:cNvSpPr txBox="1"/>
              <p:nvPr/>
            </p:nvSpPr>
            <p:spPr>
              <a:xfrm>
                <a:off x="4769253" y="4687715"/>
                <a:ext cx="2307671" cy="31565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ru-RU" sz="1600" dirty="0"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ДЗО 8</a:t>
                </a:r>
              </a:p>
            </p:txBody>
          </p: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16F032F1-DB98-4345-BF38-449BAE4553C3}"/>
                  </a:ext>
                </a:extLst>
              </p:cNvPr>
              <p:cNvSpPr txBox="1"/>
              <p:nvPr/>
            </p:nvSpPr>
            <p:spPr>
              <a:xfrm>
                <a:off x="7573589" y="4687715"/>
                <a:ext cx="2466150" cy="31565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ru-RU" sz="1600" dirty="0"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ДЗО </a:t>
                </a:r>
                <a:r>
                  <a:rPr lang="en-US" sz="1600" dirty="0"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N</a:t>
                </a:r>
                <a:endParaRPr lang="ru-RU" sz="1600" dirty="0">
                  <a:latin typeface="Segoe UI Semibold" panose="020B0702040204020203" pitchFamily="34" charset="0"/>
                  <a:cs typeface="Segoe UI Semibold" panose="020B0702040204020203" pitchFamily="34" charset="0"/>
                </a:endParaRPr>
              </a:p>
            </p:txBody>
          </p:sp>
          <p:pic>
            <p:nvPicPr>
              <p:cNvPr id="241" name="Рисунок 240"/>
              <p:cNvPicPr>
                <a:picLocks noChangeAspect="1"/>
              </p:cNvPicPr>
              <p:nvPr/>
            </p:nvPicPr>
            <p:blipFill rotWithShape="1">
              <a:blip r:embed="rId3"/>
              <a:srcRect t="3991" b="4086"/>
              <a:stretch/>
            </p:blipFill>
            <p:spPr>
              <a:xfrm>
                <a:off x="1894114" y="5056813"/>
                <a:ext cx="2481852" cy="1705347"/>
              </a:xfrm>
              <a:prstGeom prst="rect">
                <a:avLst/>
              </a:prstGeom>
            </p:spPr>
          </p:pic>
          <p:pic>
            <p:nvPicPr>
              <p:cNvPr id="242" name="Рисунок 241"/>
              <p:cNvPicPr>
                <a:picLocks noChangeAspect="1"/>
              </p:cNvPicPr>
              <p:nvPr/>
            </p:nvPicPr>
            <p:blipFill rotWithShape="1">
              <a:blip r:embed="rId3"/>
              <a:srcRect t="3991" b="4086"/>
              <a:stretch/>
            </p:blipFill>
            <p:spPr>
              <a:xfrm>
                <a:off x="4726001" y="5056813"/>
                <a:ext cx="2481852" cy="1705347"/>
              </a:xfrm>
              <a:prstGeom prst="rect">
                <a:avLst/>
              </a:prstGeom>
            </p:spPr>
          </p:pic>
          <p:pic>
            <p:nvPicPr>
              <p:cNvPr id="243" name="Рисунок 242"/>
              <p:cNvPicPr>
                <a:picLocks noChangeAspect="1"/>
              </p:cNvPicPr>
              <p:nvPr/>
            </p:nvPicPr>
            <p:blipFill rotWithShape="1">
              <a:blip r:embed="rId3"/>
              <a:srcRect t="3991" b="4086"/>
              <a:stretch/>
            </p:blipFill>
            <p:spPr>
              <a:xfrm>
                <a:off x="7557888" y="5056813"/>
                <a:ext cx="2481852" cy="1705347"/>
              </a:xfrm>
              <a:prstGeom prst="rect">
                <a:avLst/>
              </a:prstGeom>
            </p:spPr>
          </p:pic>
          <p:sp>
            <p:nvSpPr>
              <p:cNvPr id="244" name="Прямоугольник 243"/>
              <p:cNvSpPr/>
              <p:nvPr/>
            </p:nvSpPr>
            <p:spPr>
              <a:xfrm>
                <a:off x="2371723" y="5792529"/>
                <a:ext cx="694333" cy="99674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45" name="Прямоугольник 244"/>
              <p:cNvSpPr/>
              <p:nvPr/>
            </p:nvSpPr>
            <p:spPr>
              <a:xfrm>
                <a:off x="3177782" y="5792529"/>
                <a:ext cx="694333" cy="99674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46" name="Прямоугольник 245"/>
              <p:cNvSpPr/>
              <p:nvPr/>
            </p:nvSpPr>
            <p:spPr>
              <a:xfrm rot="16200000">
                <a:off x="1955263" y="5413692"/>
                <a:ext cx="296654" cy="88325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47" name="Прямоугольник 246"/>
              <p:cNvSpPr/>
              <p:nvPr/>
            </p:nvSpPr>
            <p:spPr>
              <a:xfrm rot="16200000">
                <a:off x="2075310" y="5401989"/>
                <a:ext cx="296654" cy="111732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48" name="Прямоугольник 247"/>
              <p:cNvSpPr/>
              <p:nvPr/>
            </p:nvSpPr>
            <p:spPr>
              <a:xfrm rot="16200000">
                <a:off x="1955263" y="5755382"/>
                <a:ext cx="296654" cy="88325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49" name="Прямоугольник 248"/>
              <p:cNvSpPr/>
              <p:nvPr/>
            </p:nvSpPr>
            <p:spPr>
              <a:xfrm rot="16200000">
                <a:off x="2075310" y="5743679"/>
                <a:ext cx="296654" cy="111732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54" name="Прямоугольник 253"/>
              <p:cNvSpPr/>
              <p:nvPr/>
            </p:nvSpPr>
            <p:spPr>
              <a:xfrm rot="16200000">
                <a:off x="4787896" y="5413692"/>
                <a:ext cx="296654" cy="88325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55" name="Прямоугольник 254"/>
              <p:cNvSpPr/>
              <p:nvPr/>
            </p:nvSpPr>
            <p:spPr>
              <a:xfrm>
                <a:off x="6014914" y="6166059"/>
                <a:ext cx="694333" cy="99674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57" name="Прямоугольник 256"/>
              <p:cNvSpPr/>
              <p:nvPr/>
            </p:nvSpPr>
            <p:spPr>
              <a:xfrm>
                <a:off x="5207553" y="6160801"/>
                <a:ext cx="694333" cy="99674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58" name="Прямоугольник 257"/>
              <p:cNvSpPr/>
              <p:nvPr/>
            </p:nvSpPr>
            <p:spPr>
              <a:xfrm>
                <a:off x="5995890" y="6537224"/>
                <a:ext cx="345498" cy="93691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59" name="Прямоугольник 258"/>
              <p:cNvSpPr/>
              <p:nvPr/>
            </p:nvSpPr>
            <p:spPr>
              <a:xfrm>
                <a:off x="5207553" y="6422648"/>
                <a:ext cx="345498" cy="93691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60" name="Прямоугольник 259"/>
              <p:cNvSpPr/>
              <p:nvPr/>
            </p:nvSpPr>
            <p:spPr>
              <a:xfrm>
                <a:off x="6417788" y="5084810"/>
                <a:ext cx="345498" cy="93691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61" name="Прямоугольник 260"/>
              <p:cNvSpPr/>
              <p:nvPr/>
            </p:nvSpPr>
            <p:spPr>
              <a:xfrm>
                <a:off x="2371724" y="5328036"/>
                <a:ext cx="360793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62" name="Прямоугольник 261"/>
              <p:cNvSpPr/>
              <p:nvPr/>
            </p:nvSpPr>
            <p:spPr>
              <a:xfrm>
                <a:off x="2750164" y="5325408"/>
                <a:ext cx="360793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63" name="Прямоугольник 262"/>
              <p:cNvSpPr/>
              <p:nvPr/>
            </p:nvSpPr>
            <p:spPr>
              <a:xfrm>
                <a:off x="3152112" y="5325408"/>
                <a:ext cx="36079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64" name="Прямоугольник 263"/>
              <p:cNvSpPr/>
              <p:nvPr/>
            </p:nvSpPr>
            <p:spPr>
              <a:xfrm>
                <a:off x="3544777" y="5447126"/>
                <a:ext cx="36079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65" name="Прямоугольник 264"/>
              <p:cNvSpPr/>
              <p:nvPr/>
            </p:nvSpPr>
            <p:spPr>
              <a:xfrm>
                <a:off x="2371724" y="5437801"/>
                <a:ext cx="360793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66" name="Прямоугольник 265"/>
              <p:cNvSpPr/>
              <p:nvPr/>
            </p:nvSpPr>
            <p:spPr>
              <a:xfrm>
                <a:off x="3164154" y="5437801"/>
                <a:ext cx="360793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67" name="Прямоугольник 266"/>
              <p:cNvSpPr/>
              <p:nvPr/>
            </p:nvSpPr>
            <p:spPr>
              <a:xfrm>
                <a:off x="3596416" y="5084810"/>
                <a:ext cx="360793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68" name="Прямоугольник 267"/>
              <p:cNvSpPr/>
              <p:nvPr/>
            </p:nvSpPr>
            <p:spPr>
              <a:xfrm rot="16200000">
                <a:off x="3901296" y="6414180"/>
                <a:ext cx="296654" cy="111732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69" name="Прямоугольник 268"/>
              <p:cNvSpPr/>
              <p:nvPr/>
            </p:nvSpPr>
            <p:spPr>
              <a:xfrm rot="16200000">
                <a:off x="4020987" y="6077942"/>
                <a:ext cx="296654" cy="111732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70" name="Прямоугольник 269"/>
              <p:cNvSpPr/>
              <p:nvPr/>
            </p:nvSpPr>
            <p:spPr>
              <a:xfrm rot="16200000">
                <a:off x="3903767" y="5746881"/>
                <a:ext cx="296654" cy="111732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71" name="Прямоугольник 270"/>
              <p:cNvSpPr/>
              <p:nvPr/>
            </p:nvSpPr>
            <p:spPr>
              <a:xfrm rot="16200000">
                <a:off x="4018762" y="5746881"/>
                <a:ext cx="296654" cy="111732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72" name="Прямоугольник 271"/>
              <p:cNvSpPr/>
              <p:nvPr/>
            </p:nvSpPr>
            <p:spPr>
              <a:xfrm rot="16200000">
                <a:off x="3903767" y="5415820"/>
                <a:ext cx="296654" cy="111732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73" name="Прямоугольник 272"/>
              <p:cNvSpPr/>
              <p:nvPr/>
            </p:nvSpPr>
            <p:spPr>
              <a:xfrm rot="16200000">
                <a:off x="4018762" y="5415820"/>
                <a:ext cx="296654" cy="111732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74" name="Прямоугольник 273"/>
              <p:cNvSpPr/>
              <p:nvPr/>
            </p:nvSpPr>
            <p:spPr>
              <a:xfrm>
                <a:off x="2371724" y="6422131"/>
                <a:ext cx="36079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75" name="Прямоугольник 274"/>
              <p:cNvSpPr/>
              <p:nvPr/>
            </p:nvSpPr>
            <p:spPr>
              <a:xfrm>
                <a:off x="2750164" y="6422131"/>
                <a:ext cx="36079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76" name="Прямоугольник 275"/>
              <p:cNvSpPr/>
              <p:nvPr/>
            </p:nvSpPr>
            <p:spPr>
              <a:xfrm>
                <a:off x="3152112" y="6422131"/>
                <a:ext cx="36079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77" name="Прямоугольник 276"/>
              <p:cNvSpPr/>
              <p:nvPr/>
            </p:nvSpPr>
            <p:spPr>
              <a:xfrm>
                <a:off x="2371724" y="6540099"/>
                <a:ext cx="36079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78" name="Прямоугольник 277"/>
              <p:cNvSpPr/>
              <p:nvPr/>
            </p:nvSpPr>
            <p:spPr>
              <a:xfrm>
                <a:off x="2750164" y="6540099"/>
                <a:ext cx="36079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79" name="Прямоугольник 278"/>
              <p:cNvSpPr/>
              <p:nvPr/>
            </p:nvSpPr>
            <p:spPr>
              <a:xfrm>
                <a:off x="3152112" y="6540099"/>
                <a:ext cx="360793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90" name="Прямоугольник 289"/>
              <p:cNvSpPr/>
              <p:nvPr/>
            </p:nvSpPr>
            <p:spPr>
              <a:xfrm>
                <a:off x="5989107" y="5328036"/>
                <a:ext cx="360793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91" name="Прямоугольник 290"/>
              <p:cNvSpPr/>
              <p:nvPr/>
            </p:nvSpPr>
            <p:spPr>
              <a:xfrm>
                <a:off x="6372911" y="5328036"/>
                <a:ext cx="360793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92" name="Прямоугольник 291"/>
              <p:cNvSpPr/>
              <p:nvPr/>
            </p:nvSpPr>
            <p:spPr>
              <a:xfrm>
                <a:off x="5194955" y="5444978"/>
                <a:ext cx="360793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93" name="Прямоугольник 292"/>
              <p:cNvSpPr/>
              <p:nvPr/>
            </p:nvSpPr>
            <p:spPr>
              <a:xfrm>
                <a:off x="5593899" y="5444978"/>
                <a:ext cx="360793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94" name="Прямоугольник 293"/>
              <p:cNvSpPr/>
              <p:nvPr/>
            </p:nvSpPr>
            <p:spPr>
              <a:xfrm>
                <a:off x="5989107" y="5444978"/>
                <a:ext cx="360793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97" name="Прямоугольник 296"/>
              <p:cNvSpPr/>
              <p:nvPr/>
            </p:nvSpPr>
            <p:spPr>
              <a:xfrm>
                <a:off x="6014913" y="5795930"/>
                <a:ext cx="69433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98" name="Прямоугольник 297"/>
              <p:cNvSpPr/>
              <p:nvPr/>
            </p:nvSpPr>
            <p:spPr>
              <a:xfrm>
                <a:off x="8036931" y="5798558"/>
                <a:ext cx="694333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99" name="Прямоугольник 298"/>
              <p:cNvSpPr/>
              <p:nvPr/>
            </p:nvSpPr>
            <p:spPr>
              <a:xfrm>
                <a:off x="8845805" y="5792529"/>
                <a:ext cx="694333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00" name="Прямоугольник 299"/>
              <p:cNvSpPr/>
              <p:nvPr/>
            </p:nvSpPr>
            <p:spPr>
              <a:xfrm>
                <a:off x="8038683" y="5328036"/>
                <a:ext cx="360793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01" name="Прямоугольник 300"/>
              <p:cNvSpPr/>
              <p:nvPr/>
            </p:nvSpPr>
            <p:spPr>
              <a:xfrm>
                <a:off x="8437627" y="5328036"/>
                <a:ext cx="360793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02" name="Прямоугольник 301"/>
              <p:cNvSpPr/>
              <p:nvPr/>
            </p:nvSpPr>
            <p:spPr>
              <a:xfrm>
                <a:off x="8832835" y="5328036"/>
                <a:ext cx="360793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03" name="Прямоугольник 302"/>
              <p:cNvSpPr/>
              <p:nvPr/>
            </p:nvSpPr>
            <p:spPr>
              <a:xfrm>
                <a:off x="9216639" y="5328036"/>
                <a:ext cx="360793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04" name="Прямоугольник 303"/>
              <p:cNvSpPr/>
              <p:nvPr/>
            </p:nvSpPr>
            <p:spPr>
              <a:xfrm>
                <a:off x="8038683" y="5439837"/>
                <a:ext cx="36079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05" name="Прямоугольник 304"/>
              <p:cNvSpPr/>
              <p:nvPr/>
            </p:nvSpPr>
            <p:spPr>
              <a:xfrm>
                <a:off x="8437627" y="5439837"/>
                <a:ext cx="360793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06" name="Прямоугольник 305"/>
              <p:cNvSpPr/>
              <p:nvPr/>
            </p:nvSpPr>
            <p:spPr>
              <a:xfrm>
                <a:off x="8832835" y="5439837"/>
                <a:ext cx="36079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07" name="Прямоугольник 306"/>
              <p:cNvSpPr/>
              <p:nvPr/>
            </p:nvSpPr>
            <p:spPr>
              <a:xfrm>
                <a:off x="9216639" y="5439837"/>
                <a:ext cx="360793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08" name="Прямоугольник 307"/>
              <p:cNvSpPr/>
              <p:nvPr/>
            </p:nvSpPr>
            <p:spPr>
              <a:xfrm>
                <a:off x="8036932" y="6168687"/>
                <a:ext cx="345498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09" name="Прямоугольник 308"/>
              <p:cNvSpPr/>
              <p:nvPr/>
            </p:nvSpPr>
            <p:spPr>
              <a:xfrm>
                <a:off x="8036931" y="6537224"/>
                <a:ext cx="345498" cy="93691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10" name="Прямоугольник 309"/>
              <p:cNvSpPr/>
              <p:nvPr/>
            </p:nvSpPr>
            <p:spPr>
              <a:xfrm>
                <a:off x="8817068" y="6539852"/>
                <a:ext cx="360793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11" name="Прямоугольник 310"/>
              <p:cNvSpPr/>
              <p:nvPr/>
            </p:nvSpPr>
            <p:spPr>
              <a:xfrm>
                <a:off x="9214011" y="6539852"/>
                <a:ext cx="360793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12" name="Прямоугольник 311"/>
              <p:cNvSpPr/>
              <p:nvPr/>
            </p:nvSpPr>
            <p:spPr>
              <a:xfrm>
                <a:off x="8817068" y="6424076"/>
                <a:ext cx="360793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13" name="Прямоугольник 312"/>
              <p:cNvSpPr/>
              <p:nvPr/>
            </p:nvSpPr>
            <p:spPr>
              <a:xfrm>
                <a:off x="9214011" y="6424076"/>
                <a:ext cx="360793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14" name="Прямоугольник 313"/>
              <p:cNvSpPr/>
              <p:nvPr/>
            </p:nvSpPr>
            <p:spPr>
              <a:xfrm rot="16200000">
                <a:off x="9565244" y="5415820"/>
                <a:ext cx="296654" cy="111732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15" name="Прямоугольник 314"/>
              <p:cNvSpPr/>
              <p:nvPr/>
            </p:nvSpPr>
            <p:spPr>
              <a:xfrm rot="16200000">
                <a:off x="9680239" y="5415820"/>
                <a:ext cx="296654" cy="111732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16" name="Прямоугольник 315"/>
              <p:cNvSpPr/>
              <p:nvPr/>
            </p:nvSpPr>
            <p:spPr>
              <a:xfrm rot="16200000">
                <a:off x="9565244" y="5746881"/>
                <a:ext cx="296654" cy="111732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17" name="Прямоугольник 316"/>
              <p:cNvSpPr/>
              <p:nvPr/>
            </p:nvSpPr>
            <p:spPr>
              <a:xfrm rot="16200000">
                <a:off x="9680239" y="5746881"/>
                <a:ext cx="296654" cy="111732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18" name="Прямоугольник 317"/>
              <p:cNvSpPr/>
              <p:nvPr/>
            </p:nvSpPr>
            <p:spPr>
              <a:xfrm rot="16200000">
                <a:off x="9565244" y="6088819"/>
                <a:ext cx="296654" cy="111732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19" name="Прямоугольник 318"/>
              <p:cNvSpPr/>
              <p:nvPr/>
            </p:nvSpPr>
            <p:spPr>
              <a:xfrm rot="16200000">
                <a:off x="9680239" y="6088819"/>
                <a:ext cx="296654" cy="111732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20" name="Прямоугольник 319"/>
              <p:cNvSpPr/>
              <p:nvPr/>
            </p:nvSpPr>
            <p:spPr>
              <a:xfrm rot="16200000">
                <a:off x="9565244" y="6419880"/>
                <a:ext cx="296654" cy="111732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21" name="Прямоугольник 320"/>
              <p:cNvSpPr/>
              <p:nvPr/>
            </p:nvSpPr>
            <p:spPr>
              <a:xfrm rot="16200000">
                <a:off x="9680239" y="6419880"/>
                <a:ext cx="296654" cy="111732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22" name="Прямоугольник 321"/>
              <p:cNvSpPr/>
              <p:nvPr/>
            </p:nvSpPr>
            <p:spPr>
              <a:xfrm rot="16200000">
                <a:off x="7619349" y="5413692"/>
                <a:ext cx="296654" cy="88325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23" name="Прямоугольник 322"/>
              <p:cNvSpPr/>
              <p:nvPr/>
            </p:nvSpPr>
            <p:spPr>
              <a:xfrm rot="16200000">
                <a:off x="7619350" y="5748366"/>
                <a:ext cx="296654" cy="88325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24" name="Прямоугольник 323"/>
              <p:cNvSpPr/>
              <p:nvPr/>
            </p:nvSpPr>
            <p:spPr>
              <a:xfrm rot="16200000">
                <a:off x="7737499" y="6086691"/>
                <a:ext cx="296654" cy="88325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25" name="Прямоугольник 324"/>
              <p:cNvSpPr/>
              <p:nvPr/>
            </p:nvSpPr>
            <p:spPr>
              <a:xfrm rot="16200000">
                <a:off x="7737500" y="6421365"/>
                <a:ext cx="296654" cy="88325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26" name="Прямоугольник 325"/>
              <p:cNvSpPr/>
              <p:nvPr/>
            </p:nvSpPr>
            <p:spPr>
              <a:xfrm>
                <a:off x="5208581" y="5795930"/>
                <a:ext cx="694333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27" name="Прямоугольник 326"/>
              <p:cNvSpPr/>
              <p:nvPr/>
            </p:nvSpPr>
            <p:spPr>
              <a:xfrm rot="16200000">
                <a:off x="6727653" y="5424981"/>
                <a:ext cx="296654" cy="88325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28" name="Прямоугольник 327"/>
              <p:cNvSpPr/>
              <p:nvPr/>
            </p:nvSpPr>
            <p:spPr>
              <a:xfrm rot="16200000">
                <a:off x="6849461" y="5424981"/>
                <a:ext cx="296654" cy="88325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29" name="Прямоугольник 328"/>
              <p:cNvSpPr/>
              <p:nvPr/>
            </p:nvSpPr>
            <p:spPr>
              <a:xfrm rot="16200000">
                <a:off x="6727654" y="5758584"/>
                <a:ext cx="296654" cy="88325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30" name="Прямоугольник 329"/>
              <p:cNvSpPr/>
              <p:nvPr/>
            </p:nvSpPr>
            <p:spPr>
              <a:xfrm rot="16200000">
                <a:off x="6849462" y="5758584"/>
                <a:ext cx="296654" cy="88325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31" name="Прямоугольник 330"/>
              <p:cNvSpPr/>
              <p:nvPr/>
            </p:nvSpPr>
            <p:spPr>
              <a:xfrm rot="16200000">
                <a:off x="6727655" y="6089645"/>
                <a:ext cx="296654" cy="88325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32" name="Прямоугольник 331"/>
              <p:cNvSpPr/>
              <p:nvPr/>
            </p:nvSpPr>
            <p:spPr>
              <a:xfrm rot="16200000">
                <a:off x="6846835" y="6089645"/>
                <a:ext cx="296654" cy="88325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33" name="Прямоугольник 332"/>
              <p:cNvSpPr/>
              <p:nvPr/>
            </p:nvSpPr>
            <p:spPr>
              <a:xfrm rot="16200000">
                <a:off x="6727656" y="6427795"/>
                <a:ext cx="296654" cy="88325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34" name="Прямоугольник 333"/>
              <p:cNvSpPr/>
              <p:nvPr/>
            </p:nvSpPr>
            <p:spPr>
              <a:xfrm rot="16200000">
                <a:off x="6846835" y="6427795"/>
                <a:ext cx="296654" cy="88325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35" name="Прямоугольник 334"/>
              <p:cNvSpPr/>
              <p:nvPr/>
            </p:nvSpPr>
            <p:spPr>
              <a:xfrm>
                <a:off x="3177782" y="6162267"/>
                <a:ext cx="347165" cy="99674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36" name="Прямоугольник 335"/>
              <p:cNvSpPr/>
              <p:nvPr/>
            </p:nvSpPr>
            <p:spPr>
              <a:xfrm>
                <a:off x="2362784" y="6162267"/>
                <a:ext cx="347165" cy="99674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37" name="Прямоугольник 336"/>
              <p:cNvSpPr/>
              <p:nvPr/>
            </p:nvSpPr>
            <p:spPr>
              <a:xfrm rot="16200000">
                <a:off x="1955263" y="6417330"/>
                <a:ext cx="296654" cy="88325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38" name="Прямоугольник 337"/>
              <p:cNvSpPr/>
              <p:nvPr/>
            </p:nvSpPr>
            <p:spPr>
              <a:xfrm rot="16200000">
                <a:off x="2075310" y="6405627"/>
                <a:ext cx="296654" cy="111732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39" name="Прямоугольник 338"/>
              <p:cNvSpPr/>
              <p:nvPr/>
            </p:nvSpPr>
            <p:spPr>
              <a:xfrm rot="16200000">
                <a:off x="1955263" y="6091025"/>
                <a:ext cx="296654" cy="88325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40" name="Прямоугольник 339"/>
              <p:cNvSpPr/>
              <p:nvPr/>
            </p:nvSpPr>
            <p:spPr>
              <a:xfrm rot="16200000">
                <a:off x="2075310" y="6079322"/>
                <a:ext cx="296654" cy="111732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41" name="Прямоугольник 340"/>
              <p:cNvSpPr/>
              <p:nvPr/>
            </p:nvSpPr>
            <p:spPr>
              <a:xfrm rot="16200000">
                <a:off x="4906661" y="6079679"/>
                <a:ext cx="296654" cy="88325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42" name="Прямоугольник 341"/>
              <p:cNvSpPr/>
              <p:nvPr/>
            </p:nvSpPr>
            <p:spPr>
              <a:xfrm rot="16200000">
                <a:off x="4788556" y="6417704"/>
                <a:ext cx="296654" cy="88325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43" name="Прямоугольник 342"/>
              <p:cNvSpPr/>
              <p:nvPr/>
            </p:nvSpPr>
            <p:spPr>
              <a:xfrm rot="16200000">
                <a:off x="4790630" y="6086690"/>
                <a:ext cx="296654" cy="88325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44" name="Прямоугольник 343"/>
              <p:cNvSpPr/>
              <p:nvPr/>
            </p:nvSpPr>
            <p:spPr>
              <a:xfrm rot="16200000">
                <a:off x="4906661" y="5755382"/>
                <a:ext cx="296654" cy="88325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45" name="Прямоугольник 344"/>
              <p:cNvSpPr/>
              <p:nvPr/>
            </p:nvSpPr>
            <p:spPr>
              <a:xfrm rot="16200000">
                <a:off x="4906661" y="5422055"/>
                <a:ext cx="296654" cy="88325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46" name="Прямоугольник 345"/>
              <p:cNvSpPr/>
              <p:nvPr/>
            </p:nvSpPr>
            <p:spPr>
              <a:xfrm>
                <a:off x="8385057" y="6168687"/>
                <a:ext cx="345498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47" name="Прямоугольник 346"/>
              <p:cNvSpPr/>
              <p:nvPr/>
            </p:nvSpPr>
            <p:spPr>
              <a:xfrm>
                <a:off x="8832835" y="6168687"/>
                <a:ext cx="345498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48" name="Прямоугольник 347"/>
              <p:cNvSpPr/>
              <p:nvPr/>
            </p:nvSpPr>
            <p:spPr>
              <a:xfrm>
                <a:off x="8428306" y="6414969"/>
                <a:ext cx="345498" cy="93691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49" name="Прямоугольник 348"/>
              <p:cNvSpPr/>
              <p:nvPr/>
            </p:nvSpPr>
            <p:spPr>
              <a:xfrm>
                <a:off x="9192971" y="6162874"/>
                <a:ext cx="345498" cy="93691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85" name="Прямоугольник 384"/>
              <p:cNvSpPr/>
              <p:nvPr/>
            </p:nvSpPr>
            <p:spPr>
              <a:xfrm>
                <a:off x="5599167" y="6422648"/>
                <a:ext cx="345498" cy="93691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86" name="Прямоугольник 385"/>
              <p:cNvSpPr/>
              <p:nvPr/>
            </p:nvSpPr>
            <p:spPr>
              <a:xfrm>
                <a:off x="5599167" y="6532951"/>
                <a:ext cx="345498" cy="93691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87" name="Прямоугольник 386"/>
              <p:cNvSpPr/>
              <p:nvPr/>
            </p:nvSpPr>
            <p:spPr>
              <a:xfrm>
                <a:off x="6380559" y="6532951"/>
                <a:ext cx="345498" cy="93691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88" name="Прямоугольник 387"/>
              <p:cNvSpPr/>
              <p:nvPr/>
            </p:nvSpPr>
            <p:spPr>
              <a:xfrm>
                <a:off x="5995890" y="6422648"/>
                <a:ext cx="345498" cy="93691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89" name="Прямоугольник 388"/>
              <p:cNvSpPr/>
              <p:nvPr/>
            </p:nvSpPr>
            <p:spPr>
              <a:xfrm>
                <a:off x="5194955" y="5326072"/>
                <a:ext cx="36079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90" name="Прямоугольник 389"/>
              <p:cNvSpPr/>
              <p:nvPr/>
            </p:nvSpPr>
            <p:spPr>
              <a:xfrm>
                <a:off x="5593899" y="5326072"/>
                <a:ext cx="36079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91" name="Прямоугольник 390"/>
              <p:cNvSpPr/>
              <p:nvPr/>
            </p:nvSpPr>
            <p:spPr>
              <a:xfrm>
                <a:off x="6372911" y="5444978"/>
                <a:ext cx="360793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3" name="Группа 2"/>
            <p:cNvGrpSpPr/>
            <p:nvPr/>
          </p:nvGrpSpPr>
          <p:grpSpPr>
            <a:xfrm>
              <a:off x="1894114" y="2551006"/>
              <a:ext cx="8145626" cy="2021000"/>
              <a:chOff x="1894114" y="2383048"/>
              <a:chExt cx="8145626" cy="2021000"/>
            </a:xfrm>
          </p:grpSpPr>
          <p:pic>
            <p:nvPicPr>
              <p:cNvPr id="85" name="Рисунок 84"/>
              <p:cNvPicPr>
                <a:picLocks noChangeAspect="1"/>
              </p:cNvPicPr>
              <p:nvPr/>
            </p:nvPicPr>
            <p:blipFill rotWithShape="1">
              <a:blip r:embed="rId3"/>
              <a:srcRect t="3991" b="4086"/>
              <a:stretch/>
            </p:blipFill>
            <p:spPr>
              <a:xfrm>
                <a:off x="1894114" y="2698701"/>
                <a:ext cx="2481852" cy="1705347"/>
              </a:xfrm>
              <a:prstGeom prst="rect">
                <a:avLst/>
              </a:prstGeom>
            </p:spPr>
          </p:pic>
          <p:pic>
            <p:nvPicPr>
              <p:cNvPr id="86" name="Рисунок 85"/>
              <p:cNvPicPr>
                <a:picLocks noChangeAspect="1"/>
              </p:cNvPicPr>
              <p:nvPr/>
            </p:nvPicPr>
            <p:blipFill rotWithShape="1">
              <a:blip r:embed="rId3"/>
              <a:srcRect t="3991" b="4086"/>
              <a:stretch/>
            </p:blipFill>
            <p:spPr>
              <a:xfrm>
                <a:off x="4726001" y="2698701"/>
                <a:ext cx="2481852" cy="1705347"/>
              </a:xfrm>
              <a:prstGeom prst="rect">
                <a:avLst/>
              </a:prstGeom>
            </p:spPr>
          </p:pic>
          <p:pic>
            <p:nvPicPr>
              <p:cNvPr id="87" name="Рисунок 86"/>
              <p:cNvPicPr>
                <a:picLocks noChangeAspect="1"/>
              </p:cNvPicPr>
              <p:nvPr/>
            </p:nvPicPr>
            <p:blipFill rotWithShape="1">
              <a:blip r:embed="rId3"/>
              <a:srcRect t="3991" b="4086"/>
              <a:stretch/>
            </p:blipFill>
            <p:spPr>
              <a:xfrm>
                <a:off x="7557888" y="2698701"/>
                <a:ext cx="2481852" cy="1705347"/>
              </a:xfrm>
              <a:prstGeom prst="rect">
                <a:avLst/>
              </a:prstGeom>
            </p:spPr>
          </p:pic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16F032F1-DB98-4345-BF38-449BAE4553C3}"/>
                  </a:ext>
                </a:extLst>
              </p:cNvPr>
              <p:cNvSpPr txBox="1"/>
              <p:nvPr/>
            </p:nvSpPr>
            <p:spPr>
              <a:xfrm>
                <a:off x="1964916" y="2383048"/>
                <a:ext cx="2307671" cy="27061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ru-RU" sz="1600" dirty="0"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ДЗО 4</a:t>
                </a:r>
              </a:p>
            </p:txBody>
          </p: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16F032F1-DB98-4345-BF38-449BAE4553C3}"/>
                  </a:ext>
                </a:extLst>
              </p:cNvPr>
              <p:cNvSpPr txBox="1"/>
              <p:nvPr/>
            </p:nvSpPr>
            <p:spPr>
              <a:xfrm>
                <a:off x="4769253" y="2383048"/>
                <a:ext cx="2307671" cy="31565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ru-RU" sz="1600" dirty="0"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ДЗО 5</a:t>
                </a:r>
              </a:p>
            </p:txBody>
          </p:sp>
          <p:sp>
            <p:nvSpPr>
              <p:cNvPr id="90" name="TextBox 89">
                <a:extLst>
                  <a:ext uri="{FF2B5EF4-FFF2-40B4-BE49-F238E27FC236}">
                    <a16:creationId xmlns:a16="http://schemas.microsoft.com/office/drawing/2014/main" id="{16F032F1-DB98-4345-BF38-449BAE4553C3}"/>
                  </a:ext>
                </a:extLst>
              </p:cNvPr>
              <p:cNvSpPr txBox="1"/>
              <p:nvPr/>
            </p:nvSpPr>
            <p:spPr>
              <a:xfrm>
                <a:off x="7573589" y="2383048"/>
                <a:ext cx="2466150" cy="315653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ru-RU" sz="1600" dirty="0">
                    <a:latin typeface="Segoe UI Semibold" panose="020B0702040204020203" pitchFamily="34" charset="0"/>
                    <a:cs typeface="Segoe UI Semibold" panose="020B0702040204020203" pitchFamily="34" charset="0"/>
                  </a:rPr>
                  <a:t>ДЗО 6</a:t>
                </a:r>
              </a:p>
            </p:txBody>
          </p:sp>
          <p:sp>
            <p:nvSpPr>
              <p:cNvPr id="118" name="Прямоугольник 117"/>
              <p:cNvSpPr/>
              <p:nvPr/>
            </p:nvSpPr>
            <p:spPr>
              <a:xfrm>
                <a:off x="2371723" y="3434417"/>
                <a:ext cx="694333" cy="99674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9" name="Прямоугольник 118"/>
              <p:cNvSpPr/>
              <p:nvPr/>
            </p:nvSpPr>
            <p:spPr>
              <a:xfrm>
                <a:off x="3177782" y="3434417"/>
                <a:ext cx="694333" cy="99674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0" name="Прямоугольник 119"/>
              <p:cNvSpPr/>
              <p:nvPr/>
            </p:nvSpPr>
            <p:spPr>
              <a:xfrm rot="16200000">
                <a:off x="1955263" y="3055580"/>
                <a:ext cx="296654" cy="88325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1" name="Прямоугольник 120"/>
              <p:cNvSpPr/>
              <p:nvPr/>
            </p:nvSpPr>
            <p:spPr>
              <a:xfrm rot="16200000">
                <a:off x="2075310" y="3043877"/>
                <a:ext cx="296654" cy="111732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2" name="Прямоугольник 121"/>
              <p:cNvSpPr/>
              <p:nvPr/>
            </p:nvSpPr>
            <p:spPr>
              <a:xfrm rot="16200000">
                <a:off x="1955263" y="3397270"/>
                <a:ext cx="296654" cy="88325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3" name="Прямоугольник 122"/>
              <p:cNvSpPr/>
              <p:nvPr/>
            </p:nvSpPr>
            <p:spPr>
              <a:xfrm rot="16200000">
                <a:off x="2075310" y="3385567"/>
                <a:ext cx="296654" cy="111732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4" name="Прямоугольник 123"/>
              <p:cNvSpPr/>
              <p:nvPr/>
            </p:nvSpPr>
            <p:spPr>
              <a:xfrm rot="16200000">
                <a:off x="1955263" y="3728579"/>
                <a:ext cx="296654" cy="88325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5" name="Прямоугольник 124"/>
              <p:cNvSpPr/>
              <p:nvPr/>
            </p:nvSpPr>
            <p:spPr>
              <a:xfrm rot="16200000">
                <a:off x="2075310" y="3716876"/>
                <a:ext cx="296654" cy="111732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6" name="Прямоугольник 125"/>
              <p:cNvSpPr/>
              <p:nvPr/>
            </p:nvSpPr>
            <p:spPr>
              <a:xfrm rot="16200000">
                <a:off x="1955263" y="4059887"/>
                <a:ext cx="296654" cy="88325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7" name="Прямоугольник 126"/>
              <p:cNvSpPr/>
              <p:nvPr/>
            </p:nvSpPr>
            <p:spPr>
              <a:xfrm rot="16200000">
                <a:off x="2075310" y="4048184"/>
                <a:ext cx="296654" cy="111732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8" name="Прямоугольник 127"/>
              <p:cNvSpPr/>
              <p:nvPr/>
            </p:nvSpPr>
            <p:spPr>
              <a:xfrm rot="16200000">
                <a:off x="4787896" y="3055580"/>
                <a:ext cx="296654" cy="88325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0" name="Прямоугольник 129"/>
              <p:cNvSpPr/>
              <p:nvPr/>
            </p:nvSpPr>
            <p:spPr>
              <a:xfrm>
                <a:off x="6014914" y="3807947"/>
                <a:ext cx="694333" cy="99674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1" name="Прямоугольник 130"/>
              <p:cNvSpPr/>
              <p:nvPr/>
            </p:nvSpPr>
            <p:spPr>
              <a:xfrm rot="16200000">
                <a:off x="4910505" y="3715353"/>
                <a:ext cx="296654" cy="111732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2" name="Прямоугольник 131"/>
              <p:cNvSpPr/>
              <p:nvPr/>
            </p:nvSpPr>
            <p:spPr>
              <a:xfrm>
                <a:off x="5207553" y="3802689"/>
                <a:ext cx="694333" cy="99674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3" name="Прямоугольник 132"/>
              <p:cNvSpPr/>
              <p:nvPr/>
            </p:nvSpPr>
            <p:spPr>
              <a:xfrm>
                <a:off x="5983650" y="4179112"/>
                <a:ext cx="345498" cy="93691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4" name="Прямоугольник 133"/>
              <p:cNvSpPr/>
              <p:nvPr/>
            </p:nvSpPr>
            <p:spPr>
              <a:xfrm>
                <a:off x="5207553" y="4064536"/>
                <a:ext cx="345498" cy="93691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35" name="Прямоугольник 134"/>
              <p:cNvSpPr/>
              <p:nvPr/>
            </p:nvSpPr>
            <p:spPr>
              <a:xfrm>
                <a:off x="6417788" y="2726698"/>
                <a:ext cx="345498" cy="93691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72" name="Прямоугольник 171"/>
              <p:cNvSpPr/>
              <p:nvPr/>
            </p:nvSpPr>
            <p:spPr>
              <a:xfrm>
                <a:off x="2371724" y="2969924"/>
                <a:ext cx="36079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73" name="Прямоугольник 172"/>
              <p:cNvSpPr/>
              <p:nvPr/>
            </p:nvSpPr>
            <p:spPr>
              <a:xfrm>
                <a:off x="2750164" y="2969924"/>
                <a:ext cx="36079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74" name="Прямоугольник 173"/>
              <p:cNvSpPr/>
              <p:nvPr/>
            </p:nvSpPr>
            <p:spPr>
              <a:xfrm>
                <a:off x="3152112" y="2969924"/>
                <a:ext cx="36079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75" name="Прямоугольник 174"/>
              <p:cNvSpPr/>
              <p:nvPr/>
            </p:nvSpPr>
            <p:spPr>
              <a:xfrm>
                <a:off x="3544777" y="3083758"/>
                <a:ext cx="36079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76" name="Прямоугольник 175"/>
              <p:cNvSpPr/>
              <p:nvPr/>
            </p:nvSpPr>
            <p:spPr>
              <a:xfrm>
                <a:off x="2371724" y="3074433"/>
                <a:ext cx="360793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77" name="Прямоугольник 176"/>
              <p:cNvSpPr/>
              <p:nvPr/>
            </p:nvSpPr>
            <p:spPr>
              <a:xfrm>
                <a:off x="3164154" y="3074433"/>
                <a:ext cx="360793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78" name="Прямоугольник 177"/>
              <p:cNvSpPr/>
              <p:nvPr/>
            </p:nvSpPr>
            <p:spPr>
              <a:xfrm>
                <a:off x="3596416" y="2726698"/>
                <a:ext cx="360793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79" name="Прямоугольник 178"/>
              <p:cNvSpPr/>
              <p:nvPr/>
            </p:nvSpPr>
            <p:spPr>
              <a:xfrm rot="16200000">
                <a:off x="3901296" y="4048184"/>
                <a:ext cx="296654" cy="111732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80" name="Прямоугольник 179"/>
              <p:cNvSpPr/>
              <p:nvPr/>
            </p:nvSpPr>
            <p:spPr>
              <a:xfrm rot="16200000">
                <a:off x="4020987" y="3719830"/>
                <a:ext cx="296654" cy="111732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81" name="Прямоугольник 180"/>
              <p:cNvSpPr/>
              <p:nvPr/>
            </p:nvSpPr>
            <p:spPr>
              <a:xfrm rot="16200000">
                <a:off x="3903767" y="3388769"/>
                <a:ext cx="296654" cy="111732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82" name="Прямоугольник 181"/>
              <p:cNvSpPr/>
              <p:nvPr/>
            </p:nvSpPr>
            <p:spPr>
              <a:xfrm rot="16200000">
                <a:off x="4018762" y="3388769"/>
                <a:ext cx="296654" cy="111732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83" name="Прямоугольник 182"/>
              <p:cNvSpPr/>
              <p:nvPr/>
            </p:nvSpPr>
            <p:spPr>
              <a:xfrm rot="16200000">
                <a:off x="3903767" y="3057708"/>
                <a:ext cx="296654" cy="111732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84" name="Прямоугольник 183"/>
              <p:cNvSpPr/>
              <p:nvPr/>
            </p:nvSpPr>
            <p:spPr>
              <a:xfrm rot="16200000">
                <a:off x="4018762" y="3057708"/>
                <a:ext cx="296654" cy="111732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85" name="Прямоугольник 184"/>
              <p:cNvSpPr/>
              <p:nvPr/>
            </p:nvSpPr>
            <p:spPr>
              <a:xfrm>
                <a:off x="2371724" y="4064019"/>
                <a:ext cx="36079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86" name="Прямоугольник 185"/>
              <p:cNvSpPr/>
              <p:nvPr/>
            </p:nvSpPr>
            <p:spPr>
              <a:xfrm>
                <a:off x="2750164" y="4064019"/>
                <a:ext cx="36079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87" name="Прямоугольник 186"/>
              <p:cNvSpPr/>
              <p:nvPr/>
            </p:nvSpPr>
            <p:spPr>
              <a:xfrm>
                <a:off x="3152112" y="4064019"/>
                <a:ext cx="36079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88" name="Прямоугольник 187"/>
              <p:cNvSpPr/>
              <p:nvPr/>
            </p:nvSpPr>
            <p:spPr>
              <a:xfrm>
                <a:off x="2371724" y="4181987"/>
                <a:ext cx="360793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89" name="Прямоугольник 188"/>
              <p:cNvSpPr/>
              <p:nvPr/>
            </p:nvSpPr>
            <p:spPr>
              <a:xfrm>
                <a:off x="2750164" y="4181987"/>
                <a:ext cx="360793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90" name="Прямоугольник 189"/>
              <p:cNvSpPr/>
              <p:nvPr/>
            </p:nvSpPr>
            <p:spPr>
              <a:xfrm>
                <a:off x="3152112" y="4181987"/>
                <a:ext cx="360793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91" name="Прямоугольник 190"/>
              <p:cNvSpPr/>
              <p:nvPr/>
            </p:nvSpPr>
            <p:spPr>
              <a:xfrm rot="16200000">
                <a:off x="6731472" y="3057708"/>
                <a:ext cx="296654" cy="111732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92" name="Прямоугольник 191"/>
              <p:cNvSpPr/>
              <p:nvPr/>
            </p:nvSpPr>
            <p:spPr>
              <a:xfrm rot="16200000">
                <a:off x="6846467" y="3057708"/>
                <a:ext cx="296654" cy="111732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93" name="Прямоугольник 192"/>
              <p:cNvSpPr/>
              <p:nvPr/>
            </p:nvSpPr>
            <p:spPr>
              <a:xfrm rot="16200000">
                <a:off x="6731472" y="3388769"/>
                <a:ext cx="296654" cy="111732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94" name="Прямоугольник 193"/>
              <p:cNvSpPr/>
              <p:nvPr/>
            </p:nvSpPr>
            <p:spPr>
              <a:xfrm rot="16200000">
                <a:off x="6846467" y="3388769"/>
                <a:ext cx="296654" cy="111732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95" name="Прямоугольник 194"/>
              <p:cNvSpPr/>
              <p:nvPr/>
            </p:nvSpPr>
            <p:spPr>
              <a:xfrm rot="16200000">
                <a:off x="6731472" y="3730707"/>
                <a:ext cx="296654" cy="111732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96" name="Прямоугольник 195"/>
              <p:cNvSpPr/>
              <p:nvPr/>
            </p:nvSpPr>
            <p:spPr>
              <a:xfrm rot="16200000">
                <a:off x="6846467" y="3730707"/>
                <a:ext cx="296654" cy="111732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97" name="Прямоугольник 196"/>
              <p:cNvSpPr/>
              <p:nvPr/>
            </p:nvSpPr>
            <p:spPr>
              <a:xfrm rot="16200000">
                <a:off x="6731472" y="4061768"/>
                <a:ext cx="296654" cy="111732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98" name="Прямоугольник 197"/>
              <p:cNvSpPr/>
              <p:nvPr/>
            </p:nvSpPr>
            <p:spPr>
              <a:xfrm rot="16200000">
                <a:off x="6846467" y="4061768"/>
                <a:ext cx="296654" cy="111732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99" name="Прямоугольник 198"/>
              <p:cNvSpPr/>
              <p:nvPr/>
            </p:nvSpPr>
            <p:spPr>
              <a:xfrm>
                <a:off x="5194955" y="2969924"/>
                <a:ext cx="360793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00" name="Прямоугольник 199"/>
              <p:cNvSpPr/>
              <p:nvPr/>
            </p:nvSpPr>
            <p:spPr>
              <a:xfrm>
                <a:off x="5593899" y="2969924"/>
                <a:ext cx="360793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01" name="Прямоугольник 200"/>
              <p:cNvSpPr/>
              <p:nvPr/>
            </p:nvSpPr>
            <p:spPr>
              <a:xfrm>
                <a:off x="5989107" y="2969924"/>
                <a:ext cx="360793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02" name="Прямоугольник 201"/>
              <p:cNvSpPr/>
              <p:nvPr/>
            </p:nvSpPr>
            <p:spPr>
              <a:xfrm>
                <a:off x="6372911" y="2969924"/>
                <a:ext cx="360793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03" name="Прямоугольник 202"/>
              <p:cNvSpPr/>
              <p:nvPr/>
            </p:nvSpPr>
            <p:spPr>
              <a:xfrm>
                <a:off x="5194955" y="3076354"/>
                <a:ext cx="360793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04" name="Прямоугольник 203"/>
              <p:cNvSpPr/>
              <p:nvPr/>
            </p:nvSpPr>
            <p:spPr>
              <a:xfrm>
                <a:off x="5593899" y="3076354"/>
                <a:ext cx="360793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05" name="Прямоугольник 204"/>
              <p:cNvSpPr/>
              <p:nvPr/>
            </p:nvSpPr>
            <p:spPr>
              <a:xfrm>
                <a:off x="5989107" y="3076354"/>
                <a:ext cx="360793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06" name="Прямоугольник 205"/>
              <p:cNvSpPr/>
              <p:nvPr/>
            </p:nvSpPr>
            <p:spPr>
              <a:xfrm>
                <a:off x="6372911" y="3076354"/>
                <a:ext cx="360793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07" name="Прямоугольник 206"/>
              <p:cNvSpPr/>
              <p:nvPr/>
            </p:nvSpPr>
            <p:spPr>
              <a:xfrm rot="16200000">
                <a:off x="4787897" y="4069683"/>
                <a:ext cx="296654" cy="88325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08" name="Прямоугольник 207"/>
              <p:cNvSpPr/>
              <p:nvPr/>
            </p:nvSpPr>
            <p:spPr>
              <a:xfrm>
                <a:off x="6014913" y="3440446"/>
                <a:ext cx="694333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09" name="Прямоугольник 208"/>
              <p:cNvSpPr/>
              <p:nvPr/>
            </p:nvSpPr>
            <p:spPr>
              <a:xfrm>
                <a:off x="8036932" y="3440446"/>
                <a:ext cx="345498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10" name="Прямоугольник 209"/>
              <p:cNvSpPr/>
              <p:nvPr/>
            </p:nvSpPr>
            <p:spPr>
              <a:xfrm>
                <a:off x="8845805" y="3434417"/>
                <a:ext cx="69433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11" name="Прямоугольник 210"/>
              <p:cNvSpPr/>
              <p:nvPr/>
            </p:nvSpPr>
            <p:spPr>
              <a:xfrm>
                <a:off x="8038683" y="2969924"/>
                <a:ext cx="36079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12" name="Прямоугольник 211"/>
              <p:cNvSpPr/>
              <p:nvPr/>
            </p:nvSpPr>
            <p:spPr>
              <a:xfrm>
                <a:off x="8437627" y="2969924"/>
                <a:ext cx="36079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13" name="Прямоугольник 212"/>
              <p:cNvSpPr/>
              <p:nvPr/>
            </p:nvSpPr>
            <p:spPr>
              <a:xfrm>
                <a:off x="8832835" y="2969924"/>
                <a:ext cx="36079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14" name="Прямоугольник 213"/>
              <p:cNvSpPr/>
              <p:nvPr/>
            </p:nvSpPr>
            <p:spPr>
              <a:xfrm>
                <a:off x="9216639" y="2969924"/>
                <a:ext cx="360793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15" name="Прямоугольник 214"/>
              <p:cNvSpPr/>
              <p:nvPr/>
            </p:nvSpPr>
            <p:spPr>
              <a:xfrm>
                <a:off x="8038683" y="3081725"/>
                <a:ext cx="36079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16" name="Прямоугольник 215"/>
              <p:cNvSpPr/>
              <p:nvPr/>
            </p:nvSpPr>
            <p:spPr>
              <a:xfrm>
                <a:off x="8437627" y="3081725"/>
                <a:ext cx="36079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17" name="Прямоугольник 216"/>
              <p:cNvSpPr/>
              <p:nvPr/>
            </p:nvSpPr>
            <p:spPr>
              <a:xfrm>
                <a:off x="8832835" y="3081725"/>
                <a:ext cx="36079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18" name="Прямоугольник 217"/>
              <p:cNvSpPr/>
              <p:nvPr/>
            </p:nvSpPr>
            <p:spPr>
              <a:xfrm>
                <a:off x="9216639" y="3081725"/>
                <a:ext cx="36079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19" name="Прямоугольник 218"/>
              <p:cNvSpPr/>
              <p:nvPr/>
            </p:nvSpPr>
            <p:spPr>
              <a:xfrm>
                <a:off x="8036931" y="3810575"/>
                <a:ext cx="69433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20" name="Прямоугольник 219"/>
              <p:cNvSpPr/>
              <p:nvPr/>
            </p:nvSpPr>
            <p:spPr>
              <a:xfrm>
                <a:off x="8036931" y="4179112"/>
                <a:ext cx="345498" cy="93691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25" name="Прямоугольник 224"/>
              <p:cNvSpPr/>
              <p:nvPr/>
            </p:nvSpPr>
            <p:spPr>
              <a:xfrm>
                <a:off x="8821951" y="4181833"/>
                <a:ext cx="36079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26" name="Прямоугольник 225"/>
              <p:cNvSpPr/>
              <p:nvPr/>
            </p:nvSpPr>
            <p:spPr>
              <a:xfrm>
                <a:off x="9213918" y="4181833"/>
                <a:ext cx="360793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27" name="Прямоугольник 226"/>
              <p:cNvSpPr/>
              <p:nvPr/>
            </p:nvSpPr>
            <p:spPr>
              <a:xfrm>
                <a:off x="8821951" y="4066057"/>
                <a:ext cx="360793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28" name="Прямоугольник 227"/>
              <p:cNvSpPr/>
              <p:nvPr/>
            </p:nvSpPr>
            <p:spPr>
              <a:xfrm>
                <a:off x="9213918" y="4063336"/>
                <a:ext cx="36079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29" name="Прямоугольник 228"/>
              <p:cNvSpPr/>
              <p:nvPr/>
            </p:nvSpPr>
            <p:spPr>
              <a:xfrm rot="16200000">
                <a:off x="9565244" y="3057708"/>
                <a:ext cx="296654" cy="111732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solidFill>
                  <a:schemeClr val="bg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30" name="Прямоугольник 229"/>
              <p:cNvSpPr/>
              <p:nvPr/>
            </p:nvSpPr>
            <p:spPr>
              <a:xfrm rot="16200000">
                <a:off x="9680239" y="3057708"/>
                <a:ext cx="296654" cy="111732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solidFill>
                  <a:schemeClr val="bg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31" name="Прямоугольник 230"/>
              <p:cNvSpPr/>
              <p:nvPr/>
            </p:nvSpPr>
            <p:spPr>
              <a:xfrm rot="16200000">
                <a:off x="9565244" y="3388769"/>
                <a:ext cx="296654" cy="111732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32" name="Прямоугольник 231"/>
              <p:cNvSpPr/>
              <p:nvPr/>
            </p:nvSpPr>
            <p:spPr>
              <a:xfrm rot="16200000">
                <a:off x="9680239" y="3388769"/>
                <a:ext cx="296654" cy="111732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33" name="Прямоугольник 232"/>
              <p:cNvSpPr/>
              <p:nvPr/>
            </p:nvSpPr>
            <p:spPr>
              <a:xfrm rot="16200000">
                <a:off x="9565244" y="3730707"/>
                <a:ext cx="296654" cy="111732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34" name="Прямоугольник 233"/>
              <p:cNvSpPr/>
              <p:nvPr/>
            </p:nvSpPr>
            <p:spPr>
              <a:xfrm rot="16200000">
                <a:off x="9680239" y="3730707"/>
                <a:ext cx="296654" cy="111732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35" name="Прямоугольник 234"/>
              <p:cNvSpPr/>
              <p:nvPr/>
            </p:nvSpPr>
            <p:spPr>
              <a:xfrm rot="16200000">
                <a:off x="9565244" y="4061768"/>
                <a:ext cx="296654" cy="111732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36" name="Прямоугольник 235"/>
              <p:cNvSpPr/>
              <p:nvPr/>
            </p:nvSpPr>
            <p:spPr>
              <a:xfrm rot="16200000">
                <a:off x="9680239" y="4061768"/>
                <a:ext cx="296654" cy="111732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37" name="Прямоугольник 236"/>
              <p:cNvSpPr/>
              <p:nvPr/>
            </p:nvSpPr>
            <p:spPr>
              <a:xfrm rot="16200000">
                <a:off x="7623062" y="3055580"/>
                <a:ext cx="296654" cy="88325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38" name="Прямоугольник 237"/>
              <p:cNvSpPr/>
              <p:nvPr/>
            </p:nvSpPr>
            <p:spPr>
              <a:xfrm rot="16200000">
                <a:off x="7623062" y="3390254"/>
                <a:ext cx="296654" cy="88325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39" name="Прямоугольник 238"/>
              <p:cNvSpPr/>
              <p:nvPr/>
            </p:nvSpPr>
            <p:spPr>
              <a:xfrm rot="16200000">
                <a:off x="7737499" y="3728579"/>
                <a:ext cx="296654" cy="88325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40" name="Прямоугольник 239"/>
              <p:cNvSpPr/>
              <p:nvPr/>
            </p:nvSpPr>
            <p:spPr>
              <a:xfrm rot="16200000">
                <a:off x="7737500" y="4063253"/>
                <a:ext cx="296654" cy="88325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68" name="Прямоугольник 367"/>
              <p:cNvSpPr/>
              <p:nvPr/>
            </p:nvSpPr>
            <p:spPr>
              <a:xfrm>
                <a:off x="2371723" y="3807947"/>
                <a:ext cx="694333" cy="99674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69" name="Прямоугольник 368"/>
              <p:cNvSpPr/>
              <p:nvPr/>
            </p:nvSpPr>
            <p:spPr>
              <a:xfrm>
                <a:off x="3177782" y="3807947"/>
                <a:ext cx="694333" cy="99674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70" name="Прямоугольник 369"/>
              <p:cNvSpPr/>
              <p:nvPr/>
            </p:nvSpPr>
            <p:spPr>
              <a:xfrm>
                <a:off x="3538594" y="4064019"/>
                <a:ext cx="360793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71" name="Прямоугольник 370"/>
              <p:cNvSpPr/>
              <p:nvPr/>
            </p:nvSpPr>
            <p:spPr>
              <a:xfrm>
                <a:off x="3538594" y="4181987"/>
                <a:ext cx="360793" cy="88323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72" name="Прямоугольник 371"/>
              <p:cNvSpPr/>
              <p:nvPr/>
            </p:nvSpPr>
            <p:spPr>
              <a:xfrm>
                <a:off x="8837488" y="3810575"/>
                <a:ext cx="69433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73" name="Прямоугольник 372"/>
              <p:cNvSpPr/>
              <p:nvPr/>
            </p:nvSpPr>
            <p:spPr>
              <a:xfrm>
                <a:off x="8424283" y="4063336"/>
                <a:ext cx="36079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74" name="Прямоугольник 373"/>
              <p:cNvSpPr/>
              <p:nvPr/>
            </p:nvSpPr>
            <p:spPr>
              <a:xfrm>
                <a:off x="8424283" y="4181987"/>
                <a:ext cx="36079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75" name="Прямоугольник 374"/>
              <p:cNvSpPr/>
              <p:nvPr/>
            </p:nvSpPr>
            <p:spPr>
              <a:xfrm>
                <a:off x="5593899" y="4064536"/>
                <a:ext cx="345498" cy="93691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76" name="Прямоугольник 375"/>
              <p:cNvSpPr/>
              <p:nvPr/>
            </p:nvSpPr>
            <p:spPr>
              <a:xfrm>
                <a:off x="5980245" y="4064536"/>
                <a:ext cx="345498" cy="93691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77" name="Прямоугольник 376"/>
              <p:cNvSpPr/>
              <p:nvPr/>
            </p:nvSpPr>
            <p:spPr>
              <a:xfrm>
                <a:off x="6370388" y="4064536"/>
                <a:ext cx="345498" cy="93691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78" name="Прямоугольник 377"/>
              <p:cNvSpPr/>
              <p:nvPr/>
            </p:nvSpPr>
            <p:spPr>
              <a:xfrm>
                <a:off x="5210250" y="4179112"/>
                <a:ext cx="345498" cy="93691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79" name="Прямоугольник 378"/>
              <p:cNvSpPr/>
              <p:nvPr/>
            </p:nvSpPr>
            <p:spPr>
              <a:xfrm>
                <a:off x="5595073" y="4179112"/>
                <a:ext cx="345498" cy="93691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80" name="Прямоугольник 379"/>
              <p:cNvSpPr/>
              <p:nvPr/>
            </p:nvSpPr>
            <p:spPr>
              <a:xfrm rot="16200000">
                <a:off x="4787897" y="3396283"/>
                <a:ext cx="296654" cy="88325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81" name="Прямоугольник 380"/>
              <p:cNvSpPr/>
              <p:nvPr/>
            </p:nvSpPr>
            <p:spPr>
              <a:xfrm rot="16200000">
                <a:off x="4787898" y="3712336"/>
                <a:ext cx="296654" cy="88325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82" name="Прямоугольник 381"/>
              <p:cNvSpPr/>
              <p:nvPr/>
            </p:nvSpPr>
            <p:spPr>
              <a:xfrm rot="16200000">
                <a:off x="4905905" y="3396283"/>
                <a:ext cx="296654" cy="88325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83" name="Прямоугольник 382"/>
              <p:cNvSpPr/>
              <p:nvPr/>
            </p:nvSpPr>
            <p:spPr>
              <a:xfrm rot="16200000">
                <a:off x="7623063" y="3728557"/>
                <a:ext cx="296654" cy="88325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84" name="Прямоугольник 383"/>
              <p:cNvSpPr/>
              <p:nvPr/>
            </p:nvSpPr>
            <p:spPr>
              <a:xfrm rot="16200000">
                <a:off x="7623063" y="4063231"/>
                <a:ext cx="296654" cy="88325"/>
              </a:xfrm>
              <a:prstGeom prst="rect">
                <a:avLst/>
              </a:prstGeom>
              <a:solidFill>
                <a:srgbClr val="FF2649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92" name="Прямоугольник 391"/>
              <p:cNvSpPr/>
              <p:nvPr/>
            </p:nvSpPr>
            <p:spPr>
              <a:xfrm rot="16200000">
                <a:off x="7737500" y="3396283"/>
                <a:ext cx="296654" cy="88325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93" name="Прямоугольник 392"/>
              <p:cNvSpPr/>
              <p:nvPr/>
            </p:nvSpPr>
            <p:spPr>
              <a:xfrm rot="16200000">
                <a:off x="7737501" y="3054320"/>
                <a:ext cx="296654" cy="88325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94" name="Прямоугольник 393"/>
              <p:cNvSpPr/>
              <p:nvPr/>
            </p:nvSpPr>
            <p:spPr>
              <a:xfrm>
                <a:off x="8038683" y="4069685"/>
                <a:ext cx="360793" cy="88323"/>
              </a:xfrm>
              <a:prstGeom prst="rect">
                <a:avLst/>
              </a:prstGeom>
              <a:solidFill>
                <a:schemeClr val="accent6">
                  <a:alpha val="76000"/>
                </a:scheme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95" name="Прямоугольник 394"/>
              <p:cNvSpPr/>
              <p:nvPr/>
            </p:nvSpPr>
            <p:spPr>
              <a:xfrm>
                <a:off x="8382429" y="3440446"/>
                <a:ext cx="345498" cy="88323"/>
              </a:xfrm>
              <a:prstGeom prst="rect">
                <a:avLst/>
              </a:prstGeom>
              <a:solidFill>
                <a:srgbClr val="FFD44B">
                  <a:alpha val="76000"/>
                </a:srgbClr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  <p:sp>
        <p:nvSpPr>
          <p:cNvPr id="396" name="TextBox 395"/>
          <p:cNvSpPr txBox="1"/>
          <p:nvPr/>
        </p:nvSpPr>
        <p:spPr>
          <a:xfrm>
            <a:off x="524110" y="282355"/>
            <a:ext cx="1120697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600" dirty="0">
                <a:latin typeface="+mn-lt"/>
              </a:rPr>
              <a:t>ОПИСАНИЕ ТЕКУЩЕЙ ИТ-АРХИТЕКТУРЫ </a:t>
            </a:r>
            <a:r>
              <a:rPr lang="en-US" sz="3600" dirty="0">
                <a:solidFill>
                  <a:srgbClr val="FF0000"/>
                </a:solidFill>
                <a:latin typeface="+mn-lt"/>
              </a:rPr>
              <a:t>TO BE</a:t>
            </a:r>
            <a:endParaRPr lang="ru-RU" sz="3600" dirty="0">
              <a:solidFill>
                <a:srgbClr val="FF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76065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1999" cy="6877049"/>
          </a:xfrm>
          <a:prstGeom prst="rect">
            <a:avLst/>
          </a:prstGeom>
        </p:spPr>
      </p:pic>
      <p:cxnSp>
        <p:nvCxnSpPr>
          <p:cNvPr id="14" name="Gerader Verbinder 8">
            <a:extLst>
              <a:ext uri="{FF2B5EF4-FFF2-40B4-BE49-F238E27FC236}">
                <a16:creationId xmlns:a16="http://schemas.microsoft.com/office/drawing/2014/main" id="{2566C89A-41FE-4EC6-BF6D-4FB934933CE4}"/>
              </a:ext>
            </a:extLst>
          </p:cNvPr>
          <p:cNvCxnSpPr>
            <a:cxnSpLocks/>
          </p:cNvCxnSpPr>
          <p:nvPr/>
        </p:nvCxnSpPr>
        <p:spPr bwMode="gray">
          <a:xfrm>
            <a:off x="1" y="3930615"/>
            <a:ext cx="12191999" cy="0"/>
          </a:xfrm>
          <a:prstGeom prst="line">
            <a:avLst/>
          </a:prstGeom>
          <a:ln w="12700">
            <a:solidFill>
              <a:srgbClr val="1D46F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hteck 10">
            <a:extLst>
              <a:ext uri="{FF2B5EF4-FFF2-40B4-BE49-F238E27FC236}">
                <a16:creationId xmlns:a16="http://schemas.microsoft.com/office/drawing/2014/main" id="{A2BFE4CB-5516-4976-A43B-8C7FC403F8C4}"/>
              </a:ext>
            </a:extLst>
          </p:cNvPr>
          <p:cNvSpPr>
            <a:spLocks noChangeAspect="1"/>
          </p:cNvSpPr>
          <p:nvPr/>
        </p:nvSpPr>
        <p:spPr bwMode="gray">
          <a:xfrm>
            <a:off x="0" y="-1"/>
            <a:ext cx="12201333" cy="6877049"/>
          </a:xfrm>
          <a:prstGeom prst="rect">
            <a:avLst/>
          </a:prstGeom>
          <a:gradFill>
            <a:gsLst>
              <a:gs pos="40000">
                <a:sysClr val="window" lastClr="FFFFFF"/>
              </a:gs>
              <a:gs pos="80000">
                <a:sysClr val="window" lastClr="FFFFFF">
                  <a:alpha val="80000"/>
                </a:sysClr>
              </a:gs>
            </a:gsLst>
            <a:lin ang="18600000" scaled="0"/>
          </a:gra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18" name="Gerader Verbinder 8">
            <a:extLst>
              <a:ext uri="{FF2B5EF4-FFF2-40B4-BE49-F238E27FC236}">
                <a16:creationId xmlns:a16="http://schemas.microsoft.com/office/drawing/2014/main" id="{2566C89A-41FE-4EC6-BF6D-4FB934933CE4}"/>
              </a:ext>
            </a:extLst>
          </p:cNvPr>
          <p:cNvCxnSpPr>
            <a:cxnSpLocks/>
          </p:cNvCxnSpPr>
          <p:nvPr/>
        </p:nvCxnSpPr>
        <p:spPr bwMode="gray">
          <a:xfrm>
            <a:off x="1" y="3930615"/>
            <a:ext cx="12191999" cy="0"/>
          </a:xfrm>
          <a:prstGeom prst="line">
            <a:avLst/>
          </a:prstGeom>
          <a:ln w="12700">
            <a:solidFill>
              <a:srgbClr val="1D46F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741246" y="3074545"/>
            <a:ext cx="1081005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400" b="1" dirty="0">
                <a:solidFill>
                  <a:schemeClr val="tx1"/>
                </a:solidFill>
                <a:latin typeface="+mn-lt"/>
                <a:cs typeface="Segoe UI Semibold" panose="020B0702040204020203" pitchFamily="34" charset="0"/>
              </a:rPr>
              <a:t>Ключевое требование от Министерство цифрового развития, связи и массовых коммуникаций к Стратегии цифровой трансформации – </a:t>
            </a:r>
            <a:endParaRPr lang="ru-RU" sz="2400" b="1" dirty="0">
              <a:solidFill>
                <a:srgbClr val="1D46F3"/>
              </a:solidFill>
              <a:latin typeface="+mn-lt"/>
              <a:cs typeface="Segoe UI Semibold" panose="020B0702040204020203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68075" y="4063349"/>
            <a:ext cx="1081005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600" dirty="0">
                <a:solidFill>
                  <a:srgbClr val="1D46F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ВЫПОЛНЕНИЕ КПЭ ПО ИМПОРТОЗАМЕЩЕНИЮ</a:t>
            </a:r>
          </a:p>
        </p:txBody>
      </p:sp>
    </p:spTree>
    <p:extLst>
      <p:ext uri="{BB962C8B-B14F-4D97-AF65-F5344CB8AC3E}">
        <p14:creationId xmlns:p14="http://schemas.microsoft.com/office/powerpoint/2010/main" val="2807555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264A"/>
        </a:solidFill>
        <a:effectLst/>
      </p:bgPr>
    </p:bg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Google Shape;129;p18"/>
          <p:cNvSpPr txBox="1">
            <a:spLocks noGrp="1"/>
          </p:cNvSpPr>
          <p:nvPr>
            <p:ph type="body" idx="1"/>
          </p:nvPr>
        </p:nvSpPr>
        <p:spPr>
          <a:xfrm>
            <a:off x="233187" y="560412"/>
            <a:ext cx="5738403" cy="18695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None/>
            </a:pPr>
            <a:r>
              <a:rPr lang="ru-RU" sz="5400" dirty="0">
                <a:solidFill>
                  <a:srgbClr val="FFFFFF"/>
                </a:solidFill>
                <a:latin typeface="Segoe UI Semibold" panose="020B0702040204020203" pitchFamily="34" charset="0"/>
                <a:ea typeface="Open Sans"/>
                <a:cs typeface="Segoe UI Semibold" panose="020B0702040204020203" pitchFamily="34" charset="0"/>
                <a:sym typeface="Open Sans"/>
              </a:rPr>
              <a:t>Слаб отдельно каждый прутик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526970" y="3530857"/>
            <a:ext cx="8873413" cy="1968760"/>
          </a:xfrm>
          <a:prstGeom prst="rect">
            <a:avLst/>
          </a:prstGeom>
          <a:noFill/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Google Shape;129;p18"/>
          <p:cNvSpPr txBox="1">
            <a:spLocks/>
          </p:cNvSpPr>
          <p:nvPr/>
        </p:nvSpPr>
        <p:spPr>
          <a:xfrm>
            <a:off x="3663822" y="3944365"/>
            <a:ext cx="8528178" cy="11417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>
              <a:lnSpc>
                <a:spcPct val="115000"/>
              </a:lnSpc>
              <a:spcBef>
                <a:spcPts val="0"/>
              </a:spcBef>
              <a:spcAft>
                <a:spcPts val="1200"/>
              </a:spcAft>
              <a:buFont typeface="Arial"/>
              <a:buNone/>
            </a:pPr>
            <a:r>
              <a:rPr lang="ru-RU" sz="5400" dirty="0">
                <a:solidFill>
                  <a:srgbClr val="FFFFFF"/>
                </a:solidFill>
                <a:latin typeface="Segoe UI Semibold" panose="020B0702040204020203" pitchFamily="34" charset="0"/>
                <a:ea typeface="Open Sans"/>
                <a:cs typeface="Segoe UI Semibold" panose="020B0702040204020203" pitchFamily="34" charset="0"/>
                <a:sym typeface="Open Sans"/>
              </a:rPr>
              <a:t>Веник целый не сломать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21" r="43301"/>
          <a:stretch/>
        </p:blipFill>
        <p:spPr>
          <a:xfrm>
            <a:off x="5710335" y="459140"/>
            <a:ext cx="1343608" cy="2109399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565"/>
          <a:stretch/>
        </p:blipFill>
        <p:spPr>
          <a:xfrm>
            <a:off x="7276061" y="459140"/>
            <a:ext cx="1303699" cy="2109399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240"/>
          <a:stretch/>
        </p:blipFill>
        <p:spPr>
          <a:xfrm>
            <a:off x="8888857" y="459140"/>
            <a:ext cx="1384147" cy="2109399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301" r="549"/>
          <a:stretch/>
        </p:blipFill>
        <p:spPr>
          <a:xfrm>
            <a:off x="10582101" y="459140"/>
            <a:ext cx="1101012" cy="2109399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>
            <a:grayscl/>
          </a:blip>
          <a:stretch>
            <a:fillRect/>
          </a:stretch>
        </p:blipFill>
        <p:spPr>
          <a:xfrm>
            <a:off x="-28470" y="3530857"/>
            <a:ext cx="3421607" cy="1968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223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Группа 6"/>
          <p:cNvGrpSpPr/>
          <p:nvPr/>
        </p:nvGrpSpPr>
        <p:grpSpPr>
          <a:xfrm>
            <a:off x="1309040" y="303113"/>
            <a:ext cx="2656471" cy="1964220"/>
            <a:chOff x="1271716" y="555045"/>
            <a:chExt cx="2656471" cy="1964220"/>
          </a:xfrm>
        </p:grpSpPr>
        <p:sp>
          <p:nvSpPr>
            <p:cNvPr id="88" name="Прямоугольник 87"/>
            <p:cNvSpPr/>
            <p:nvPr/>
          </p:nvSpPr>
          <p:spPr>
            <a:xfrm>
              <a:off x="1271716" y="845426"/>
              <a:ext cx="2656471" cy="1673839"/>
            </a:xfrm>
            <a:prstGeom prst="rect">
              <a:avLst/>
            </a:prstGeom>
            <a:noFill/>
            <a:ln w="9525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16F032F1-DB98-4345-BF38-449BAE4553C3}"/>
                </a:ext>
              </a:extLst>
            </p:cNvPr>
            <p:cNvSpPr txBox="1"/>
            <p:nvPr/>
          </p:nvSpPr>
          <p:spPr>
            <a:xfrm>
              <a:off x="1271716" y="555045"/>
              <a:ext cx="2656471" cy="290646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>
              <a:solidFill>
                <a:schemeClr val="bg2">
                  <a:lumMod val="60000"/>
                  <a:lumOff val="40000"/>
                </a:schemeClr>
              </a:solidFill>
            </a:ln>
          </p:spPr>
          <p:txBody>
            <a:bodyPr wrap="square" lIns="72000" tIns="0" rIns="0" bIns="0" rtlCol="0" anchor="ctr" anchorCtr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r>
                <a:rPr lang="ru-RU" sz="1200" b="1" dirty="0">
                  <a:solidFill>
                    <a:schemeClr val="tx1"/>
                  </a:solidFill>
                  <a:latin typeface="+mn-lt"/>
                  <a:cs typeface="Segoe UI Semibold" panose="020B0702040204020203" pitchFamily="34" charset="0"/>
                </a:rPr>
                <a:t>КОРПОРАЦИЯ 1</a:t>
              </a:r>
            </a:p>
          </p:txBody>
        </p:sp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0482" y="898162"/>
              <a:ext cx="2243101" cy="1493717"/>
            </a:xfrm>
            <a:prstGeom prst="rect">
              <a:avLst/>
            </a:prstGeom>
          </p:spPr>
        </p:pic>
      </p:grpSp>
      <p:grpSp>
        <p:nvGrpSpPr>
          <p:cNvPr id="8" name="Группа 7"/>
          <p:cNvGrpSpPr/>
          <p:nvPr/>
        </p:nvGrpSpPr>
        <p:grpSpPr>
          <a:xfrm>
            <a:off x="4705384" y="303113"/>
            <a:ext cx="2656471" cy="1964220"/>
            <a:chOff x="4584084" y="555045"/>
            <a:chExt cx="2656471" cy="1964220"/>
          </a:xfrm>
        </p:grpSpPr>
        <p:sp>
          <p:nvSpPr>
            <p:cNvPr id="114" name="Прямоугольник 113"/>
            <p:cNvSpPr/>
            <p:nvPr/>
          </p:nvSpPr>
          <p:spPr>
            <a:xfrm>
              <a:off x="4584084" y="845426"/>
              <a:ext cx="2656471" cy="1673839"/>
            </a:xfrm>
            <a:prstGeom prst="rect">
              <a:avLst/>
            </a:prstGeom>
            <a:noFill/>
            <a:ln w="9525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16F032F1-DB98-4345-BF38-449BAE4553C3}"/>
                </a:ext>
              </a:extLst>
            </p:cNvPr>
            <p:cNvSpPr txBox="1"/>
            <p:nvPr/>
          </p:nvSpPr>
          <p:spPr>
            <a:xfrm>
              <a:off x="4584084" y="555045"/>
              <a:ext cx="2656471" cy="290646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>
              <a:solidFill>
                <a:schemeClr val="bg2">
                  <a:lumMod val="60000"/>
                  <a:lumOff val="40000"/>
                </a:schemeClr>
              </a:solidFill>
            </a:ln>
          </p:spPr>
          <p:txBody>
            <a:bodyPr wrap="square" lIns="72000" tIns="0" rIns="0" bIns="0" rtlCol="0" anchor="ctr" anchorCtr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r>
                <a:rPr lang="ru-RU" sz="1200" b="1" dirty="0">
                  <a:solidFill>
                    <a:schemeClr val="tx1"/>
                  </a:solidFill>
                  <a:latin typeface="+mn-lt"/>
                  <a:cs typeface="Segoe UI Semibold" panose="020B0702040204020203" pitchFamily="34" charset="0"/>
                </a:rPr>
                <a:t>КОРПОРАЦИЯ 2</a:t>
              </a:r>
            </a:p>
          </p:txBody>
        </p:sp>
        <p:pic>
          <p:nvPicPr>
            <p:cNvPr id="116" name="Рисунок 1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82850" y="898162"/>
              <a:ext cx="2243101" cy="1493717"/>
            </a:xfrm>
            <a:prstGeom prst="rect">
              <a:avLst/>
            </a:prstGeom>
          </p:spPr>
        </p:pic>
      </p:grpSp>
      <p:grpSp>
        <p:nvGrpSpPr>
          <p:cNvPr id="9" name="Группа 8"/>
          <p:cNvGrpSpPr/>
          <p:nvPr/>
        </p:nvGrpSpPr>
        <p:grpSpPr>
          <a:xfrm>
            <a:off x="8101727" y="303113"/>
            <a:ext cx="2656471" cy="1964220"/>
            <a:chOff x="8064403" y="555045"/>
            <a:chExt cx="2656471" cy="1964220"/>
          </a:xfrm>
        </p:grpSpPr>
        <p:sp>
          <p:nvSpPr>
            <p:cNvPr id="117" name="Прямоугольник 116"/>
            <p:cNvSpPr/>
            <p:nvPr/>
          </p:nvSpPr>
          <p:spPr>
            <a:xfrm>
              <a:off x="8064403" y="845426"/>
              <a:ext cx="2656471" cy="1673839"/>
            </a:xfrm>
            <a:prstGeom prst="rect">
              <a:avLst/>
            </a:prstGeom>
            <a:noFill/>
            <a:ln w="9525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16F032F1-DB98-4345-BF38-449BAE4553C3}"/>
                </a:ext>
              </a:extLst>
            </p:cNvPr>
            <p:cNvSpPr txBox="1"/>
            <p:nvPr/>
          </p:nvSpPr>
          <p:spPr>
            <a:xfrm>
              <a:off x="8064403" y="555045"/>
              <a:ext cx="2656471" cy="290646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>
              <a:solidFill>
                <a:schemeClr val="bg2">
                  <a:lumMod val="60000"/>
                  <a:lumOff val="40000"/>
                </a:schemeClr>
              </a:solidFill>
            </a:ln>
          </p:spPr>
          <p:txBody>
            <a:bodyPr wrap="square" lIns="72000" tIns="0" rIns="0" bIns="0" rtlCol="0" anchor="ctr" anchorCtr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r>
                <a:rPr lang="ru-RU" sz="1200" b="1" dirty="0">
                  <a:solidFill>
                    <a:schemeClr val="tx1"/>
                  </a:solidFill>
                  <a:latin typeface="+mn-lt"/>
                  <a:cs typeface="Segoe UI Semibold" panose="020B0702040204020203" pitchFamily="34" charset="0"/>
                </a:rPr>
                <a:t>КОРПОРАЦИЯ 3</a:t>
              </a:r>
            </a:p>
          </p:txBody>
        </p:sp>
        <p:pic>
          <p:nvPicPr>
            <p:cNvPr id="119" name="Рисунок 11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63169" y="898162"/>
              <a:ext cx="2243101" cy="1493717"/>
            </a:xfrm>
            <a:prstGeom prst="rect">
              <a:avLst/>
            </a:prstGeom>
          </p:spPr>
        </p:pic>
      </p:grpSp>
      <p:grpSp>
        <p:nvGrpSpPr>
          <p:cNvPr id="120" name="Группа 119"/>
          <p:cNvGrpSpPr/>
          <p:nvPr/>
        </p:nvGrpSpPr>
        <p:grpSpPr>
          <a:xfrm>
            <a:off x="1309040" y="2402503"/>
            <a:ext cx="2656471" cy="1964220"/>
            <a:chOff x="1271716" y="555045"/>
            <a:chExt cx="2656471" cy="1964220"/>
          </a:xfrm>
        </p:grpSpPr>
        <p:sp>
          <p:nvSpPr>
            <p:cNvPr id="121" name="Прямоугольник 120"/>
            <p:cNvSpPr/>
            <p:nvPr/>
          </p:nvSpPr>
          <p:spPr>
            <a:xfrm>
              <a:off x="1271716" y="845426"/>
              <a:ext cx="2656471" cy="1673839"/>
            </a:xfrm>
            <a:prstGeom prst="rect">
              <a:avLst/>
            </a:prstGeom>
            <a:noFill/>
            <a:ln w="9525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16F032F1-DB98-4345-BF38-449BAE4553C3}"/>
                </a:ext>
              </a:extLst>
            </p:cNvPr>
            <p:cNvSpPr txBox="1"/>
            <p:nvPr/>
          </p:nvSpPr>
          <p:spPr>
            <a:xfrm>
              <a:off x="1271716" y="555045"/>
              <a:ext cx="2656471" cy="290646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>
              <a:solidFill>
                <a:schemeClr val="bg2">
                  <a:lumMod val="60000"/>
                  <a:lumOff val="40000"/>
                </a:schemeClr>
              </a:solidFill>
            </a:ln>
          </p:spPr>
          <p:txBody>
            <a:bodyPr wrap="square" lIns="72000" tIns="0" rIns="0" bIns="0" rtlCol="0" anchor="ctr" anchorCtr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r>
                <a:rPr lang="ru-RU" sz="1200" b="1" dirty="0">
                  <a:solidFill>
                    <a:schemeClr val="tx1"/>
                  </a:solidFill>
                  <a:latin typeface="+mn-lt"/>
                  <a:cs typeface="Segoe UI Semibold" panose="020B0702040204020203" pitchFamily="34" charset="0"/>
                </a:rPr>
                <a:t>КОРПОРАЦИЯ 4</a:t>
              </a:r>
            </a:p>
          </p:txBody>
        </p:sp>
        <p:pic>
          <p:nvPicPr>
            <p:cNvPr id="123" name="Рисунок 12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0482" y="898162"/>
              <a:ext cx="2243101" cy="1493717"/>
            </a:xfrm>
            <a:prstGeom prst="rect">
              <a:avLst/>
            </a:prstGeom>
          </p:spPr>
        </p:pic>
      </p:grpSp>
      <p:grpSp>
        <p:nvGrpSpPr>
          <p:cNvPr id="124" name="Группа 123"/>
          <p:cNvGrpSpPr/>
          <p:nvPr/>
        </p:nvGrpSpPr>
        <p:grpSpPr>
          <a:xfrm>
            <a:off x="4705384" y="2402503"/>
            <a:ext cx="2656471" cy="1964220"/>
            <a:chOff x="4584084" y="555045"/>
            <a:chExt cx="2656471" cy="1964220"/>
          </a:xfrm>
        </p:grpSpPr>
        <p:sp>
          <p:nvSpPr>
            <p:cNvPr id="125" name="Прямоугольник 124"/>
            <p:cNvSpPr/>
            <p:nvPr/>
          </p:nvSpPr>
          <p:spPr>
            <a:xfrm>
              <a:off x="4584084" y="845426"/>
              <a:ext cx="2656471" cy="1673839"/>
            </a:xfrm>
            <a:prstGeom prst="rect">
              <a:avLst/>
            </a:prstGeom>
            <a:noFill/>
            <a:ln w="9525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16F032F1-DB98-4345-BF38-449BAE4553C3}"/>
                </a:ext>
              </a:extLst>
            </p:cNvPr>
            <p:cNvSpPr txBox="1"/>
            <p:nvPr/>
          </p:nvSpPr>
          <p:spPr>
            <a:xfrm>
              <a:off x="4584084" y="555045"/>
              <a:ext cx="2656471" cy="290646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>
              <a:solidFill>
                <a:schemeClr val="bg2">
                  <a:lumMod val="60000"/>
                  <a:lumOff val="40000"/>
                </a:schemeClr>
              </a:solidFill>
            </a:ln>
          </p:spPr>
          <p:txBody>
            <a:bodyPr wrap="square" lIns="72000" tIns="0" rIns="0" bIns="0" rtlCol="0" anchor="ctr" anchorCtr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r>
                <a:rPr lang="ru-RU" sz="1200" b="1" dirty="0">
                  <a:solidFill>
                    <a:schemeClr val="tx1"/>
                  </a:solidFill>
                  <a:latin typeface="+mn-lt"/>
                  <a:cs typeface="Segoe UI Semibold" panose="020B0702040204020203" pitchFamily="34" charset="0"/>
                </a:rPr>
                <a:t>КОРПОРАЦИЯ 5</a:t>
              </a:r>
            </a:p>
          </p:txBody>
        </p:sp>
        <p:pic>
          <p:nvPicPr>
            <p:cNvPr id="127" name="Рисунок 12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82850" y="898162"/>
              <a:ext cx="2243101" cy="1493717"/>
            </a:xfrm>
            <a:prstGeom prst="rect">
              <a:avLst/>
            </a:prstGeom>
          </p:spPr>
        </p:pic>
      </p:grpSp>
      <p:grpSp>
        <p:nvGrpSpPr>
          <p:cNvPr id="128" name="Группа 127"/>
          <p:cNvGrpSpPr/>
          <p:nvPr/>
        </p:nvGrpSpPr>
        <p:grpSpPr>
          <a:xfrm>
            <a:off x="8101727" y="2402503"/>
            <a:ext cx="2656471" cy="1964220"/>
            <a:chOff x="8064403" y="555045"/>
            <a:chExt cx="2656471" cy="1964220"/>
          </a:xfrm>
        </p:grpSpPr>
        <p:sp>
          <p:nvSpPr>
            <p:cNvPr id="129" name="Прямоугольник 128"/>
            <p:cNvSpPr/>
            <p:nvPr/>
          </p:nvSpPr>
          <p:spPr>
            <a:xfrm>
              <a:off x="8064403" y="845426"/>
              <a:ext cx="2656471" cy="1673839"/>
            </a:xfrm>
            <a:prstGeom prst="rect">
              <a:avLst/>
            </a:prstGeom>
            <a:noFill/>
            <a:ln w="9525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16F032F1-DB98-4345-BF38-449BAE4553C3}"/>
                </a:ext>
              </a:extLst>
            </p:cNvPr>
            <p:cNvSpPr txBox="1"/>
            <p:nvPr/>
          </p:nvSpPr>
          <p:spPr>
            <a:xfrm>
              <a:off x="8064403" y="555045"/>
              <a:ext cx="2656471" cy="290646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>
              <a:solidFill>
                <a:schemeClr val="bg2">
                  <a:lumMod val="60000"/>
                  <a:lumOff val="40000"/>
                </a:schemeClr>
              </a:solidFill>
            </a:ln>
          </p:spPr>
          <p:txBody>
            <a:bodyPr wrap="square" lIns="72000" tIns="0" rIns="0" bIns="0" rtlCol="0" anchor="ctr" anchorCtr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r>
                <a:rPr lang="ru-RU" sz="1200" b="1" dirty="0">
                  <a:solidFill>
                    <a:schemeClr val="tx1"/>
                  </a:solidFill>
                  <a:latin typeface="+mn-lt"/>
                  <a:cs typeface="Segoe UI Semibold" panose="020B0702040204020203" pitchFamily="34" charset="0"/>
                </a:rPr>
                <a:t>КОРПОРАЦИЯ 6</a:t>
              </a:r>
            </a:p>
          </p:txBody>
        </p:sp>
        <p:pic>
          <p:nvPicPr>
            <p:cNvPr id="131" name="Рисунок 130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63169" y="898162"/>
              <a:ext cx="2243101" cy="1493717"/>
            </a:xfrm>
            <a:prstGeom prst="rect">
              <a:avLst/>
            </a:prstGeom>
          </p:spPr>
        </p:pic>
      </p:grpSp>
      <p:grpSp>
        <p:nvGrpSpPr>
          <p:cNvPr id="132" name="Группа 131"/>
          <p:cNvGrpSpPr/>
          <p:nvPr/>
        </p:nvGrpSpPr>
        <p:grpSpPr>
          <a:xfrm>
            <a:off x="1309040" y="4613856"/>
            <a:ext cx="2656471" cy="1964220"/>
            <a:chOff x="1271716" y="555045"/>
            <a:chExt cx="2656471" cy="1964220"/>
          </a:xfrm>
        </p:grpSpPr>
        <p:sp>
          <p:nvSpPr>
            <p:cNvPr id="133" name="Прямоугольник 132"/>
            <p:cNvSpPr/>
            <p:nvPr/>
          </p:nvSpPr>
          <p:spPr>
            <a:xfrm>
              <a:off x="1271716" y="845426"/>
              <a:ext cx="2656471" cy="1673839"/>
            </a:xfrm>
            <a:prstGeom prst="rect">
              <a:avLst/>
            </a:prstGeom>
            <a:noFill/>
            <a:ln w="9525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16F032F1-DB98-4345-BF38-449BAE4553C3}"/>
                </a:ext>
              </a:extLst>
            </p:cNvPr>
            <p:cNvSpPr txBox="1"/>
            <p:nvPr/>
          </p:nvSpPr>
          <p:spPr>
            <a:xfrm>
              <a:off x="1271716" y="555045"/>
              <a:ext cx="2656471" cy="290646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>
              <a:solidFill>
                <a:schemeClr val="bg2">
                  <a:lumMod val="60000"/>
                  <a:lumOff val="40000"/>
                </a:schemeClr>
              </a:solidFill>
            </a:ln>
          </p:spPr>
          <p:txBody>
            <a:bodyPr wrap="square" lIns="72000" tIns="0" rIns="0" bIns="0" rtlCol="0" anchor="ctr" anchorCtr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r>
                <a:rPr lang="ru-RU" sz="1200" b="1" dirty="0">
                  <a:solidFill>
                    <a:schemeClr val="tx1"/>
                  </a:solidFill>
                  <a:latin typeface="+mn-lt"/>
                  <a:cs typeface="Segoe UI Semibold" panose="020B0702040204020203" pitchFamily="34" charset="0"/>
                </a:rPr>
                <a:t>КОРПОРАЦИЯ 7</a:t>
              </a:r>
            </a:p>
          </p:txBody>
        </p:sp>
        <p:pic>
          <p:nvPicPr>
            <p:cNvPr id="135" name="Рисунок 134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0482" y="898162"/>
              <a:ext cx="2243101" cy="1493717"/>
            </a:xfrm>
            <a:prstGeom prst="rect">
              <a:avLst/>
            </a:prstGeom>
          </p:spPr>
        </p:pic>
      </p:grpSp>
      <p:grpSp>
        <p:nvGrpSpPr>
          <p:cNvPr id="136" name="Группа 135"/>
          <p:cNvGrpSpPr/>
          <p:nvPr/>
        </p:nvGrpSpPr>
        <p:grpSpPr>
          <a:xfrm>
            <a:off x="4705384" y="4613856"/>
            <a:ext cx="2656471" cy="1964220"/>
            <a:chOff x="4584084" y="555045"/>
            <a:chExt cx="2656471" cy="1964220"/>
          </a:xfrm>
        </p:grpSpPr>
        <p:sp>
          <p:nvSpPr>
            <p:cNvPr id="137" name="Прямоугольник 136"/>
            <p:cNvSpPr/>
            <p:nvPr/>
          </p:nvSpPr>
          <p:spPr>
            <a:xfrm>
              <a:off x="4584084" y="845426"/>
              <a:ext cx="2656471" cy="1673839"/>
            </a:xfrm>
            <a:prstGeom prst="rect">
              <a:avLst/>
            </a:prstGeom>
            <a:noFill/>
            <a:ln w="9525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16F032F1-DB98-4345-BF38-449BAE4553C3}"/>
                </a:ext>
              </a:extLst>
            </p:cNvPr>
            <p:cNvSpPr txBox="1"/>
            <p:nvPr/>
          </p:nvSpPr>
          <p:spPr>
            <a:xfrm>
              <a:off x="4584084" y="555045"/>
              <a:ext cx="2656471" cy="290646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>
              <a:solidFill>
                <a:schemeClr val="bg2">
                  <a:lumMod val="60000"/>
                  <a:lumOff val="40000"/>
                </a:schemeClr>
              </a:solidFill>
            </a:ln>
          </p:spPr>
          <p:txBody>
            <a:bodyPr wrap="square" lIns="72000" tIns="0" rIns="0" bIns="0" rtlCol="0" anchor="ctr" anchorCtr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r>
                <a:rPr lang="ru-RU" sz="1200" b="1" dirty="0">
                  <a:solidFill>
                    <a:schemeClr val="tx1"/>
                  </a:solidFill>
                  <a:latin typeface="+mn-lt"/>
                  <a:cs typeface="Segoe UI Semibold" panose="020B0702040204020203" pitchFamily="34" charset="0"/>
                </a:rPr>
                <a:t>КОРПОРАЦИЯ 8</a:t>
              </a:r>
            </a:p>
          </p:txBody>
        </p:sp>
        <p:pic>
          <p:nvPicPr>
            <p:cNvPr id="139" name="Рисунок 13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82850" y="898162"/>
              <a:ext cx="2243101" cy="1493717"/>
            </a:xfrm>
            <a:prstGeom prst="rect">
              <a:avLst/>
            </a:prstGeom>
          </p:spPr>
        </p:pic>
      </p:grpSp>
      <p:grpSp>
        <p:nvGrpSpPr>
          <p:cNvPr id="140" name="Группа 139"/>
          <p:cNvGrpSpPr/>
          <p:nvPr/>
        </p:nvGrpSpPr>
        <p:grpSpPr>
          <a:xfrm>
            <a:off x="8101727" y="4613856"/>
            <a:ext cx="2656471" cy="1964220"/>
            <a:chOff x="8064403" y="555045"/>
            <a:chExt cx="2656471" cy="1964220"/>
          </a:xfrm>
        </p:grpSpPr>
        <p:sp>
          <p:nvSpPr>
            <p:cNvPr id="141" name="Прямоугольник 140"/>
            <p:cNvSpPr/>
            <p:nvPr/>
          </p:nvSpPr>
          <p:spPr>
            <a:xfrm>
              <a:off x="8064403" y="845426"/>
              <a:ext cx="2656471" cy="1673839"/>
            </a:xfrm>
            <a:prstGeom prst="rect">
              <a:avLst/>
            </a:prstGeom>
            <a:noFill/>
            <a:ln w="9525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16F032F1-DB98-4345-BF38-449BAE4553C3}"/>
                </a:ext>
              </a:extLst>
            </p:cNvPr>
            <p:cNvSpPr txBox="1"/>
            <p:nvPr/>
          </p:nvSpPr>
          <p:spPr>
            <a:xfrm>
              <a:off x="8064403" y="555045"/>
              <a:ext cx="2656471" cy="290646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>
              <a:solidFill>
                <a:schemeClr val="bg2">
                  <a:lumMod val="60000"/>
                  <a:lumOff val="40000"/>
                </a:schemeClr>
              </a:solidFill>
            </a:ln>
          </p:spPr>
          <p:txBody>
            <a:bodyPr wrap="square" lIns="72000" tIns="0" rIns="0" bIns="0" rtlCol="0" anchor="ctr" anchorCtr="0">
              <a:noAutofit/>
            </a:bodyPr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r>
                <a:rPr lang="ru-RU" sz="1200" b="1" dirty="0">
                  <a:solidFill>
                    <a:schemeClr val="tx1"/>
                  </a:solidFill>
                  <a:latin typeface="+mn-lt"/>
                  <a:cs typeface="Segoe UI Semibold" panose="020B0702040204020203" pitchFamily="34" charset="0"/>
                </a:rPr>
                <a:t>КОРПОРАЦИЯ</a:t>
              </a:r>
              <a:r>
                <a:rPr lang="en-US" sz="1200" b="1" dirty="0">
                  <a:solidFill>
                    <a:schemeClr val="tx1"/>
                  </a:solidFill>
                  <a:latin typeface="+mn-lt"/>
                  <a:cs typeface="Segoe UI Semibold" panose="020B0702040204020203" pitchFamily="34" charset="0"/>
                </a:rPr>
                <a:t> N</a:t>
              </a:r>
              <a:r>
                <a:rPr lang="ru-RU" sz="1200" b="1" dirty="0">
                  <a:solidFill>
                    <a:schemeClr val="tx1"/>
                  </a:solidFill>
                  <a:latin typeface="+mn-lt"/>
                  <a:cs typeface="Segoe UI Semibold" panose="020B0702040204020203" pitchFamily="34" charset="0"/>
                </a:rPr>
                <a:t> </a:t>
              </a:r>
            </a:p>
          </p:txBody>
        </p:sp>
        <p:pic>
          <p:nvPicPr>
            <p:cNvPr id="143" name="Рисунок 14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63169" y="898162"/>
              <a:ext cx="2243101" cy="149371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00786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3">
            <a:extLst>
              <a:ext uri="{FF2B5EF4-FFF2-40B4-BE49-F238E27FC236}">
                <a16:creationId xmlns:a16="http://schemas.microsoft.com/office/drawing/2014/main" id="{AB4CCE72-D79B-49AD-9FAB-B8EBC4DF35E8}"/>
              </a:ext>
            </a:extLst>
          </p:cNvPr>
          <p:cNvSpPr/>
          <p:nvPr/>
        </p:nvSpPr>
        <p:spPr>
          <a:xfrm>
            <a:off x="6087653" y="1603200"/>
            <a:ext cx="1768763" cy="1768763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1905000 h 1905000"/>
              <a:gd name="connsiteX2" fmla="*/ 0 w 1905000"/>
              <a:gd name="connsiteY2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cubicBezTo>
                  <a:pt x="1052102" y="0"/>
                  <a:pt x="1905000" y="852898"/>
                  <a:pt x="1905000" y="1905000"/>
                </a:cubicBezTo>
                <a:lnTo>
                  <a:pt x="0" y="1905000"/>
                </a:lnTo>
                <a:close/>
              </a:path>
            </a:pathLst>
          </a:custGeom>
          <a:solidFill>
            <a:srgbClr val="FF2649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4000" bIns="381000" rtlCol="0" anchor="b"/>
          <a:lstStyle/>
          <a:p>
            <a:r>
              <a:rPr lang="ru-RU" b="1" dirty="0">
                <a:solidFill>
                  <a:schemeClr val="bg1"/>
                </a:solidFill>
                <a:ea typeface="Roboto Light" charset="0"/>
                <a:cs typeface="Roboto Light" charset="0"/>
              </a:rPr>
              <a:t>ДАННЫЕ</a:t>
            </a:r>
            <a:endParaRPr lang="en-US" b="1" dirty="0">
              <a:solidFill>
                <a:schemeClr val="bg1"/>
              </a:solidFill>
              <a:ea typeface="Roboto Light" charset="0"/>
              <a:cs typeface="Roboto Light" charset="0"/>
            </a:endParaRPr>
          </a:p>
        </p:txBody>
      </p:sp>
      <p:sp>
        <p:nvSpPr>
          <p:cNvPr id="25" name="Freeform 4">
            <a:extLst>
              <a:ext uri="{FF2B5EF4-FFF2-40B4-BE49-F238E27FC236}">
                <a16:creationId xmlns:a16="http://schemas.microsoft.com/office/drawing/2014/main" id="{2BFD0D33-0296-4056-BCAD-B6CC527B68CE}"/>
              </a:ext>
            </a:extLst>
          </p:cNvPr>
          <p:cNvSpPr/>
          <p:nvPr/>
        </p:nvSpPr>
        <p:spPr>
          <a:xfrm>
            <a:off x="4242290" y="3448563"/>
            <a:ext cx="1768763" cy="1768763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cubicBezTo>
                  <a:pt x="852898" y="1905000"/>
                  <a:pt x="0" y="1052102"/>
                  <a:pt x="0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81000" rIns="254000" rtlCol="0" anchor="t"/>
          <a:lstStyle/>
          <a:p>
            <a:pPr algn="r"/>
            <a:r>
              <a:rPr lang="ru-RU" b="1" dirty="0">
                <a:solidFill>
                  <a:schemeClr val="bg2"/>
                </a:solidFill>
                <a:ea typeface="Roboto Light" charset="0"/>
                <a:cs typeface="Roboto Light" charset="0"/>
              </a:rPr>
              <a:t>ПРОЦЕССЫ</a:t>
            </a:r>
            <a:endParaRPr lang="en-US" b="1" dirty="0">
              <a:solidFill>
                <a:schemeClr val="bg2"/>
              </a:solidFill>
              <a:ea typeface="Roboto Light" charset="0"/>
              <a:cs typeface="Roboto Light" charset="0"/>
            </a:endParaRPr>
          </a:p>
        </p:txBody>
      </p:sp>
      <p:sp>
        <p:nvSpPr>
          <p:cNvPr id="26" name="Freeform 5">
            <a:extLst>
              <a:ext uri="{FF2B5EF4-FFF2-40B4-BE49-F238E27FC236}">
                <a16:creationId xmlns:a16="http://schemas.microsoft.com/office/drawing/2014/main" id="{471E4F6C-4A00-45D5-91C5-4D951E1E69A0}"/>
              </a:ext>
            </a:extLst>
          </p:cNvPr>
          <p:cNvSpPr/>
          <p:nvPr/>
        </p:nvSpPr>
        <p:spPr>
          <a:xfrm>
            <a:off x="6087653" y="3448563"/>
            <a:ext cx="1768763" cy="1768763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0 w 1905000"/>
              <a:gd name="connsiteY2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cubicBezTo>
                  <a:pt x="1905000" y="1052102"/>
                  <a:pt x="1052102" y="1905000"/>
                  <a:pt x="0" y="190500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4000" tIns="381000" bIns="381000" rtlCol="0" anchor="t"/>
          <a:lstStyle/>
          <a:p>
            <a:r>
              <a:rPr lang="ru-RU" b="1" dirty="0">
                <a:solidFill>
                  <a:schemeClr val="bg2"/>
                </a:solidFill>
                <a:ea typeface="Roboto Light" charset="0"/>
                <a:cs typeface="Roboto Light" charset="0"/>
              </a:rPr>
              <a:t>КАДРЫ, КУЛЬТУРА</a:t>
            </a:r>
            <a:endParaRPr lang="en-US" b="1" dirty="0">
              <a:solidFill>
                <a:schemeClr val="bg2"/>
              </a:solidFill>
              <a:ea typeface="Roboto Light" charset="0"/>
              <a:cs typeface="Roboto Light" charset="0"/>
            </a:endParaRPr>
          </a:p>
        </p:txBody>
      </p:sp>
      <p:sp>
        <p:nvSpPr>
          <p:cNvPr id="27" name="Freeform 2">
            <a:extLst>
              <a:ext uri="{FF2B5EF4-FFF2-40B4-BE49-F238E27FC236}">
                <a16:creationId xmlns:a16="http://schemas.microsoft.com/office/drawing/2014/main" id="{9F8BEA46-D0C7-4BA6-88E2-80A0B610E7CA}"/>
              </a:ext>
            </a:extLst>
          </p:cNvPr>
          <p:cNvSpPr>
            <a:spLocks/>
          </p:cNvSpPr>
          <p:nvPr/>
        </p:nvSpPr>
        <p:spPr>
          <a:xfrm>
            <a:off x="4242290" y="1603200"/>
            <a:ext cx="1768763" cy="1768763"/>
          </a:xfrm>
          <a:custGeom>
            <a:avLst/>
            <a:gdLst>
              <a:gd name="connsiteX0" fmla="*/ 1905000 w 1905000"/>
              <a:gd name="connsiteY0" fmla="*/ 0 h 1905000"/>
              <a:gd name="connsiteX1" fmla="*/ 1905000 w 1905000"/>
              <a:gd name="connsiteY1" fmla="*/ 1905000 h 1905000"/>
              <a:gd name="connsiteX2" fmla="*/ 0 w 1905000"/>
              <a:gd name="connsiteY2" fmla="*/ 1905000 h 1905000"/>
              <a:gd name="connsiteX3" fmla="*/ 1905000 w 1905000"/>
              <a:gd name="connsiteY3" fmla="*/ 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1905000" y="0"/>
                </a:moveTo>
                <a:lnTo>
                  <a:pt x="1905000" y="1905000"/>
                </a:lnTo>
                <a:lnTo>
                  <a:pt x="0" y="1905000"/>
                </a:lnTo>
                <a:cubicBezTo>
                  <a:pt x="0" y="852898"/>
                  <a:pt x="852898" y="0"/>
                  <a:pt x="1905000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254000" bIns="381000" rtlCol="0" anchor="b"/>
          <a:lstStyle/>
          <a:p>
            <a:pPr algn="r"/>
            <a:r>
              <a:rPr lang="ru-RU" b="1" dirty="0">
                <a:solidFill>
                  <a:schemeClr val="bg2"/>
                </a:solidFill>
                <a:ea typeface="Roboto Light" charset="0"/>
                <a:cs typeface="Roboto Light" charset="0"/>
              </a:rPr>
              <a:t>ТЕХНОЛОГИИ</a:t>
            </a:r>
            <a:endParaRPr lang="en-US" b="1" dirty="0">
              <a:solidFill>
                <a:schemeClr val="bg2"/>
              </a:solidFill>
              <a:ea typeface="Roboto Light" charset="0"/>
              <a:cs typeface="Roboto Light" charset="0"/>
            </a:endParaRPr>
          </a:p>
        </p:txBody>
      </p: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2F25CFDF-790E-46D8-AF04-BA70097308DA}"/>
              </a:ext>
            </a:extLst>
          </p:cNvPr>
          <p:cNvGrpSpPr/>
          <p:nvPr/>
        </p:nvGrpSpPr>
        <p:grpSpPr>
          <a:xfrm>
            <a:off x="5042286" y="4370166"/>
            <a:ext cx="483785" cy="332089"/>
            <a:chOff x="3978276" y="1422401"/>
            <a:chExt cx="749301" cy="514350"/>
          </a:xfrm>
          <a:solidFill>
            <a:schemeClr val="bg2"/>
          </a:solidFill>
        </p:grpSpPr>
        <p:sp>
          <p:nvSpPr>
            <p:cNvPr id="29" name="Freeform 280">
              <a:extLst>
                <a:ext uri="{FF2B5EF4-FFF2-40B4-BE49-F238E27FC236}">
                  <a16:creationId xmlns:a16="http://schemas.microsoft.com/office/drawing/2014/main" id="{7CE0D451-532B-4D95-830A-90B8361DCF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78276" y="1422401"/>
              <a:ext cx="349250" cy="346075"/>
            </a:xfrm>
            <a:custGeom>
              <a:avLst/>
              <a:gdLst>
                <a:gd name="T0" fmla="*/ 92 w 151"/>
                <a:gd name="T1" fmla="*/ 147 h 149"/>
                <a:gd name="T2" fmla="*/ 63 w 151"/>
                <a:gd name="T3" fmla="*/ 131 h 149"/>
                <a:gd name="T4" fmla="*/ 52 w 151"/>
                <a:gd name="T5" fmla="*/ 148 h 149"/>
                <a:gd name="T6" fmla="*/ 34 w 151"/>
                <a:gd name="T7" fmla="*/ 140 h 149"/>
                <a:gd name="T8" fmla="*/ 41 w 151"/>
                <a:gd name="T9" fmla="*/ 122 h 149"/>
                <a:gd name="T10" fmla="*/ 10 w 151"/>
                <a:gd name="T11" fmla="*/ 111 h 149"/>
                <a:gd name="T12" fmla="*/ 0 w 151"/>
                <a:gd name="T13" fmla="*/ 92 h 149"/>
                <a:gd name="T14" fmla="*/ 2 w 151"/>
                <a:gd name="T15" fmla="*/ 89 h 149"/>
                <a:gd name="T16" fmla="*/ 18 w 151"/>
                <a:gd name="T17" fmla="*/ 62 h 149"/>
                <a:gd name="T18" fmla="*/ 1 w 151"/>
                <a:gd name="T19" fmla="*/ 51 h 149"/>
                <a:gd name="T20" fmla="*/ 10 w 151"/>
                <a:gd name="T21" fmla="*/ 34 h 149"/>
                <a:gd name="T22" fmla="*/ 28 w 151"/>
                <a:gd name="T23" fmla="*/ 41 h 149"/>
                <a:gd name="T24" fmla="*/ 36 w 151"/>
                <a:gd name="T25" fmla="*/ 11 h 149"/>
                <a:gd name="T26" fmla="*/ 38 w 151"/>
                <a:gd name="T27" fmla="*/ 7 h 149"/>
                <a:gd name="T28" fmla="*/ 58 w 151"/>
                <a:gd name="T29" fmla="*/ 2 h 149"/>
                <a:gd name="T30" fmla="*/ 88 w 151"/>
                <a:gd name="T31" fmla="*/ 18 h 149"/>
                <a:gd name="T32" fmla="*/ 98 w 151"/>
                <a:gd name="T33" fmla="*/ 1 h 149"/>
                <a:gd name="T34" fmla="*/ 116 w 151"/>
                <a:gd name="T35" fmla="*/ 10 h 149"/>
                <a:gd name="T36" fmla="*/ 109 w 151"/>
                <a:gd name="T37" fmla="*/ 28 h 149"/>
                <a:gd name="T38" fmla="*/ 141 w 151"/>
                <a:gd name="T39" fmla="*/ 39 h 149"/>
                <a:gd name="T40" fmla="*/ 150 w 151"/>
                <a:gd name="T41" fmla="*/ 57 h 149"/>
                <a:gd name="T42" fmla="*/ 148 w 151"/>
                <a:gd name="T43" fmla="*/ 61 h 149"/>
                <a:gd name="T44" fmla="*/ 132 w 151"/>
                <a:gd name="T45" fmla="*/ 87 h 149"/>
                <a:gd name="T46" fmla="*/ 149 w 151"/>
                <a:gd name="T47" fmla="*/ 96 h 149"/>
                <a:gd name="T48" fmla="*/ 142 w 151"/>
                <a:gd name="T49" fmla="*/ 114 h 149"/>
                <a:gd name="T50" fmla="*/ 122 w 151"/>
                <a:gd name="T51" fmla="*/ 109 h 149"/>
                <a:gd name="T52" fmla="*/ 114 w 151"/>
                <a:gd name="T53" fmla="*/ 139 h 149"/>
                <a:gd name="T54" fmla="*/ 112 w 151"/>
                <a:gd name="T55" fmla="*/ 143 h 149"/>
                <a:gd name="T56" fmla="*/ 95 w 151"/>
                <a:gd name="T57" fmla="*/ 149 h 149"/>
                <a:gd name="T58" fmla="*/ 90 w 151"/>
                <a:gd name="T59" fmla="*/ 127 h 149"/>
                <a:gd name="T60" fmla="*/ 107 w 151"/>
                <a:gd name="T61" fmla="*/ 138 h 149"/>
                <a:gd name="T62" fmla="*/ 102 w 151"/>
                <a:gd name="T63" fmla="*/ 119 h 149"/>
                <a:gd name="T64" fmla="*/ 122 w 151"/>
                <a:gd name="T65" fmla="*/ 102 h 149"/>
                <a:gd name="T66" fmla="*/ 142 w 151"/>
                <a:gd name="T67" fmla="*/ 98 h 149"/>
                <a:gd name="T68" fmla="*/ 125 w 151"/>
                <a:gd name="T69" fmla="*/ 88 h 149"/>
                <a:gd name="T70" fmla="*/ 128 w 151"/>
                <a:gd name="T71" fmla="*/ 62 h 149"/>
                <a:gd name="T72" fmla="*/ 140 w 151"/>
                <a:gd name="T73" fmla="*/ 45 h 149"/>
                <a:gd name="T74" fmla="*/ 121 w 151"/>
                <a:gd name="T75" fmla="*/ 50 h 149"/>
                <a:gd name="T76" fmla="*/ 102 w 151"/>
                <a:gd name="T77" fmla="*/ 27 h 149"/>
                <a:gd name="T78" fmla="*/ 99 w 151"/>
                <a:gd name="T79" fmla="*/ 8 h 149"/>
                <a:gd name="T80" fmla="*/ 89 w 151"/>
                <a:gd name="T81" fmla="*/ 24 h 149"/>
                <a:gd name="T82" fmla="*/ 60 w 151"/>
                <a:gd name="T83" fmla="*/ 22 h 149"/>
                <a:gd name="T84" fmla="*/ 43 w 151"/>
                <a:gd name="T85" fmla="*/ 11 h 149"/>
                <a:gd name="T86" fmla="*/ 48 w 151"/>
                <a:gd name="T87" fmla="*/ 30 h 149"/>
                <a:gd name="T88" fmla="*/ 28 w 151"/>
                <a:gd name="T89" fmla="*/ 47 h 149"/>
                <a:gd name="T90" fmla="*/ 8 w 151"/>
                <a:gd name="T91" fmla="*/ 51 h 149"/>
                <a:gd name="T92" fmla="*/ 25 w 151"/>
                <a:gd name="T93" fmla="*/ 61 h 149"/>
                <a:gd name="T94" fmla="*/ 22 w 151"/>
                <a:gd name="T95" fmla="*/ 88 h 149"/>
                <a:gd name="T96" fmla="*/ 10 w 151"/>
                <a:gd name="T97" fmla="*/ 104 h 149"/>
                <a:gd name="T98" fmla="*/ 29 w 151"/>
                <a:gd name="T99" fmla="*/ 100 h 149"/>
                <a:gd name="T100" fmla="*/ 48 w 151"/>
                <a:gd name="T101" fmla="*/ 122 h 149"/>
                <a:gd name="T102" fmla="*/ 51 w 151"/>
                <a:gd name="T103" fmla="*/ 142 h 149"/>
                <a:gd name="T104" fmla="*/ 62 w 151"/>
                <a:gd name="T105" fmla="*/ 125 h 149"/>
                <a:gd name="T106" fmla="*/ 87 w 151"/>
                <a:gd name="T107" fmla="*/ 125 h 149"/>
                <a:gd name="T108" fmla="*/ 68 w 151"/>
                <a:gd name="T109" fmla="*/ 106 h 149"/>
                <a:gd name="T110" fmla="*/ 44 w 151"/>
                <a:gd name="T111" fmla="*/ 67 h 149"/>
                <a:gd name="T112" fmla="*/ 82 w 151"/>
                <a:gd name="T113" fmla="*/ 43 h 149"/>
                <a:gd name="T114" fmla="*/ 106 w 151"/>
                <a:gd name="T115" fmla="*/ 82 h 149"/>
                <a:gd name="T116" fmla="*/ 69 w 151"/>
                <a:gd name="T117" fmla="*/ 100 h 149"/>
                <a:gd name="T118" fmla="*/ 101 w 151"/>
                <a:gd name="T119" fmla="*/ 81 h 149"/>
                <a:gd name="T120" fmla="*/ 81 w 151"/>
                <a:gd name="T121" fmla="*/ 49 h 149"/>
                <a:gd name="T122" fmla="*/ 49 w 151"/>
                <a:gd name="T123" fmla="*/ 6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" h="149">
                  <a:moveTo>
                    <a:pt x="95" y="149"/>
                  </a:moveTo>
                  <a:cubicBezTo>
                    <a:pt x="94" y="149"/>
                    <a:pt x="92" y="149"/>
                    <a:pt x="92" y="147"/>
                  </a:cubicBezTo>
                  <a:cubicBezTo>
                    <a:pt x="86" y="132"/>
                    <a:pt x="86" y="132"/>
                    <a:pt x="86" y="132"/>
                  </a:cubicBezTo>
                  <a:cubicBezTo>
                    <a:pt x="78" y="133"/>
                    <a:pt x="70" y="133"/>
                    <a:pt x="63" y="131"/>
                  </a:cubicBezTo>
                  <a:cubicBezTo>
                    <a:pt x="56" y="147"/>
                    <a:pt x="56" y="147"/>
                    <a:pt x="56" y="147"/>
                  </a:cubicBezTo>
                  <a:cubicBezTo>
                    <a:pt x="55" y="148"/>
                    <a:pt x="53" y="149"/>
                    <a:pt x="52" y="148"/>
                  </a:cubicBezTo>
                  <a:cubicBezTo>
                    <a:pt x="36" y="141"/>
                    <a:pt x="36" y="141"/>
                    <a:pt x="36" y="141"/>
                  </a:cubicBezTo>
                  <a:cubicBezTo>
                    <a:pt x="35" y="141"/>
                    <a:pt x="35" y="140"/>
                    <a:pt x="34" y="140"/>
                  </a:cubicBezTo>
                  <a:cubicBezTo>
                    <a:pt x="34" y="139"/>
                    <a:pt x="34" y="138"/>
                    <a:pt x="34" y="137"/>
                  </a:cubicBezTo>
                  <a:cubicBezTo>
                    <a:pt x="41" y="122"/>
                    <a:pt x="41" y="122"/>
                    <a:pt x="41" y="122"/>
                  </a:cubicBezTo>
                  <a:cubicBezTo>
                    <a:pt x="35" y="117"/>
                    <a:pt x="30" y="112"/>
                    <a:pt x="26" y="105"/>
                  </a:cubicBezTo>
                  <a:cubicBezTo>
                    <a:pt x="10" y="111"/>
                    <a:pt x="10" y="111"/>
                    <a:pt x="10" y="111"/>
                  </a:cubicBezTo>
                  <a:cubicBezTo>
                    <a:pt x="8" y="111"/>
                    <a:pt x="6" y="110"/>
                    <a:pt x="6" y="109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2"/>
                    <a:pt x="0" y="91"/>
                    <a:pt x="0" y="90"/>
                  </a:cubicBezTo>
                  <a:cubicBezTo>
                    <a:pt x="0" y="89"/>
                    <a:pt x="1" y="89"/>
                    <a:pt x="2" y="89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7" y="76"/>
                    <a:pt x="17" y="69"/>
                    <a:pt x="18" y="62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5"/>
                    <a:pt x="1" y="53"/>
                    <a:pt x="1" y="51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9" y="35"/>
                    <a:pt x="9" y="34"/>
                    <a:pt x="10" y="34"/>
                  </a:cubicBezTo>
                  <a:cubicBezTo>
                    <a:pt x="11" y="34"/>
                    <a:pt x="12" y="34"/>
                    <a:pt x="12" y="34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32" y="35"/>
                    <a:pt x="37" y="30"/>
                    <a:pt x="43" y="26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0"/>
                    <a:pt x="36" y="9"/>
                    <a:pt x="36" y="8"/>
                  </a:cubicBezTo>
                  <a:cubicBezTo>
                    <a:pt x="37" y="8"/>
                    <a:pt x="37" y="7"/>
                    <a:pt x="38" y="7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6" y="0"/>
                    <a:pt x="57" y="0"/>
                    <a:pt x="58" y="2"/>
                  </a:cubicBezTo>
                  <a:cubicBezTo>
                    <a:pt x="65" y="18"/>
                    <a:pt x="65" y="18"/>
                    <a:pt x="65" y="18"/>
                  </a:cubicBezTo>
                  <a:cubicBezTo>
                    <a:pt x="72" y="16"/>
                    <a:pt x="80" y="16"/>
                    <a:pt x="88" y="18"/>
                  </a:cubicBezTo>
                  <a:cubicBezTo>
                    <a:pt x="95" y="2"/>
                    <a:pt x="95" y="2"/>
                    <a:pt x="95" y="2"/>
                  </a:cubicBezTo>
                  <a:cubicBezTo>
                    <a:pt x="95" y="1"/>
                    <a:pt x="97" y="0"/>
                    <a:pt x="98" y="1"/>
                  </a:cubicBezTo>
                  <a:cubicBezTo>
                    <a:pt x="114" y="8"/>
                    <a:pt x="114" y="8"/>
                    <a:pt x="114" y="8"/>
                  </a:cubicBezTo>
                  <a:cubicBezTo>
                    <a:pt x="115" y="8"/>
                    <a:pt x="116" y="9"/>
                    <a:pt x="116" y="10"/>
                  </a:cubicBezTo>
                  <a:cubicBezTo>
                    <a:pt x="116" y="10"/>
                    <a:pt x="116" y="11"/>
                    <a:pt x="116" y="12"/>
                  </a:cubicBezTo>
                  <a:cubicBezTo>
                    <a:pt x="109" y="28"/>
                    <a:pt x="109" y="28"/>
                    <a:pt x="109" y="28"/>
                  </a:cubicBezTo>
                  <a:cubicBezTo>
                    <a:pt x="115" y="32"/>
                    <a:pt x="121" y="38"/>
                    <a:pt x="125" y="44"/>
                  </a:cubicBezTo>
                  <a:cubicBezTo>
                    <a:pt x="141" y="39"/>
                    <a:pt x="141" y="39"/>
                    <a:pt x="141" y="39"/>
                  </a:cubicBezTo>
                  <a:cubicBezTo>
                    <a:pt x="142" y="38"/>
                    <a:pt x="144" y="39"/>
                    <a:pt x="144" y="41"/>
                  </a:cubicBezTo>
                  <a:cubicBezTo>
                    <a:pt x="150" y="57"/>
                    <a:pt x="150" y="57"/>
                    <a:pt x="150" y="57"/>
                  </a:cubicBezTo>
                  <a:cubicBezTo>
                    <a:pt x="151" y="58"/>
                    <a:pt x="151" y="58"/>
                    <a:pt x="150" y="59"/>
                  </a:cubicBezTo>
                  <a:cubicBezTo>
                    <a:pt x="150" y="60"/>
                    <a:pt x="149" y="60"/>
                    <a:pt x="148" y="61"/>
                  </a:cubicBezTo>
                  <a:cubicBezTo>
                    <a:pt x="132" y="66"/>
                    <a:pt x="132" y="66"/>
                    <a:pt x="132" y="66"/>
                  </a:cubicBezTo>
                  <a:cubicBezTo>
                    <a:pt x="133" y="73"/>
                    <a:pt x="133" y="80"/>
                    <a:pt x="132" y="87"/>
                  </a:cubicBezTo>
                  <a:cubicBezTo>
                    <a:pt x="147" y="94"/>
                    <a:pt x="147" y="94"/>
                    <a:pt x="147" y="94"/>
                  </a:cubicBezTo>
                  <a:cubicBezTo>
                    <a:pt x="148" y="94"/>
                    <a:pt x="149" y="95"/>
                    <a:pt x="149" y="96"/>
                  </a:cubicBezTo>
                  <a:cubicBezTo>
                    <a:pt x="149" y="97"/>
                    <a:pt x="149" y="97"/>
                    <a:pt x="149" y="98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1" y="115"/>
                    <a:pt x="139" y="116"/>
                    <a:pt x="138" y="115"/>
                  </a:cubicBezTo>
                  <a:cubicBezTo>
                    <a:pt x="122" y="109"/>
                    <a:pt x="122" y="109"/>
                    <a:pt x="122" y="109"/>
                  </a:cubicBezTo>
                  <a:cubicBezTo>
                    <a:pt x="118" y="114"/>
                    <a:pt x="113" y="119"/>
                    <a:pt x="107" y="123"/>
                  </a:cubicBezTo>
                  <a:cubicBezTo>
                    <a:pt x="114" y="139"/>
                    <a:pt x="114" y="139"/>
                    <a:pt x="114" y="139"/>
                  </a:cubicBezTo>
                  <a:cubicBezTo>
                    <a:pt x="114" y="139"/>
                    <a:pt x="114" y="140"/>
                    <a:pt x="114" y="141"/>
                  </a:cubicBezTo>
                  <a:cubicBezTo>
                    <a:pt x="113" y="142"/>
                    <a:pt x="113" y="142"/>
                    <a:pt x="112" y="143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6" y="149"/>
                    <a:pt x="95" y="149"/>
                    <a:pt x="95" y="149"/>
                  </a:cubicBezTo>
                  <a:close/>
                  <a:moveTo>
                    <a:pt x="87" y="125"/>
                  </a:moveTo>
                  <a:cubicBezTo>
                    <a:pt x="89" y="125"/>
                    <a:pt x="90" y="126"/>
                    <a:pt x="90" y="127"/>
                  </a:cubicBezTo>
                  <a:cubicBezTo>
                    <a:pt x="96" y="142"/>
                    <a:pt x="96" y="142"/>
                    <a:pt x="96" y="142"/>
                  </a:cubicBezTo>
                  <a:cubicBezTo>
                    <a:pt x="107" y="138"/>
                    <a:pt x="107" y="138"/>
                    <a:pt x="107" y="138"/>
                  </a:cubicBezTo>
                  <a:cubicBezTo>
                    <a:pt x="101" y="123"/>
                    <a:pt x="101" y="123"/>
                    <a:pt x="101" y="123"/>
                  </a:cubicBezTo>
                  <a:cubicBezTo>
                    <a:pt x="100" y="121"/>
                    <a:pt x="101" y="120"/>
                    <a:pt x="102" y="119"/>
                  </a:cubicBezTo>
                  <a:cubicBezTo>
                    <a:pt x="109" y="115"/>
                    <a:pt x="114" y="110"/>
                    <a:pt x="119" y="103"/>
                  </a:cubicBezTo>
                  <a:cubicBezTo>
                    <a:pt x="119" y="102"/>
                    <a:pt x="121" y="101"/>
                    <a:pt x="122" y="102"/>
                  </a:cubicBezTo>
                  <a:cubicBezTo>
                    <a:pt x="137" y="109"/>
                    <a:pt x="137" y="109"/>
                    <a:pt x="137" y="109"/>
                  </a:cubicBezTo>
                  <a:cubicBezTo>
                    <a:pt x="142" y="98"/>
                    <a:pt x="142" y="98"/>
                    <a:pt x="142" y="98"/>
                  </a:cubicBezTo>
                  <a:cubicBezTo>
                    <a:pt x="127" y="92"/>
                    <a:pt x="127" y="92"/>
                    <a:pt x="127" y="92"/>
                  </a:cubicBezTo>
                  <a:cubicBezTo>
                    <a:pt x="126" y="91"/>
                    <a:pt x="125" y="90"/>
                    <a:pt x="125" y="88"/>
                  </a:cubicBezTo>
                  <a:cubicBezTo>
                    <a:pt x="127" y="81"/>
                    <a:pt x="128" y="73"/>
                    <a:pt x="126" y="65"/>
                  </a:cubicBezTo>
                  <a:cubicBezTo>
                    <a:pt x="126" y="64"/>
                    <a:pt x="127" y="62"/>
                    <a:pt x="128" y="62"/>
                  </a:cubicBezTo>
                  <a:cubicBezTo>
                    <a:pt x="144" y="56"/>
                    <a:pt x="144" y="56"/>
                    <a:pt x="144" y="56"/>
                  </a:cubicBezTo>
                  <a:cubicBezTo>
                    <a:pt x="140" y="45"/>
                    <a:pt x="140" y="45"/>
                    <a:pt x="140" y="45"/>
                  </a:cubicBezTo>
                  <a:cubicBezTo>
                    <a:pt x="124" y="51"/>
                    <a:pt x="124" y="51"/>
                    <a:pt x="124" y="51"/>
                  </a:cubicBezTo>
                  <a:cubicBezTo>
                    <a:pt x="123" y="51"/>
                    <a:pt x="121" y="51"/>
                    <a:pt x="121" y="50"/>
                  </a:cubicBezTo>
                  <a:cubicBezTo>
                    <a:pt x="116" y="42"/>
                    <a:pt x="111" y="36"/>
                    <a:pt x="103" y="31"/>
                  </a:cubicBezTo>
                  <a:cubicBezTo>
                    <a:pt x="102" y="30"/>
                    <a:pt x="102" y="29"/>
                    <a:pt x="102" y="27"/>
                  </a:cubicBezTo>
                  <a:cubicBezTo>
                    <a:pt x="109" y="12"/>
                    <a:pt x="109" y="12"/>
                    <a:pt x="109" y="12"/>
                  </a:cubicBezTo>
                  <a:cubicBezTo>
                    <a:pt x="99" y="8"/>
                    <a:pt x="99" y="8"/>
                    <a:pt x="99" y="8"/>
                  </a:cubicBezTo>
                  <a:cubicBezTo>
                    <a:pt x="92" y="23"/>
                    <a:pt x="92" y="23"/>
                    <a:pt x="92" y="23"/>
                  </a:cubicBezTo>
                  <a:cubicBezTo>
                    <a:pt x="91" y="24"/>
                    <a:pt x="90" y="25"/>
                    <a:pt x="89" y="24"/>
                  </a:cubicBezTo>
                  <a:cubicBezTo>
                    <a:pt x="80" y="22"/>
                    <a:pt x="72" y="22"/>
                    <a:pt x="63" y="24"/>
                  </a:cubicBezTo>
                  <a:cubicBezTo>
                    <a:pt x="62" y="24"/>
                    <a:pt x="60" y="24"/>
                    <a:pt x="60" y="22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0" y="28"/>
                    <a:pt x="49" y="29"/>
                    <a:pt x="48" y="30"/>
                  </a:cubicBezTo>
                  <a:cubicBezTo>
                    <a:pt x="41" y="34"/>
                    <a:pt x="36" y="40"/>
                    <a:pt x="32" y="46"/>
                  </a:cubicBezTo>
                  <a:cubicBezTo>
                    <a:pt x="31" y="47"/>
                    <a:pt x="29" y="48"/>
                    <a:pt x="28" y="47"/>
                  </a:cubicBezTo>
                  <a:cubicBezTo>
                    <a:pt x="13" y="41"/>
                    <a:pt x="13" y="41"/>
                    <a:pt x="13" y="4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4" y="58"/>
                    <a:pt x="25" y="60"/>
                    <a:pt x="25" y="61"/>
                  </a:cubicBezTo>
                  <a:cubicBezTo>
                    <a:pt x="23" y="69"/>
                    <a:pt x="22" y="77"/>
                    <a:pt x="24" y="84"/>
                  </a:cubicBezTo>
                  <a:cubicBezTo>
                    <a:pt x="24" y="86"/>
                    <a:pt x="23" y="87"/>
                    <a:pt x="22" y="88"/>
                  </a:cubicBezTo>
                  <a:cubicBezTo>
                    <a:pt x="6" y="93"/>
                    <a:pt x="6" y="93"/>
                    <a:pt x="6" y="93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26" y="98"/>
                    <a:pt x="26" y="98"/>
                    <a:pt x="26" y="98"/>
                  </a:cubicBezTo>
                  <a:cubicBezTo>
                    <a:pt x="27" y="98"/>
                    <a:pt x="29" y="98"/>
                    <a:pt x="29" y="100"/>
                  </a:cubicBezTo>
                  <a:cubicBezTo>
                    <a:pt x="34" y="107"/>
                    <a:pt x="40" y="114"/>
                    <a:pt x="47" y="118"/>
                  </a:cubicBezTo>
                  <a:cubicBezTo>
                    <a:pt x="48" y="119"/>
                    <a:pt x="48" y="121"/>
                    <a:pt x="48" y="122"/>
                  </a:cubicBezTo>
                  <a:cubicBezTo>
                    <a:pt x="41" y="137"/>
                    <a:pt x="41" y="137"/>
                    <a:pt x="41" y="137"/>
                  </a:cubicBezTo>
                  <a:cubicBezTo>
                    <a:pt x="51" y="142"/>
                    <a:pt x="51" y="142"/>
                    <a:pt x="51" y="142"/>
                  </a:cubicBezTo>
                  <a:cubicBezTo>
                    <a:pt x="58" y="127"/>
                    <a:pt x="58" y="127"/>
                    <a:pt x="58" y="127"/>
                  </a:cubicBezTo>
                  <a:cubicBezTo>
                    <a:pt x="59" y="125"/>
                    <a:pt x="60" y="125"/>
                    <a:pt x="62" y="125"/>
                  </a:cubicBezTo>
                  <a:cubicBezTo>
                    <a:pt x="70" y="127"/>
                    <a:pt x="79" y="127"/>
                    <a:pt x="87" y="125"/>
                  </a:cubicBezTo>
                  <a:cubicBezTo>
                    <a:pt x="87" y="125"/>
                    <a:pt x="87" y="125"/>
                    <a:pt x="87" y="125"/>
                  </a:cubicBezTo>
                  <a:close/>
                  <a:moveTo>
                    <a:pt x="75" y="107"/>
                  </a:moveTo>
                  <a:cubicBezTo>
                    <a:pt x="73" y="107"/>
                    <a:pt x="70" y="107"/>
                    <a:pt x="68" y="106"/>
                  </a:cubicBezTo>
                  <a:cubicBezTo>
                    <a:pt x="68" y="106"/>
                    <a:pt x="68" y="106"/>
                    <a:pt x="68" y="106"/>
                  </a:cubicBezTo>
                  <a:cubicBezTo>
                    <a:pt x="50" y="102"/>
                    <a:pt x="40" y="85"/>
                    <a:pt x="44" y="67"/>
                  </a:cubicBezTo>
                  <a:cubicBezTo>
                    <a:pt x="46" y="59"/>
                    <a:pt x="51" y="52"/>
                    <a:pt x="58" y="47"/>
                  </a:cubicBezTo>
                  <a:cubicBezTo>
                    <a:pt x="65" y="43"/>
                    <a:pt x="74" y="41"/>
                    <a:pt x="82" y="43"/>
                  </a:cubicBezTo>
                  <a:cubicBezTo>
                    <a:pt x="91" y="45"/>
                    <a:pt x="98" y="50"/>
                    <a:pt x="102" y="58"/>
                  </a:cubicBezTo>
                  <a:cubicBezTo>
                    <a:pt x="107" y="65"/>
                    <a:pt x="108" y="74"/>
                    <a:pt x="106" y="82"/>
                  </a:cubicBezTo>
                  <a:cubicBezTo>
                    <a:pt x="103" y="97"/>
                    <a:pt x="90" y="107"/>
                    <a:pt x="75" y="107"/>
                  </a:cubicBezTo>
                  <a:close/>
                  <a:moveTo>
                    <a:pt x="69" y="100"/>
                  </a:moveTo>
                  <a:cubicBezTo>
                    <a:pt x="76" y="102"/>
                    <a:pt x="83" y="101"/>
                    <a:pt x="89" y="97"/>
                  </a:cubicBezTo>
                  <a:cubicBezTo>
                    <a:pt x="95" y="93"/>
                    <a:pt x="99" y="87"/>
                    <a:pt x="101" y="81"/>
                  </a:cubicBezTo>
                  <a:cubicBezTo>
                    <a:pt x="102" y="74"/>
                    <a:pt x="101" y="67"/>
                    <a:pt x="97" y="61"/>
                  </a:cubicBezTo>
                  <a:cubicBezTo>
                    <a:pt x="94" y="55"/>
                    <a:pt x="88" y="51"/>
                    <a:pt x="81" y="49"/>
                  </a:cubicBezTo>
                  <a:cubicBezTo>
                    <a:pt x="74" y="47"/>
                    <a:pt x="67" y="49"/>
                    <a:pt x="61" y="52"/>
                  </a:cubicBezTo>
                  <a:cubicBezTo>
                    <a:pt x="55" y="56"/>
                    <a:pt x="51" y="62"/>
                    <a:pt x="49" y="69"/>
                  </a:cubicBezTo>
                  <a:cubicBezTo>
                    <a:pt x="46" y="83"/>
                    <a:pt x="55" y="97"/>
                    <a:pt x="69" y="1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" name="Freeform 281">
              <a:extLst>
                <a:ext uri="{FF2B5EF4-FFF2-40B4-BE49-F238E27FC236}">
                  <a16:creationId xmlns:a16="http://schemas.microsoft.com/office/drawing/2014/main" id="{C66E8A0F-AEFF-4A92-923B-A2B36A709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1339" y="1876426"/>
              <a:ext cx="376238" cy="14288"/>
            </a:xfrm>
            <a:custGeom>
              <a:avLst/>
              <a:gdLst>
                <a:gd name="T0" fmla="*/ 159 w 162"/>
                <a:gd name="T1" fmla="*/ 6 h 6"/>
                <a:gd name="T2" fmla="*/ 3 w 162"/>
                <a:gd name="T3" fmla="*/ 6 h 6"/>
                <a:gd name="T4" fmla="*/ 0 w 162"/>
                <a:gd name="T5" fmla="*/ 3 h 6"/>
                <a:gd name="T6" fmla="*/ 3 w 162"/>
                <a:gd name="T7" fmla="*/ 0 h 6"/>
                <a:gd name="T8" fmla="*/ 159 w 162"/>
                <a:gd name="T9" fmla="*/ 0 h 6"/>
                <a:gd name="T10" fmla="*/ 162 w 162"/>
                <a:gd name="T11" fmla="*/ 3 h 6"/>
                <a:gd name="T12" fmla="*/ 159 w 162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6">
                  <a:moveTo>
                    <a:pt x="159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61" y="0"/>
                    <a:pt x="162" y="1"/>
                    <a:pt x="162" y="3"/>
                  </a:cubicBezTo>
                  <a:cubicBezTo>
                    <a:pt x="162" y="4"/>
                    <a:pt x="161" y="6"/>
                    <a:pt x="15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" name="Freeform 282">
              <a:extLst>
                <a:ext uri="{FF2B5EF4-FFF2-40B4-BE49-F238E27FC236}">
                  <a16:creationId xmlns:a16="http://schemas.microsoft.com/office/drawing/2014/main" id="{8358E2EF-25B4-4C45-B430-395DCB6E98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8439" y="1876426"/>
              <a:ext cx="263525" cy="14288"/>
            </a:xfrm>
            <a:custGeom>
              <a:avLst/>
              <a:gdLst>
                <a:gd name="T0" fmla="*/ 111 w 114"/>
                <a:gd name="T1" fmla="*/ 6 h 6"/>
                <a:gd name="T2" fmla="*/ 3 w 114"/>
                <a:gd name="T3" fmla="*/ 6 h 6"/>
                <a:gd name="T4" fmla="*/ 0 w 114"/>
                <a:gd name="T5" fmla="*/ 3 h 6"/>
                <a:gd name="T6" fmla="*/ 3 w 114"/>
                <a:gd name="T7" fmla="*/ 0 h 6"/>
                <a:gd name="T8" fmla="*/ 111 w 114"/>
                <a:gd name="T9" fmla="*/ 0 h 6"/>
                <a:gd name="T10" fmla="*/ 114 w 114"/>
                <a:gd name="T11" fmla="*/ 3 h 6"/>
                <a:gd name="T12" fmla="*/ 111 w 114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" h="6">
                  <a:moveTo>
                    <a:pt x="111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3" y="0"/>
                    <a:pt x="114" y="1"/>
                    <a:pt x="114" y="3"/>
                  </a:cubicBezTo>
                  <a:cubicBezTo>
                    <a:pt x="114" y="4"/>
                    <a:pt x="113" y="6"/>
                    <a:pt x="1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283">
              <a:extLst>
                <a:ext uri="{FF2B5EF4-FFF2-40B4-BE49-F238E27FC236}">
                  <a16:creationId xmlns:a16="http://schemas.microsoft.com/office/drawing/2014/main" id="{2CF0142D-DBFB-4384-A18F-A371EEF1BA2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251" y="1485901"/>
              <a:ext cx="60325" cy="14288"/>
            </a:xfrm>
            <a:custGeom>
              <a:avLst/>
              <a:gdLst>
                <a:gd name="T0" fmla="*/ 23 w 26"/>
                <a:gd name="T1" fmla="*/ 6 h 6"/>
                <a:gd name="T2" fmla="*/ 3 w 26"/>
                <a:gd name="T3" fmla="*/ 6 h 6"/>
                <a:gd name="T4" fmla="*/ 0 w 26"/>
                <a:gd name="T5" fmla="*/ 3 h 6"/>
                <a:gd name="T6" fmla="*/ 3 w 26"/>
                <a:gd name="T7" fmla="*/ 0 h 6"/>
                <a:gd name="T8" fmla="*/ 23 w 26"/>
                <a:gd name="T9" fmla="*/ 0 h 6"/>
                <a:gd name="T10" fmla="*/ 26 w 26"/>
                <a:gd name="T11" fmla="*/ 3 h 6"/>
                <a:gd name="T12" fmla="*/ 23 w 26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6">
                  <a:moveTo>
                    <a:pt x="23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5" y="0"/>
                    <a:pt x="26" y="1"/>
                    <a:pt x="26" y="3"/>
                  </a:cubicBezTo>
                  <a:cubicBezTo>
                    <a:pt x="26" y="4"/>
                    <a:pt x="25" y="6"/>
                    <a:pt x="2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" name="Freeform 284">
              <a:extLst>
                <a:ext uri="{FF2B5EF4-FFF2-40B4-BE49-F238E27FC236}">
                  <a16:creationId xmlns:a16="http://schemas.microsoft.com/office/drawing/2014/main" id="{5FC8E8FB-1501-47A8-8746-70FB8DACF2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0389" y="1485901"/>
              <a:ext cx="217488" cy="14288"/>
            </a:xfrm>
            <a:custGeom>
              <a:avLst/>
              <a:gdLst>
                <a:gd name="T0" fmla="*/ 91 w 94"/>
                <a:gd name="T1" fmla="*/ 6 h 6"/>
                <a:gd name="T2" fmla="*/ 3 w 94"/>
                <a:gd name="T3" fmla="*/ 6 h 6"/>
                <a:gd name="T4" fmla="*/ 0 w 94"/>
                <a:gd name="T5" fmla="*/ 3 h 6"/>
                <a:gd name="T6" fmla="*/ 3 w 94"/>
                <a:gd name="T7" fmla="*/ 0 h 6"/>
                <a:gd name="T8" fmla="*/ 91 w 94"/>
                <a:gd name="T9" fmla="*/ 0 h 6"/>
                <a:gd name="T10" fmla="*/ 94 w 94"/>
                <a:gd name="T11" fmla="*/ 3 h 6"/>
                <a:gd name="T12" fmla="*/ 91 w 94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6">
                  <a:moveTo>
                    <a:pt x="91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3" y="0"/>
                    <a:pt x="94" y="1"/>
                    <a:pt x="94" y="3"/>
                  </a:cubicBezTo>
                  <a:cubicBezTo>
                    <a:pt x="94" y="4"/>
                    <a:pt x="93" y="6"/>
                    <a:pt x="9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" name="Freeform 285">
              <a:extLst>
                <a:ext uri="{FF2B5EF4-FFF2-40B4-BE49-F238E27FC236}">
                  <a16:creationId xmlns:a16="http://schemas.microsoft.com/office/drawing/2014/main" id="{488B68A6-71E1-4DB8-8B19-0570F070BD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8026" y="1681163"/>
              <a:ext cx="209550" cy="14288"/>
            </a:xfrm>
            <a:custGeom>
              <a:avLst/>
              <a:gdLst>
                <a:gd name="T0" fmla="*/ 87 w 90"/>
                <a:gd name="T1" fmla="*/ 6 h 6"/>
                <a:gd name="T2" fmla="*/ 3 w 90"/>
                <a:gd name="T3" fmla="*/ 6 h 6"/>
                <a:gd name="T4" fmla="*/ 0 w 90"/>
                <a:gd name="T5" fmla="*/ 3 h 6"/>
                <a:gd name="T6" fmla="*/ 3 w 90"/>
                <a:gd name="T7" fmla="*/ 0 h 6"/>
                <a:gd name="T8" fmla="*/ 87 w 90"/>
                <a:gd name="T9" fmla="*/ 0 h 6"/>
                <a:gd name="T10" fmla="*/ 90 w 90"/>
                <a:gd name="T11" fmla="*/ 3 h 6"/>
                <a:gd name="T12" fmla="*/ 87 w 9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6">
                  <a:moveTo>
                    <a:pt x="8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9" y="0"/>
                    <a:pt x="90" y="1"/>
                    <a:pt x="90" y="3"/>
                  </a:cubicBezTo>
                  <a:cubicBezTo>
                    <a:pt x="90" y="4"/>
                    <a:pt x="89" y="6"/>
                    <a:pt x="8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" name="Freeform 286">
              <a:extLst>
                <a:ext uri="{FF2B5EF4-FFF2-40B4-BE49-F238E27FC236}">
                  <a16:creationId xmlns:a16="http://schemas.microsoft.com/office/drawing/2014/main" id="{073D92E2-B831-42F8-B836-AFDB17A11DF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0389" y="1681163"/>
              <a:ext cx="69850" cy="14288"/>
            </a:xfrm>
            <a:custGeom>
              <a:avLst/>
              <a:gdLst>
                <a:gd name="T0" fmla="*/ 27 w 30"/>
                <a:gd name="T1" fmla="*/ 6 h 6"/>
                <a:gd name="T2" fmla="*/ 3 w 30"/>
                <a:gd name="T3" fmla="*/ 6 h 6"/>
                <a:gd name="T4" fmla="*/ 0 w 30"/>
                <a:gd name="T5" fmla="*/ 3 h 6"/>
                <a:gd name="T6" fmla="*/ 3 w 30"/>
                <a:gd name="T7" fmla="*/ 0 h 6"/>
                <a:gd name="T8" fmla="*/ 27 w 30"/>
                <a:gd name="T9" fmla="*/ 0 h 6"/>
                <a:gd name="T10" fmla="*/ 30 w 30"/>
                <a:gd name="T11" fmla="*/ 3 h 6"/>
                <a:gd name="T12" fmla="*/ 27 w 3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6">
                  <a:moveTo>
                    <a:pt x="2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9" y="0"/>
                    <a:pt x="30" y="1"/>
                    <a:pt x="30" y="3"/>
                  </a:cubicBezTo>
                  <a:cubicBezTo>
                    <a:pt x="30" y="4"/>
                    <a:pt x="29" y="6"/>
                    <a:pt x="2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" name="Freeform 287">
              <a:extLst>
                <a:ext uri="{FF2B5EF4-FFF2-40B4-BE49-F238E27FC236}">
                  <a16:creationId xmlns:a16="http://schemas.microsoft.com/office/drawing/2014/main" id="{C02F5FF0-FF5B-4265-A78F-CD5D277C1A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73589" y="1439863"/>
              <a:ext cx="107950" cy="106363"/>
            </a:xfrm>
            <a:custGeom>
              <a:avLst/>
              <a:gdLst>
                <a:gd name="T0" fmla="*/ 37 w 46"/>
                <a:gd name="T1" fmla="*/ 46 h 46"/>
                <a:gd name="T2" fmla="*/ 9 w 46"/>
                <a:gd name="T3" fmla="*/ 46 h 46"/>
                <a:gd name="T4" fmla="*/ 0 w 46"/>
                <a:gd name="T5" fmla="*/ 37 h 46"/>
                <a:gd name="T6" fmla="*/ 0 w 46"/>
                <a:gd name="T7" fmla="*/ 8 h 46"/>
                <a:gd name="T8" fmla="*/ 9 w 46"/>
                <a:gd name="T9" fmla="*/ 0 h 46"/>
                <a:gd name="T10" fmla="*/ 37 w 46"/>
                <a:gd name="T11" fmla="*/ 0 h 46"/>
                <a:gd name="T12" fmla="*/ 46 w 46"/>
                <a:gd name="T13" fmla="*/ 8 h 46"/>
                <a:gd name="T14" fmla="*/ 46 w 46"/>
                <a:gd name="T15" fmla="*/ 37 h 46"/>
                <a:gd name="T16" fmla="*/ 37 w 46"/>
                <a:gd name="T17" fmla="*/ 46 h 46"/>
                <a:gd name="T18" fmla="*/ 9 w 46"/>
                <a:gd name="T19" fmla="*/ 6 h 46"/>
                <a:gd name="T20" fmla="*/ 6 w 46"/>
                <a:gd name="T21" fmla="*/ 8 h 46"/>
                <a:gd name="T22" fmla="*/ 6 w 46"/>
                <a:gd name="T23" fmla="*/ 37 h 46"/>
                <a:gd name="T24" fmla="*/ 9 w 46"/>
                <a:gd name="T25" fmla="*/ 40 h 46"/>
                <a:gd name="T26" fmla="*/ 37 w 46"/>
                <a:gd name="T27" fmla="*/ 40 h 46"/>
                <a:gd name="T28" fmla="*/ 40 w 46"/>
                <a:gd name="T29" fmla="*/ 37 h 46"/>
                <a:gd name="T30" fmla="*/ 40 w 46"/>
                <a:gd name="T31" fmla="*/ 8 h 46"/>
                <a:gd name="T32" fmla="*/ 37 w 46"/>
                <a:gd name="T33" fmla="*/ 6 h 46"/>
                <a:gd name="T34" fmla="*/ 9 w 46"/>
                <a:gd name="T35" fmla="*/ 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46">
                  <a:moveTo>
                    <a:pt x="37" y="46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4" y="46"/>
                    <a:pt x="0" y="42"/>
                    <a:pt x="0" y="3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2" y="0"/>
                    <a:pt x="46" y="4"/>
                    <a:pt x="46" y="8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42"/>
                    <a:pt x="42" y="46"/>
                    <a:pt x="37" y="46"/>
                  </a:cubicBezTo>
                  <a:close/>
                  <a:moveTo>
                    <a:pt x="9" y="6"/>
                  </a:moveTo>
                  <a:cubicBezTo>
                    <a:pt x="7" y="6"/>
                    <a:pt x="6" y="7"/>
                    <a:pt x="6" y="8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39"/>
                    <a:pt x="7" y="40"/>
                    <a:pt x="9" y="40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9" y="40"/>
                    <a:pt x="40" y="39"/>
                    <a:pt x="40" y="37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7"/>
                    <a:pt x="39" y="6"/>
                    <a:pt x="37" y="6"/>
                  </a:cubicBezTo>
                  <a:lnTo>
                    <a:pt x="9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" name="Freeform 288">
              <a:extLst>
                <a:ext uri="{FF2B5EF4-FFF2-40B4-BE49-F238E27FC236}">
                  <a16:creationId xmlns:a16="http://schemas.microsoft.com/office/drawing/2014/main" id="{2C74562A-E875-426A-8528-49C4D32A4A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5951" y="1635126"/>
              <a:ext cx="106363" cy="106363"/>
            </a:xfrm>
            <a:custGeom>
              <a:avLst/>
              <a:gdLst>
                <a:gd name="T0" fmla="*/ 37 w 46"/>
                <a:gd name="T1" fmla="*/ 46 h 46"/>
                <a:gd name="T2" fmla="*/ 9 w 46"/>
                <a:gd name="T3" fmla="*/ 46 h 46"/>
                <a:gd name="T4" fmla="*/ 0 w 46"/>
                <a:gd name="T5" fmla="*/ 37 h 46"/>
                <a:gd name="T6" fmla="*/ 0 w 46"/>
                <a:gd name="T7" fmla="*/ 8 h 46"/>
                <a:gd name="T8" fmla="*/ 9 w 46"/>
                <a:gd name="T9" fmla="*/ 0 h 46"/>
                <a:gd name="T10" fmla="*/ 37 w 46"/>
                <a:gd name="T11" fmla="*/ 0 h 46"/>
                <a:gd name="T12" fmla="*/ 46 w 46"/>
                <a:gd name="T13" fmla="*/ 8 h 46"/>
                <a:gd name="T14" fmla="*/ 46 w 46"/>
                <a:gd name="T15" fmla="*/ 37 h 46"/>
                <a:gd name="T16" fmla="*/ 37 w 46"/>
                <a:gd name="T17" fmla="*/ 46 h 46"/>
                <a:gd name="T18" fmla="*/ 9 w 46"/>
                <a:gd name="T19" fmla="*/ 6 h 46"/>
                <a:gd name="T20" fmla="*/ 6 w 46"/>
                <a:gd name="T21" fmla="*/ 8 h 46"/>
                <a:gd name="T22" fmla="*/ 6 w 46"/>
                <a:gd name="T23" fmla="*/ 37 h 46"/>
                <a:gd name="T24" fmla="*/ 9 w 46"/>
                <a:gd name="T25" fmla="*/ 40 h 46"/>
                <a:gd name="T26" fmla="*/ 37 w 46"/>
                <a:gd name="T27" fmla="*/ 40 h 46"/>
                <a:gd name="T28" fmla="*/ 40 w 46"/>
                <a:gd name="T29" fmla="*/ 37 h 46"/>
                <a:gd name="T30" fmla="*/ 40 w 46"/>
                <a:gd name="T31" fmla="*/ 8 h 46"/>
                <a:gd name="T32" fmla="*/ 37 w 46"/>
                <a:gd name="T33" fmla="*/ 6 h 46"/>
                <a:gd name="T34" fmla="*/ 9 w 46"/>
                <a:gd name="T35" fmla="*/ 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46">
                  <a:moveTo>
                    <a:pt x="37" y="46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4" y="46"/>
                    <a:pt x="0" y="42"/>
                    <a:pt x="0" y="3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2" y="0"/>
                    <a:pt x="46" y="4"/>
                    <a:pt x="46" y="8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42"/>
                    <a:pt x="42" y="46"/>
                    <a:pt x="37" y="46"/>
                  </a:cubicBezTo>
                  <a:close/>
                  <a:moveTo>
                    <a:pt x="9" y="6"/>
                  </a:moveTo>
                  <a:cubicBezTo>
                    <a:pt x="7" y="6"/>
                    <a:pt x="6" y="7"/>
                    <a:pt x="6" y="8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39"/>
                    <a:pt x="7" y="40"/>
                    <a:pt x="9" y="40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9" y="40"/>
                    <a:pt x="40" y="39"/>
                    <a:pt x="40" y="37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7"/>
                    <a:pt x="39" y="6"/>
                    <a:pt x="37" y="6"/>
                  </a:cubicBezTo>
                  <a:lnTo>
                    <a:pt x="9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" name="Freeform 289">
              <a:extLst>
                <a:ext uri="{FF2B5EF4-FFF2-40B4-BE49-F238E27FC236}">
                  <a16:creationId xmlns:a16="http://schemas.microsoft.com/office/drawing/2014/main" id="{1851EE84-A286-402B-B17B-87D55A49D8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59264" y="1830388"/>
              <a:ext cx="106363" cy="106363"/>
            </a:xfrm>
            <a:custGeom>
              <a:avLst/>
              <a:gdLst>
                <a:gd name="T0" fmla="*/ 37 w 46"/>
                <a:gd name="T1" fmla="*/ 46 h 46"/>
                <a:gd name="T2" fmla="*/ 9 w 46"/>
                <a:gd name="T3" fmla="*/ 46 h 46"/>
                <a:gd name="T4" fmla="*/ 0 w 46"/>
                <a:gd name="T5" fmla="*/ 37 h 46"/>
                <a:gd name="T6" fmla="*/ 0 w 46"/>
                <a:gd name="T7" fmla="*/ 8 h 46"/>
                <a:gd name="T8" fmla="*/ 9 w 46"/>
                <a:gd name="T9" fmla="*/ 0 h 46"/>
                <a:gd name="T10" fmla="*/ 37 w 46"/>
                <a:gd name="T11" fmla="*/ 0 h 46"/>
                <a:gd name="T12" fmla="*/ 46 w 46"/>
                <a:gd name="T13" fmla="*/ 8 h 46"/>
                <a:gd name="T14" fmla="*/ 46 w 46"/>
                <a:gd name="T15" fmla="*/ 37 h 46"/>
                <a:gd name="T16" fmla="*/ 37 w 46"/>
                <a:gd name="T17" fmla="*/ 46 h 46"/>
                <a:gd name="T18" fmla="*/ 9 w 46"/>
                <a:gd name="T19" fmla="*/ 6 h 46"/>
                <a:gd name="T20" fmla="*/ 6 w 46"/>
                <a:gd name="T21" fmla="*/ 8 h 46"/>
                <a:gd name="T22" fmla="*/ 6 w 46"/>
                <a:gd name="T23" fmla="*/ 37 h 46"/>
                <a:gd name="T24" fmla="*/ 9 w 46"/>
                <a:gd name="T25" fmla="*/ 40 h 46"/>
                <a:gd name="T26" fmla="*/ 37 w 46"/>
                <a:gd name="T27" fmla="*/ 40 h 46"/>
                <a:gd name="T28" fmla="*/ 40 w 46"/>
                <a:gd name="T29" fmla="*/ 37 h 46"/>
                <a:gd name="T30" fmla="*/ 40 w 46"/>
                <a:gd name="T31" fmla="*/ 8 h 46"/>
                <a:gd name="T32" fmla="*/ 37 w 46"/>
                <a:gd name="T33" fmla="*/ 6 h 46"/>
                <a:gd name="T34" fmla="*/ 9 w 46"/>
                <a:gd name="T35" fmla="*/ 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46">
                  <a:moveTo>
                    <a:pt x="37" y="46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4" y="46"/>
                    <a:pt x="0" y="42"/>
                    <a:pt x="0" y="3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2" y="0"/>
                    <a:pt x="46" y="4"/>
                    <a:pt x="46" y="8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42"/>
                    <a:pt x="42" y="46"/>
                    <a:pt x="37" y="46"/>
                  </a:cubicBezTo>
                  <a:close/>
                  <a:moveTo>
                    <a:pt x="9" y="6"/>
                  </a:moveTo>
                  <a:cubicBezTo>
                    <a:pt x="7" y="6"/>
                    <a:pt x="6" y="7"/>
                    <a:pt x="6" y="8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39"/>
                    <a:pt x="7" y="40"/>
                    <a:pt x="9" y="40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9" y="40"/>
                    <a:pt x="40" y="39"/>
                    <a:pt x="40" y="37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7"/>
                    <a:pt x="39" y="6"/>
                    <a:pt x="37" y="6"/>
                  </a:cubicBezTo>
                  <a:lnTo>
                    <a:pt x="9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6389759" y="4353643"/>
            <a:ext cx="651410" cy="365135"/>
            <a:chOff x="3870326" y="2459038"/>
            <a:chExt cx="957263" cy="536575"/>
          </a:xfrm>
          <a:solidFill>
            <a:schemeClr val="bg2"/>
          </a:solidFill>
        </p:grpSpPr>
        <p:sp>
          <p:nvSpPr>
            <p:cNvPr id="51" name="Freeform 282"/>
            <p:cNvSpPr>
              <a:spLocks/>
            </p:cNvSpPr>
            <p:nvPr/>
          </p:nvSpPr>
          <p:spPr bwMode="auto">
            <a:xfrm>
              <a:off x="4602164" y="2660651"/>
              <a:ext cx="14288" cy="52388"/>
            </a:xfrm>
            <a:custGeom>
              <a:avLst/>
              <a:gdLst>
                <a:gd name="T0" fmla="*/ 3 w 6"/>
                <a:gd name="T1" fmla="*/ 22 h 22"/>
                <a:gd name="T2" fmla="*/ 0 w 6"/>
                <a:gd name="T3" fmla="*/ 19 h 22"/>
                <a:gd name="T4" fmla="*/ 0 w 6"/>
                <a:gd name="T5" fmla="*/ 3 h 22"/>
                <a:gd name="T6" fmla="*/ 3 w 6"/>
                <a:gd name="T7" fmla="*/ 0 h 22"/>
                <a:gd name="T8" fmla="*/ 6 w 6"/>
                <a:gd name="T9" fmla="*/ 3 h 22"/>
                <a:gd name="T10" fmla="*/ 6 w 6"/>
                <a:gd name="T11" fmla="*/ 19 h 22"/>
                <a:gd name="T12" fmla="*/ 3 w 6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2">
                  <a:moveTo>
                    <a:pt x="3" y="22"/>
                  </a:moveTo>
                  <a:cubicBezTo>
                    <a:pt x="2" y="22"/>
                    <a:pt x="0" y="21"/>
                    <a:pt x="0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1"/>
                    <a:pt x="5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" name="Freeform 283"/>
            <p:cNvSpPr>
              <a:spLocks/>
            </p:cNvSpPr>
            <p:nvPr/>
          </p:nvSpPr>
          <p:spPr bwMode="auto">
            <a:xfrm>
              <a:off x="4565651" y="2587626"/>
              <a:ext cx="90488" cy="125413"/>
            </a:xfrm>
            <a:custGeom>
              <a:avLst/>
              <a:gdLst>
                <a:gd name="T0" fmla="*/ 3 w 39"/>
                <a:gd name="T1" fmla="*/ 54 h 54"/>
                <a:gd name="T2" fmla="*/ 0 w 39"/>
                <a:gd name="T3" fmla="*/ 51 h 54"/>
                <a:gd name="T4" fmla="*/ 0 w 39"/>
                <a:gd name="T5" fmla="*/ 20 h 54"/>
                <a:gd name="T6" fmla="*/ 18 w 39"/>
                <a:gd name="T7" fmla="*/ 4 h 54"/>
                <a:gd name="T8" fmla="*/ 31 w 39"/>
                <a:gd name="T9" fmla="*/ 4 h 54"/>
                <a:gd name="T10" fmla="*/ 33 w 39"/>
                <a:gd name="T11" fmla="*/ 3 h 54"/>
                <a:gd name="T12" fmla="*/ 36 w 39"/>
                <a:gd name="T13" fmla="*/ 0 h 54"/>
                <a:gd name="T14" fmla="*/ 39 w 39"/>
                <a:gd name="T15" fmla="*/ 3 h 54"/>
                <a:gd name="T16" fmla="*/ 31 w 39"/>
                <a:gd name="T17" fmla="*/ 10 h 54"/>
                <a:gd name="T18" fmla="*/ 18 w 39"/>
                <a:gd name="T19" fmla="*/ 10 h 54"/>
                <a:gd name="T20" fmla="*/ 6 w 39"/>
                <a:gd name="T21" fmla="*/ 20 h 54"/>
                <a:gd name="T22" fmla="*/ 6 w 39"/>
                <a:gd name="T23" fmla="*/ 51 h 54"/>
                <a:gd name="T24" fmla="*/ 3 w 39"/>
                <a:gd name="T2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54">
                  <a:moveTo>
                    <a:pt x="3" y="54"/>
                  </a:moveTo>
                  <a:cubicBezTo>
                    <a:pt x="2" y="54"/>
                    <a:pt x="0" y="53"/>
                    <a:pt x="0" y="51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7"/>
                    <a:pt x="12" y="4"/>
                    <a:pt x="1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3" y="4"/>
                    <a:pt x="33" y="3"/>
                  </a:cubicBezTo>
                  <a:cubicBezTo>
                    <a:pt x="33" y="1"/>
                    <a:pt x="34" y="0"/>
                    <a:pt x="36" y="0"/>
                  </a:cubicBezTo>
                  <a:cubicBezTo>
                    <a:pt x="37" y="0"/>
                    <a:pt x="39" y="1"/>
                    <a:pt x="39" y="3"/>
                  </a:cubicBezTo>
                  <a:cubicBezTo>
                    <a:pt x="39" y="7"/>
                    <a:pt x="35" y="10"/>
                    <a:pt x="31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0"/>
                    <a:pt x="6" y="10"/>
                    <a:pt x="6" y="20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6" y="53"/>
                    <a:pt x="5" y="54"/>
                    <a:pt x="3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" name="Freeform 284"/>
            <p:cNvSpPr>
              <a:spLocks/>
            </p:cNvSpPr>
            <p:nvPr/>
          </p:nvSpPr>
          <p:spPr bwMode="auto">
            <a:xfrm>
              <a:off x="4722814" y="2663826"/>
              <a:ext cx="14288" cy="46038"/>
            </a:xfrm>
            <a:custGeom>
              <a:avLst/>
              <a:gdLst>
                <a:gd name="T0" fmla="*/ 3 w 6"/>
                <a:gd name="T1" fmla="*/ 20 h 20"/>
                <a:gd name="T2" fmla="*/ 0 w 6"/>
                <a:gd name="T3" fmla="*/ 17 h 20"/>
                <a:gd name="T4" fmla="*/ 0 w 6"/>
                <a:gd name="T5" fmla="*/ 3 h 20"/>
                <a:gd name="T6" fmla="*/ 3 w 6"/>
                <a:gd name="T7" fmla="*/ 0 h 20"/>
                <a:gd name="T8" fmla="*/ 6 w 6"/>
                <a:gd name="T9" fmla="*/ 3 h 20"/>
                <a:gd name="T10" fmla="*/ 6 w 6"/>
                <a:gd name="T11" fmla="*/ 17 h 20"/>
                <a:gd name="T12" fmla="*/ 3 w 6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0">
                  <a:moveTo>
                    <a:pt x="3" y="20"/>
                  </a:moveTo>
                  <a:cubicBezTo>
                    <a:pt x="2" y="20"/>
                    <a:pt x="0" y="19"/>
                    <a:pt x="0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9"/>
                    <a:pt x="5" y="20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" name="Freeform 285"/>
            <p:cNvSpPr>
              <a:spLocks/>
            </p:cNvSpPr>
            <p:nvPr/>
          </p:nvSpPr>
          <p:spPr bwMode="auto">
            <a:xfrm>
              <a:off x="4687889" y="2587626"/>
              <a:ext cx="88900" cy="122238"/>
            </a:xfrm>
            <a:custGeom>
              <a:avLst/>
              <a:gdLst>
                <a:gd name="T0" fmla="*/ 35 w 38"/>
                <a:gd name="T1" fmla="*/ 53 h 53"/>
                <a:gd name="T2" fmla="*/ 32 w 38"/>
                <a:gd name="T3" fmla="*/ 50 h 53"/>
                <a:gd name="T4" fmla="*/ 32 w 38"/>
                <a:gd name="T5" fmla="*/ 20 h 53"/>
                <a:gd name="T6" fmla="*/ 20 w 38"/>
                <a:gd name="T7" fmla="*/ 10 h 53"/>
                <a:gd name="T8" fmla="*/ 7 w 38"/>
                <a:gd name="T9" fmla="*/ 10 h 53"/>
                <a:gd name="T10" fmla="*/ 2 w 38"/>
                <a:gd name="T11" fmla="*/ 8 h 53"/>
                <a:gd name="T12" fmla="*/ 0 w 38"/>
                <a:gd name="T13" fmla="*/ 3 h 53"/>
                <a:gd name="T14" fmla="*/ 3 w 38"/>
                <a:gd name="T15" fmla="*/ 0 h 53"/>
                <a:gd name="T16" fmla="*/ 3 w 38"/>
                <a:gd name="T17" fmla="*/ 0 h 53"/>
                <a:gd name="T18" fmla="*/ 6 w 38"/>
                <a:gd name="T19" fmla="*/ 3 h 53"/>
                <a:gd name="T20" fmla="*/ 7 w 38"/>
                <a:gd name="T21" fmla="*/ 4 h 53"/>
                <a:gd name="T22" fmla="*/ 7 w 38"/>
                <a:gd name="T23" fmla="*/ 4 h 53"/>
                <a:gd name="T24" fmla="*/ 20 w 38"/>
                <a:gd name="T25" fmla="*/ 4 h 53"/>
                <a:gd name="T26" fmla="*/ 38 w 38"/>
                <a:gd name="T27" fmla="*/ 20 h 53"/>
                <a:gd name="T28" fmla="*/ 38 w 38"/>
                <a:gd name="T29" fmla="*/ 50 h 53"/>
                <a:gd name="T30" fmla="*/ 35 w 38"/>
                <a:gd name="T3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8" h="53">
                  <a:moveTo>
                    <a:pt x="35" y="53"/>
                  </a:moveTo>
                  <a:cubicBezTo>
                    <a:pt x="33" y="53"/>
                    <a:pt x="32" y="52"/>
                    <a:pt x="32" y="50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10"/>
                    <a:pt x="21" y="10"/>
                    <a:pt x="20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4" y="10"/>
                    <a:pt x="2" y="8"/>
                  </a:cubicBezTo>
                  <a:cubicBezTo>
                    <a:pt x="1" y="7"/>
                    <a:pt x="0" y="6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4"/>
                    <a:pt x="6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6" y="4"/>
                    <a:pt x="38" y="7"/>
                    <a:pt x="38" y="2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2"/>
                    <a:pt x="36" y="53"/>
                    <a:pt x="35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" name="Freeform 286"/>
            <p:cNvSpPr>
              <a:spLocks noEditPoints="1"/>
            </p:cNvSpPr>
            <p:nvPr/>
          </p:nvSpPr>
          <p:spPr bwMode="auto">
            <a:xfrm>
              <a:off x="4613276" y="2459038"/>
              <a:ext cx="114300" cy="125413"/>
            </a:xfrm>
            <a:custGeom>
              <a:avLst/>
              <a:gdLst>
                <a:gd name="T0" fmla="*/ 24 w 49"/>
                <a:gd name="T1" fmla="*/ 54 h 54"/>
                <a:gd name="T2" fmla="*/ 0 w 49"/>
                <a:gd name="T3" fmla="*/ 27 h 54"/>
                <a:gd name="T4" fmla="*/ 24 w 49"/>
                <a:gd name="T5" fmla="*/ 0 h 54"/>
                <a:gd name="T6" fmla="*/ 49 w 49"/>
                <a:gd name="T7" fmla="*/ 27 h 54"/>
                <a:gd name="T8" fmla="*/ 24 w 49"/>
                <a:gd name="T9" fmla="*/ 54 h 54"/>
                <a:gd name="T10" fmla="*/ 24 w 49"/>
                <a:gd name="T11" fmla="*/ 6 h 54"/>
                <a:gd name="T12" fmla="*/ 6 w 49"/>
                <a:gd name="T13" fmla="*/ 27 h 54"/>
                <a:gd name="T14" fmla="*/ 24 w 49"/>
                <a:gd name="T15" fmla="*/ 48 h 54"/>
                <a:gd name="T16" fmla="*/ 43 w 49"/>
                <a:gd name="T17" fmla="*/ 27 h 54"/>
                <a:gd name="T18" fmla="*/ 24 w 49"/>
                <a:gd name="T19" fmla="*/ 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54">
                  <a:moveTo>
                    <a:pt x="24" y="54"/>
                  </a:moveTo>
                  <a:cubicBezTo>
                    <a:pt x="11" y="54"/>
                    <a:pt x="0" y="42"/>
                    <a:pt x="0" y="27"/>
                  </a:cubicBezTo>
                  <a:cubicBezTo>
                    <a:pt x="0" y="12"/>
                    <a:pt x="11" y="0"/>
                    <a:pt x="24" y="0"/>
                  </a:cubicBezTo>
                  <a:cubicBezTo>
                    <a:pt x="38" y="0"/>
                    <a:pt x="49" y="12"/>
                    <a:pt x="49" y="27"/>
                  </a:cubicBezTo>
                  <a:cubicBezTo>
                    <a:pt x="49" y="42"/>
                    <a:pt x="38" y="54"/>
                    <a:pt x="24" y="54"/>
                  </a:cubicBezTo>
                  <a:close/>
                  <a:moveTo>
                    <a:pt x="24" y="6"/>
                  </a:moveTo>
                  <a:cubicBezTo>
                    <a:pt x="14" y="6"/>
                    <a:pt x="6" y="15"/>
                    <a:pt x="6" y="27"/>
                  </a:cubicBezTo>
                  <a:cubicBezTo>
                    <a:pt x="6" y="38"/>
                    <a:pt x="14" y="48"/>
                    <a:pt x="24" y="48"/>
                  </a:cubicBezTo>
                  <a:cubicBezTo>
                    <a:pt x="35" y="48"/>
                    <a:pt x="43" y="38"/>
                    <a:pt x="43" y="27"/>
                  </a:cubicBezTo>
                  <a:cubicBezTo>
                    <a:pt x="43" y="15"/>
                    <a:pt x="35" y="6"/>
                    <a:pt x="2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" name="Freeform 287"/>
            <p:cNvSpPr>
              <a:spLocks/>
            </p:cNvSpPr>
            <p:nvPr/>
          </p:nvSpPr>
          <p:spPr bwMode="auto">
            <a:xfrm>
              <a:off x="3960814" y="2660651"/>
              <a:ext cx="14288" cy="52388"/>
            </a:xfrm>
            <a:custGeom>
              <a:avLst/>
              <a:gdLst>
                <a:gd name="T0" fmla="*/ 3 w 6"/>
                <a:gd name="T1" fmla="*/ 22 h 22"/>
                <a:gd name="T2" fmla="*/ 0 w 6"/>
                <a:gd name="T3" fmla="*/ 19 h 22"/>
                <a:gd name="T4" fmla="*/ 0 w 6"/>
                <a:gd name="T5" fmla="*/ 3 h 22"/>
                <a:gd name="T6" fmla="*/ 3 w 6"/>
                <a:gd name="T7" fmla="*/ 0 h 22"/>
                <a:gd name="T8" fmla="*/ 6 w 6"/>
                <a:gd name="T9" fmla="*/ 3 h 22"/>
                <a:gd name="T10" fmla="*/ 6 w 6"/>
                <a:gd name="T11" fmla="*/ 19 h 22"/>
                <a:gd name="T12" fmla="*/ 3 w 6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2">
                  <a:moveTo>
                    <a:pt x="3" y="22"/>
                  </a:moveTo>
                  <a:cubicBezTo>
                    <a:pt x="1" y="22"/>
                    <a:pt x="0" y="21"/>
                    <a:pt x="0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1"/>
                    <a:pt x="5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" name="Freeform 288"/>
            <p:cNvSpPr>
              <a:spLocks/>
            </p:cNvSpPr>
            <p:nvPr/>
          </p:nvSpPr>
          <p:spPr bwMode="auto">
            <a:xfrm>
              <a:off x="3924301" y="2587626"/>
              <a:ext cx="88900" cy="125413"/>
            </a:xfrm>
            <a:custGeom>
              <a:avLst/>
              <a:gdLst>
                <a:gd name="T0" fmla="*/ 3 w 38"/>
                <a:gd name="T1" fmla="*/ 54 h 54"/>
                <a:gd name="T2" fmla="*/ 0 w 38"/>
                <a:gd name="T3" fmla="*/ 51 h 54"/>
                <a:gd name="T4" fmla="*/ 0 w 38"/>
                <a:gd name="T5" fmla="*/ 20 h 54"/>
                <a:gd name="T6" fmla="*/ 18 w 38"/>
                <a:gd name="T7" fmla="*/ 4 h 54"/>
                <a:gd name="T8" fmla="*/ 30 w 38"/>
                <a:gd name="T9" fmla="*/ 4 h 54"/>
                <a:gd name="T10" fmla="*/ 32 w 38"/>
                <a:gd name="T11" fmla="*/ 3 h 54"/>
                <a:gd name="T12" fmla="*/ 35 w 38"/>
                <a:gd name="T13" fmla="*/ 0 h 54"/>
                <a:gd name="T14" fmla="*/ 38 w 38"/>
                <a:gd name="T15" fmla="*/ 3 h 54"/>
                <a:gd name="T16" fmla="*/ 31 w 38"/>
                <a:gd name="T17" fmla="*/ 10 h 54"/>
                <a:gd name="T18" fmla="*/ 18 w 38"/>
                <a:gd name="T19" fmla="*/ 10 h 54"/>
                <a:gd name="T20" fmla="*/ 6 w 38"/>
                <a:gd name="T21" fmla="*/ 20 h 54"/>
                <a:gd name="T22" fmla="*/ 6 w 38"/>
                <a:gd name="T23" fmla="*/ 51 h 54"/>
                <a:gd name="T24" fmla="*/ 3 w 38"/>
                <a:gd name="T2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54">
                  <a:moveTo>
                    <a:pt x="3" y="54"/>
                  </a:moveTo>
                  <a:cubicBezTo>
                    <a:pt x="1" y="54"/>
                    <a:pt x="0" y="53"/>
                    <a:pt x="0" y="51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7"/>
                    <a:pt x="12" y="4"/>
                    <a:pt x="18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1" y="4"/>
                    <a:pt x="32" y="4"/>
                    <a:pt x="32" y="3"/>
                  </a:cubicBezTo>
                  <a:cubicBezTo>
                    <a:pt x="32" y="1"/>
                    <a:pt x="34" y="0"/>
                    <a:pt x="35" y="0"/>
                  </a:cubicBezTo>
                  <a:cubicBezTo>
                    <a:pt x="37" y="0"/>
                    <a:pt x="38" y="1"/>
                    <a:pt x="38" y="3"/>
                  </a:cubicBezTo>
                  <a:cubicBezTo>
                    <a:pt x="38" y="7"/>
                    <a:pt x="34" y="10"/>
                    <a:pt x="31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0"/>
                    <a:pt x="6" y="10"/>
                    <a:pt x="6" y="20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6" y="53"/>
                    <a:pt x="4" y="54"/>
                    <a:pt x="3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" name="Freeform 289"/>
            <p:cNvSpPr>
              <a:spLocks/>
            </p:cNvSpPr>
            <p:nvPr/>
          </p:nvSpPr>
          <p:spPr bwMode="auto">
            <a:xfrm>
              <a:off x="4081464" y="2663826"/>
              <a:ext cx="14288" cy="46038"/>
            </a:xfrm>
            <a:custGeom>
              <a:avLst/>
              <a:gdLst>
                <a:gd name="T0" fmla="*/ 3 w 6"/>
                <a:gd name="T1" fmla="*/ 20 h 20"/>
                <a:gd name="T2" fmla="*/ 0 w 6"/>
                <a:gd name="T3" fmla="*/ 17 h 20"/>
                <a:gd name="T4" fmla="*/ 0 w 6"/>
                <a:gd name="T5" fmla="*/ 3 h 20"/>
                <a:gd name="T6" fmla="*/ 3 w 6"/>
                <a:gd name="T7" fmla="*/ 0 h 20"/>
                <a:gd name="T8" fmla="*/ 6 w 6"/>
                <a:gd name="T9" fmla="*/ 3 h 20"/>
                <a:gd name="T10" fmla="*/ 6 w 6"/>
                <a:gd name="T11" fmla="*/ 17 h 20"/>
                <a:gd name="T12" fmla="*/ 3 w 6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0">
                  <a:moveTo>
                    <a:pt x="3" y="20"/>
                  </a:moveTo>
                  <a:cubicBezTo>
                    <a:pt x="1" y="20"/>
                    <a:pt x="0" y="19"/>
                    <a:pt x="0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9"/>
                    <a:pt x="5" y="20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" name="Freeform 290"/>
            <p:cNvSpPr>
              <a:spLocks/>
            </p:cNvSpPr>
            <p:nvPr/>
          </p:nvSpPr>
          <p:spPr bwMode="auto">
            <a:xfrm>
              <a:off x="4048126" y="2587626"/>
              <a:ext cx="85725" cy="122238"/>
            </a:xfrm>
            <a:custGeom>
              <a:avLst/>
              <a:gdLst>
                <a:gd name="T0" fmla="*/ 34 w 37"/>
                <a:gd name="T1" fmla="*/ 53 h 53"/>
                <a:gd name="T2" fmla="*/ 31 w 37"/>
                <a:gd name="T3" fmla="*/ 50 h 53"/>
                <a:gd name="T4" fmla="*/ 31 w 37"/>
                <a:gd name="T5" fmla="*/ 20 h 53"/>
                <a:gd name="T6" fmla="*/ 19 w 37"/>
                <a:gd name="T7" fmla="*/ 10 h 53"/>
                <a:gd name="T8" fmla="*/ 7 w 37"/>
                <a:gd name="T9" fmla="*/ 10 h 53"/>
                <a:gd name="T10" fmla="*/ 2 w 37"/>
                <a:gd name="T11" fmla="*/ 8 h 53"/>
                <a:gd name="T12" fmla="*/ 0 w 37"/>
                <a:gd name="T13" fmla="*/ 3 h 53"/>
                <a:gd name="T14" fmla="*/ 3 w 37"/>
                <a:gd name="T15" fmla="*/ 0 h 53"/>
                <a:gd name="T16" fmla="*/ 3 w 37"/>
                <a:gd name="T17" fmla="*/ 0 h 53"/>
                <a:gd name="T18" fmla="*/ 6 w 37"/>
                <a:gd name="T19" fmla="*/ 3 h 53"/>
                <a:gd name="T20" fmla="*/ 6 w 37"/>
                <a:gd name="T21" fmla="*/ 4 h 53"/>
                <a:gd name="T22" fmla="*/ 7 w 37"/>
                <a:gd name="T23" fmla="*/ 4 h 53"/>
                <a:gd name="T24" fmla="*/ 19 w 37"/>
                <a:gd name="T25" fmla="*/ 4 h 53"/>
                <a:gd name="T26" fmla="*/ 37 w 37"/>
                <a:gd name="T27" fmla="*/ 20 h 53"/>
                <a:gd name="T28" fmla="*/ 37 w 37"/>
                <a:gd name="T29" fmla="*/ 50 h 53"/>
                <a:gd name="T30" fmla="*/ 34 w 37"/>
                <a:gd name="T3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" h="53">
                  <a:moveTo>
                    <a:pt x="34" y="53"/>
                  </a:moveTo>
                  <a:cubicBezTo>
                    <a:pt x="33" y="53"/>
                    <a:pt x="31" y="52"/>
                    <a:pt x="31" y="50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1" y="10"/>
                    <a:pt x="20" y="10"/>
                    <a:pt x="19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6" y="10"/>
                    <a:pt x="4" y="10"/>
                    <a:pt x="2" y="8"/>
                  </a:cubicBezTo>
                  <a:cubicBezTo>
                    <a:pt x="1" y="7"/>
                    <a:pt x="0" y="6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7" y="4"/>
                    <a:pt x="7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25" y="4"/>
                    <a:pt x="37" y="7"/>
                    <a:pt x="37" y="2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2"/>
                    <a:pt x="36" y="53"/>
                    <a:pt x="34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" name="Freeform 291"/>
            <p:cNvSpPr>
              <a:spLocks noEditPoints="1"/>
            </p:cNvSpPr>
            <p:nvPr/>
          </p:nvSpPr>
          <p:spPr bwMode="auto">
            <a:xfrm>
              <a:off x="3973514" y="2459038"/>
              <a:ext cx="111125" cy="125413"/>
            </a:xfrm>
            <a:custGeom>
              <a:avLst/>
              <a:gdLst>
                <a:gd name="T0" fmla="*/ 24 w 48"/>
                <a:gd name="T1" fmla="*/ 54 h 54"/>
                <a:gd name="T2" fmla="*/ 0 w 48"/>
                <a:gd name="T3" fmla="*/ 27 h 54"/>
                <a:gd name="T4" fmla="*/ 24 w 48"/>
                <a:gd name="T5" fmla="*/ 0 h 54"/>
                <a:gd name="T6" fmla="*/ 48 w 48"/>
                <a:gd name="T7" fmla="*/ 27 h 54"/>
                <a:gd name="T8" fmla="*/ 24 w 48"/>
                <a:gd name="T9" fmla="*/ 54 h 54"/>
                <a:gd name="T10" fmla="*/ 24 w 48"/>
                <a:gd name="T11" fmla="*/ 6 h 54"/>
                <a:gd name="T12" fmla="*/ 6 w 48"/>
                <a:gd name="T13" fmla="*/ 27 h 54"/>
                <a:gd name="T14" fmla="*/ 24 w 48"/>
                <a:gd name="T15" fmla="*/ 48 h 54"/>
                <a:gd name="T16" fmla="*/ 42 w 48"/>
                <a:gd name="T17" fmla="*/ 27 h 54"/>
                <a:gd name="T18" fmla="*/ 24 w 48"/>
                <a:gd name="T19" fmla="*/ 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54">
                  <a:moveTo>
                    <a:pt x="24" y="54"/>
                  </a:moveTo>
                  <a:cubicBezTo>
                    <a:pt x="11" y="54"/>
                    <a:pt x="0" y="42"/>
                    <a:pt x="0" y="27"/>
                  </a:cubicBezTo>
                  <a:cubicBezTo>
                    <a:pt x="0" y="12"/>
                    <a:pt x="11" y="0"/>
                    <a:pt x="24" y="0"/>
                  </a:cubicBezTo>
                  <a:cubicBezTo>
                    <a:pt x="37" y="0"/>
                    <a:pt x="48" y="12"/>
                    <a:pt x="48" y="27"/>
                  </a:cubicBezTo>
                  <a:cubicBezTo>
                    <a:pt x="48" y="42"/>
                    <a:pt x="37" y="54"/>
                    <a:pt x="24" y="54"/>
                  </a:cubicBezTo>
                  <a:close/>
                  <a:moveTo>
                    <a:pt x="24" y="6"/>
                  </a:moveTo>
                  <a:cubicBezTo>
                    <a:pt x="14" y="6"/>
                    <a:pt x="6" y="15"/>
                    <a:pt x="6" y="27"/>
                  </a:cubicBezTo>
                  <a:cubicBezTo>
                    <a:pt x="6" y="38"/>
                    <a:pt x="14" y="48"/>
                    <a:pt x="24" y="48"/>
                  </a:cubicBezTo>
                  <a:cubicBezTo>
                    <a:pt x="34" y="48"/>
                    <a:pt x="42" y="38"/>
                    <a:pt x="42" y="27"/>
                  </a:cubicBezTo>
                  <a:cubicBezTo>
                    <a:pt x="42" y="15"/>
                    <a:pt x="34" y="6"/>
                    <a:pt x="2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" name="Freeform 292"/>
            <p:cNvSpPr>
              <a:spLocks/>
            </p:cNvSpPr>
            <p:nvPr/>
          </p:nvSpPr>
          <p:spPr bwMode="auto">
            <a:xfrm>
              <a:off x="4044951" y="2754313"/>
              <a:ext cx="169863" cy="120650"/>
            </a:xfrm>
            <a:custGeom>
              <a:avLst/>
              <a:gdLst>
                <a:gd name="T0" fmla="*/ 70 w 73"/>
                <a:gd name="T1" fmla="*/ 52 h 52"/>
                <a:gd name="T2" fmla="*/ 68 w 73"/>
                <a:gd name="T3" fmla="*/ 51 h 52"/>
                <a:gd name="T4" fmla="*/ 1 w 73"/>
                <a:gd name="T5" fmla="*/ 6 h 52"/>
                <a:gd name="T6" fmla="*/ 1 w 73"/>
                <a:gd name="T7" fmla="*/ 2 h 52"/>
                <a:gd name="T8" fmla="*/ 5 w 73"/>
                <a:gd name="T9" fmla="*/ 1 h 52"/>
                <a:gd name="T10" fmla="*/ 71 w 73"/>
                <a:gd name="T11" fmla="*/ 46 h 52"/>
                <a:gd name="T12" fmla="*/ 72 w 73"/>
                <a:gd name="T13" fmla="*/ 50 h 52"/>
                <a:gd name="T14" fmla="*/ 70 w 73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52">
                  <a:moveTo>
                    <a:pt x="70" y="52"/>
                  </a:moveTo>
                  <a:cubicBezTo>
                    <a:pt x="69" y="52"/>
                    <a:pt x="68" y="51"/>
                    <a:pt x="68" y="51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1"/>
                    <a:pt x="3" y="0"/>
                    <a:pt x="5" y="1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3" y="47"/>
                    <a:pt x="73" y="49"/>
                    <a:pt x="72" y="50"/>
                  </a:cubicBezTo>
                  <a:cubicBezTo>
                    <a:pt x="71" y="51"/>
                    <a:pt x="71" y="52"/>
                    <a:pt x="70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" name="Freeform 293"/>
            <p:cNvSpPr>
              <a:spLocks/>
            </p:cNvSpPr>
            <p:nvPr/>
          </p:nvSpPr>
          <p:spPr bwMode="auto">
            <a:xfrm>
              <a:off x="4481514" y="2751138"/>
              <a:ext cx="187325" cy="123825"/>
            </a:xfrm>
            <a:custGeom>
              <a:avLst/>
              <a:gdLst>
                <a:gd name="T0" fmla="*/ 4 w 81"/>
                <a:gd name="T1" fmla="*/ 53 h 53"/>
                <a:gd name="T2" fmla="*/ 1 w 81"/>
                <a:gd name="T3" fmla="*/ 51 h 53"/>
                <a:gd name="T4" fmla="*/ 2 w 81"/>
                <a:gd name="T5" fmla="*/ 47 h 53"/>
                <a:gd name="T6" fmla="*/ 76 w 81"/>
                <a:gd name="T7" fmla="*/ 1 h 53"/>
                <a:gd name="T8" fmla="*/ 80 w 81"/>
                <a:gd name="T9" fmla="*/ 2 h 53"/>
                <a:gd name="T10" fmla="*/ 79 w 81"/>
                <a:gd name="T11" fmla="*/ 6 h 53"/>
                <a:gd name="T12" fmla="*/ 5 w 81"/>
                <a:gd name="T13" fmla="*/ 52 h 53"/>
                <a:gd name="T14" fmla="*/ 4 w 81"/>
                <a:gd name="T1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53">
                  <a:moveTo>
                    <a:pt x="4" y="53"/>
                  </a:moveTo>
                  <a:cubicBezTo>
                    <a:pt x="3" y="53"/>
                    <a:pt x="2" y="52"/>
                    <a:pt x="1" y="51"/>
                  </a:cubicBezTo>
                  <a:cubicBezTo>
                    <a:pt x="0" y="50"/>
                    <a:pt x="1" y="48"/>
                    <a:pt x="2" y="47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8" y="0"/>
                    <a:pt x="79" y="0"/>
                    <a:pt x="80" y="2"/>
                  </a:cubicBezTo>
                  <a:cubicBezTo>
                    <a:pt x="81" y="3"/>
                    <a:pt x="81" y="5"/>
                    <a:pt x="79" y="6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5" y="52"/>
                    <a:pt x="4" y="53"/>
                    <a:pt x="4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" name="Freeform 294"/>
            <p:cNvSpPr>
              <a:spLocks/>
            </p:cNvSpPr>
            <p:nvPr/>
          </p:nvSpPr>
          <p:spPr bwMode="auto">
            <a:xfrm>
              <a:off x="4511676" y="2670176"/>
              <a:ext cx="315913" cy="95250"/>
            </a:xfrm>
            <a:custGeom>
              <a:avLst/>
              <a:gdLst>
                <a:gd name="T0" fmla="*/ 68 w 136"/>
                <a:gd name="T1" fmla="*/ 41 h 41"/>
                <a:gd name="T2" fmla="*/ 0 w 136"/>
                <a:gd name="T3" fmla="*/ 16 h 41"/>
                <a:gd name="T4" fmla="*/ 14 w 136"/>
                <a:gd name="T5" fmla="*/ 1 h 41"/>
                <a:gd name="T6" fmla="*/ 18 w 136"/>
                <a:gd name="T7" fmla="*/ 3 h 41"/>
                <a:gd name="T8" fmla="*/ 16 w 136"/>
                <a:gd name="T9" fmla="*/ 7 h 41"/>
                <a:gd name="T10" fmla="*/ 6 w 136"/>
                <a:gd name="T11" fmla="*/ 16 h 41"/>
                <a:gd name="T12" fmla="*/ 68 w 136"/>
                <a:gd name="T13" fmla="*/ 35 h 41"/>
                <a:gd name="T14" fmla="*/ 130 w 136"/>
                <a:gd name="T15" fmla="*/ 16 h 41"/>
                <a:gd name="T16" fmla="*/ 121 w 136"/>
                <a:gd name="T17" fmla="*/ 7 h 41"/>
                <a:gd name="T18" fmla="*/ 120 w 136"/>
                <a:gd name="T19" fmla="*/ 3 h 41"/>
                <a:gd name="T20" fmla="*/ 124 w 136"/>
                <a:gd name="T21" fmla="*/ 1 h 41"/>
                <a:gd name="T22" fmla="*/ 136 w 136"/>
                <a:gd name="T23" fmla="*/ 16 h 41"/>
                <a:gd name="T24" fmla="*/ 68 w 136"/>
                <a:gd name="T2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6" h="41">
                  <a:moveTo>
                    <a:pt x="68" y="41"/>
                  </a:moveTo>
                  <a:cubicBezTo>
                    <a:pt x="35" y="41"/>
                    <a:pt x="0" y="32"/>
                    <a:pt x="0" y="16"/>
                  </a:cubicBezTo>
                  <a:cubicBezTo>
                    <a:pt x="0" y="12"/>
                    <a:pt x="3" y="6"/>
                    <a:pt x="14" y="1"/>
                  </a:cubicBezTo>
                  <a:cubicBezTo>
                    <a:pt x="15" y="0"/>
                    <a:pt x="17" y="1"/>
                    <a:pt x="18" y="3"/>
                  </a:cubicBezTo>
                  <a:cubicBezTo>
                    <a:pt x="18" y="4"/>
                    <a:pt x="18" y="6"/>
                    <a:pt x="16" y="7"/>
                  </a:cubicBezTo>
                  <a:cubicBezTo>
                    <a:pt x="10" y="10"/>
                    <a:pt x="6" y="13"/>
                    <a:pt x="6" y="16"/>
                  </a:cubicBezTo>
                  <a:cubicBezTo>
                    <a:pt x="6" y="25"/>
                    <a:pt x="33" y="35"/>
                    <a:pt x="68" y="35"/>
                  </a:cubicBezTo>
                  <a:cubicBezTo>
                    <a:pt x="104" y="35"/>
                    <a:pt x="130" y="25"/>
                    <a:pt x="130" y="16"/>
                  </a:cubicBezTo>
                  <a:cubicBezTo>
                    <a:pt x="130" y="13"/>
                    <a:pt x="127" y="10"/>
                    <a:pt x="121" y="7"/>
                  </a:cubicBezTo>
                  <a:cubicBezTo>
                    <a:pt x="120" y="6"/>
                    <a:pt x="119" y="4"/>
                    <a:pt x="120" y="3"/>
                  </a:cubicBezTo>
                  <a:cubicBezTo>
                    <a:pt x="120" y="1"/>
                    <a:pt x="122" y="1"/>
                    <a:pt x="124" y="1"/>
                  </a:cubicBezTo>
                  <a:cubicBezTo>
                    <a:pt x="134" y="7"/>
                    <a:pt x="136" y="12"/>
                    <a:pt x="136" y="16"/>
                  </a:cubicBezTo>
                  <a:cubicBezTo>
                    <a:pt x="136" y="32"/>
                    <a:pt x="101" y="41"/>
                    <a:pt x="68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" name="Freeform 295"/>
            <p:cNvSpPr>
              <a:spLocks/>
            </p:cNvSpPr>
            <p:nvPr/>
          </p:nvSpPr>
          <p:spPr bwMode="auto">
            <a:xfrm>
              <a:off x="3870326" y="2673351"/>
              <a:ext cx="315913" cy="92075"/>
            </a:xfrm>
            <a:custGeom>
              <a:avLst/>
              <a:gdLst>
                <a:gd name="T0" fmla="*/ 68 w 136"/>
                <a:gd name="T1" fmla="*/ 40 h 40"/>
                <a:gd name="T2" fmla="*/ 0 w 136"/>
                <a:gd name="T3" fmla="*/ 16 h 40"/>
                <a:gd name="T4" fmla="*/ 13 w 136"/>
                <a:gd name="T5" fmla="*/ 1 h 40"/>
                <a:gd name="T6" fmla="*/ 17 w 136"/>
                <a:gd name="T7" fmla="*/ 2 h 40"/>
                <a:gd name="T8" fmla="*/ 16 w 136"/>
                <a:gd name="T9" fmla="*/ 6 h 40"/>
                <a:gd name="T10" fmla="*/ 6 w 136"/>
                <a:gd name="T11" fmla="*/ 16 h 40"/>
                <a:gd name="T12" fmla="*/ 68 w 136"/>
                <a:gd name="T13" fmla="*/ 34 h 40"/>
                <a:gd name="T14" fmla="*/ 130 w 136"/>
                <a:gd name="T15" fmla="*/ 16 h 40"/>
                <a:gd name="T16" fmla="*/ 121 w 136"/>
                <a:gd name="T17" fmla="*/ 6 h 40"/>
                <a:gd name="T18" fmla="*/ 119 w 136"/>
                <a:gd name="T19" fmla="*/ 2 h 40"/>
                <a:gd name="T20" fmla="*/ 123 w 136"/>
                <a:gd name="T21" fmla="*/ 1 h 40"/>
                <a:gd name="T22" fmla="*/ 136 w 136"/>
                <a:gd name="T23" fmla="*/ 16 h 40"/>
                <a:gd name="T24" fmla="*/ 68 w 136"/>
                <a:gd name="T2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6" h="40">
                  <a:moveTo>
                    <a:pt x="68" y="40"/>
                  </a:moveTo>
                  <a:cubicBezTo>
                    <a:pt x="35" y="40"/>
                    <a:pt x="0" y="32"/>
                    <a:pt x="0" y="16"/>
                  </a:cubicBezTo>
                  <a:cubicBezTo>
                    <a:pt x="0" y="12"/>
                    <a:pt x="2" y="6"/>
                    <a:pt x="13" y="1"/>
                  </a:cubicBezTo>
                  <a:cubicBezTo>
                    <a:pt x="15" y="0"/>
                    <a:pt x="16" y="1"/>
                    <a:pt x="17" y="2"/>
                  </a:cubicBezTo>
                  <a:cubicBezTo>
                    <a:pt x="18" y="4"/>
                    <a:pt x="17" y="6"/>
                    <a:pt x="16" y="6"/>
                  </a:cubicBezTo>
                  <a:cubicBezTo>
                    <a:pt x="10" y="9"/>
                    <a:pt x="6" y="13"/>
                    <a:pt x="6" y="16"/>
                  </a:cubicBezTo>
                  <a:cubicBezTo>
                    <a:pt x="6" y="24"/>
                    <a:pt x="33" y="34"/>
                    <a:pt x="68" y="34"/>
                  </a:cubicBezTo>
                  <a:cubicBezTo>
                    <a:pt x="104" y="34"/>
                    <a:pt x="130" y="24"/>
                    <a:pt x="130" y="16"/>
                  </a:cubicBezTo>
                  <a:cubicBezTo>
                    <a:pt x="130" y="13"/>
                    <a:pt x="127" y="9"/>
                    <a:pt x="121" y="6"/>
                  </a:cubicBezTo>
                  <a:cubicBezTo>
                    <a:pt x="119" y="6"/>
                    <a:pt x="119" y="4"/>
                    <a:pt x="119" y="2"/>
                  </a:cubicBezTo>
                  <a:cubicBezTo>
                    <a:pt x="120" y="1"/>
                    <a:pt x="122" y="0"/>
                    <a:pt x="123" y="1"/>
                  </a:cubicBezTo>
                  <a:cubicBezTo>
                    <a:pt x="134" y="6"/>
                    <a:pt x="136" y="12"/>
                    <a:pt x="136" y="16"/>
                  </a:cubicBezTo>
                  <a:cubicBezTo>
                    <a:pt x="136" y="32"/>
                    <a:pt x="101" y="40"/>
                    <a:pt x="68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" name="Freeform 296"/>
            <p:cNvSpPr>
              <a:spLocks/>
            </p:cNvSpPr>
            <p:nvPr/>
          </p:nvSpPr>
          <p:spPr bwMode="auto">
            <a:xfrm>
              <a:off x="4271964" y="2873376"/>
              <a:ext cx="14288" cy="52388"/>
            </a:xfrm>
            <a:custGeom>
              <a:avLst/>
              <a:gdLst>
                <a:gd name="T0" fmla="*/ 3 w 6"/>
                <a:gd name="T1" fmla="*/ 23 h 23"/>
                <a:gd name="T2" fmla="*/ 0 w 6"/>
                <a:gd name="T3" fmla="*/ 20 h 23"/>
                <a:gd name="T4" fmla="*/ 0 w 6"/>
                <a:gd name="T5" fmla="*/ 3 h 23"/>
                <a:gd name="T6" fmla="*/ 3 w 6"/>
                <a:gd name="T7" fmla="*/ 0 h 23"/>
                <a:gd name="T8" fmla="*/ 6 w 6"/>
                <a:gd name="T9" fmla="*/ 3 h 23"/>
                <a:gd name="T10" fmla="*/ 6 w 6"/>
                <a:gd name="T11" fmla="*/ 20 h 23"/>
                <a:gd name="T12" fmla="*/ 3 w 6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3">
                  <a:moveTo>
                    <a:pt x="3" y="23"/>
                  </a:moveTo>
                  <a:cubicBezTo>
                    <a:pt x="1" y="23"/>
                    <a:pt x="0" y="22"/>
                    <a:pt x="0" y="2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2"/>
                    <a:pt x="4" y="23"/>
                    <a:pt x="3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" name="Freeform 297"/>
            <p:cNvSpPr>
              <a:spLocks/>
            </p:cNvSpPr>
            <p:nvPr/>
          </p:nvSpPr>
          <p:spPr bwMode="auto">
            <a:xfrm>
              <a:off x="4229101" y="2786063"/>
              <a:ext cx="98425" cy="139700"/>
            </a:xfrm>
            <a:custGeom>
              <a:avLst/>
              <a:gdLst>
                <a:gd name="T0" fmla="*/ 3 w 43"/>
                <a:gd name="T1" fmla="*/ 60 h 60"/>
                <a:gd name="T2" fmla="*/ 0 w 43"/>
                <a:gd name="T3" fmla="*/ 57 h 60"/>
                <a:gd name="T4" fmla="*/ 0 w 43"/>
                <a:gd name="T5" fmla="*/ 22 h 60"/>
                <a:gd name="T6" fmla="*/ 20 w 43"/>
                <a:gd name="T7" fmla="*/ 4 h 60"/>
                <a:gd name="T8" fmla="*/ 35 w 43"/>
                <a:gd name="T9" fmla="*/ 4 h 60"/>
                <a:gd name="T10" fmla="*/ 37 w 43"/>
                <a:gd name="T11" fmla="*/ 3 h 60"/>
                <a:gd name="T12" fmla="*/ 40 w 43"/>
                <a:gd name="T13" fmla="*/ 0 h 60"/>
                <a:gd name="T14" fmla="*/ 43 w 43"/>
                <a:gd name="T15" fmla="*/ 3 h 60"/>
                <a:gd name="T16" fmla="*/ 35 w 43"/>
                <a:gd name="T17" fmla="*/ 10 h 60"/>
                <a:gd name="T18" fmla="*/ 20 w 43"/>
                <a:gd name="T19" fmla="*/ 10 h 60"/>
                <a:gd name="T20" fmla="*/ 6 w 43"/>
                <a:gd name="T21" fmla="*/ 22 h 60"/>
                <a:gd name="T22" fmla="*/ 6 w 43"/>
                <a:gd name="T23" fmla="*/ 57 h 60"/>
                <a:gd name="T24" fmla="*/ 3 w 43"/>
                <a:gd name="T2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60">
                  <a:moveTo>
                    <a:pt x="3" y="60"/>
                  </a:moveTo>
                  <a:cubicBezTo>
                    <a:pt x="2" y="60"/>
                    <a:pt x="0" y="59"/>
                    <a:pt x="0" y="57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8"/>
                    <a:pt x="13" y="4"/>
                    <a:pt x="20" y="4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4"/>
                    <a:pt x="37" y="4"/>
                    <a:pt x="37" y="3"/>
                  </a:cubicBezTo>
                  <a:cubicBezTo>
                    <a:pt x="37" y="1"/>
                    <a:pt x="39" y="0"/>
                    <a:pt x="40" y="0"/>
                  </a:cubicBezTo>
                  <a:cubicBezTo>
                    <a:pt x="42" y="0"/>
                    <a:pt x="43" y="1"/>
                    <a:pt x="43" y="3"/>
                  </a:cubicBezTo>
                  <a:cubicBezTo>
                    <a:pt x="43" y="7"/>
                    <a:pt x="39" y="10"/>
                    <a:pt x="35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6" y="11"/>
                    <a:pt x="6" y="22"/>
                  </a:cubicBezTo>
                  <a:cubicBezTo>
                    <a:pt x="6" y="57"/>
                    <a:pt x="6" y="57"/>
                    <a:pt x="6" y="57"/>
                  </a:cubicBezTo>
                  <a:cubicBezTo>
                    <a:pt x="6" y="59"/>
                    <a:pt x="5" y="60"/>
                    <a:pt x="3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" name="Freeform 298"/>
            <p:cNvSpPr>
              <a:spLocks/>
            </p:cNvSpPr>
            <p:nvPr/>
          </p:nvSpPr>
          <p:spPr bwMode="auto">
            <a:xfrm>
              <a:off x="4410076" y="2873376"/>
              <a:ext cx="12700" cy="50800"/>
            </a:xfrm>
            <a:custGeom>
              <a:avLst/>
              <a:gdLst>
                <a:gd name="T0" fmla="*/ 3 w 6"/>
                <a:gd name="T1" fmla="*/ 22 h 22"/>
                <a:gd name="T2" fmla="*/ 0 w 6"/>
                <a:gd name="T3" fmla="*/ 19 h 22"/>
                <a:gd name="T4" fmla="*/ 0 w 6"/>
                <a:gd name="T5" fmla="*/ 3 h 22"/>
                <a:gd name="T6" fmla="*/ 3 w 6"/>
                <a:gd name="T7" fmla="*/ 0 h 22"/>
                <a:gd name="T8" fmla="*/ 6 w 6"/>
                <a:gd name="T9" fmla="*/ 3 h 22"/>
                <a:gd name="T10" fmla="*/ 6 w 6"/>
                <a:gd name="T11" fmla="*/ 19 h 22"/>
                <a:gd name="T12" fmla="*/ 3 w 6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2">
                  <a:moveTo>
                    <a:pt x="3" y="22"/>
                  </a:moveTo>
                  <a:cubicBezTo>
                    <a:pt x="1" y="22"/>
                    <a:pt x="0" y="21"/>
                    <a:pt x="0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1"/>
                    <a:pt x="5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" name="Freeform 299"/>
            <p:cNvSpPr>
              <a:spLocks/>
            </p:cNvSpPr>
            <p:nvPr/>
          </p:nvSpPr>
          <p:spPr bwMode="auto">
            <a:xfrm>
              <a:off x="4370389" y="2786063"/>
              <a:ext cx="95250" cy="139700"/>
            </a:xfrm>
            <a:custGeom>
              <a:avLst/>
              <a:gdLst>
                <a:gd name="T0" fmla="*/ 38 w 41"/>
                <a:gd name="T1" fmla="*/ 60 h 60"/>
                <a:gd name="T2" fmla="*/ 35 w 41"/>
                <a:gd name="T3" fmla="*/ 57 h 60"/>
                <a:gd name="T4" fmla="*/ 35 w 41"/>
                <a:gd name="T5" fmla="*/ 22 h 60"/>
                <a:gd name="T6" fmla="*/ 21 w 41"/>
                <a:gd name="T7" fmla="*/ 10 h 60"/>
                <a:gd name="T8" fmla="*/ 7 w 41"/>
                <a:gd name="T9" fmla="*/ 10 h 60"/>
                <a:gd name="T10" fmla="*/ 2 w 41"/>
                <a:gd name="T11" fmla="*/ 8 h 60"/>
                <a:gd name="T12" fmla="*/ 0 w 41"/>
                <a:gd name="T13" fmla="*/ 3 h 60"/>
                <a:gd name="T14" fmla="*/ 3 w 41"/>
                <a:gd name="T15" fmla="*/ 0 h 60"/>
                <a:gd name="T16" fmla="*/ 3 w 41"/>
                <a:gd name="T17" fmla="*/ 0 h 60"/>
                <a:gd name="T18" fmla="*/ 6 w 41"/>
                <a:gd name="T19" fmla="*/ 3 h 60"/>
                <a:gd name="T20" fmla="*/ 6 w 41"/>
                <a:gd name="T21" fmla="*/ 4 h 60"/>
                <a:gd name="T22" fmla="*/ 7 w 41"/>
                <a:gd name="T23" fmla="*/ 4 h 60"/>
                <a:gd name="T24" fmla="*/ 7 w 41"/>
                <a:gd name="T25" fmla="*/ 4 h 60"/>
                <a:gd name="T26" fmla="*/ 21 w 41"/>
                <a:gd name="T27" fmla="*/ 4 h 60"/>
                <a:gd name="T28" fmla="*/ 41 w 41"/>
                <a:gd name="T29" fmla="*/ 22 h 60"/>
                <a:gd name="T30" fmla="*/ 41 w 41"/>
                <a:gd name="T31" fmla="*/ 57 h 60"/>
                <a:gd name="T32" fmla="*/ 38 w 41"/>
                <a:gd name="T3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60">
                  <a:moveTo>
                    <a:pt x="38" y="60"/>
                  </a:moveTo>
                  <a:cubicBezTo>
                    <a:pt x="37" y="60"/>
                    <a:pt x="35" y="58"/>
                    <a:pt x="35" y="57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11"/>
                    <a:pt x="23" y="10"/>
                    <a:pt x="21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4" y="10"/>
                    <a:pt x="2" y="8"/>
                  </a:cubicBezTo>
                  <a:cubicBezTo>
                    <a:pt x="1" y="7"/>
                    <a:pt x="0" y="6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3"/>
                    <a:pt x="6" y="4"/>
                    <a:pt x="6" y="4"/>
                  </a:cubicBezTo>
                  <a:cubicBezTo>
                    <a:pt x="6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8" y="4"/>
                    <a:pt x="41" y="8"/>
                    <a:pt x="41" y="22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8"/>
                    <a:pt x="40" y="60"/>
                    <a:pt x="38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" name="Freeform 300"/>
            <p:cNvSpPr>
              <a:spLocks noEditPoints="1"/>
            </p:cNvSpPr>
            <p:nvPr/>
          </p:nvSpPr>
          <p:spPr bwMode="auto">
            <a:xfrm>
              <a:off x="4284664" y="2640013"/>
              <a:ext cx="127000" cy="141288"/>
            </a:xfrm>
            <a:custGeom>
              <a:avLst/>
              <a:gdLst>
                <a:gd name="T0" fmla="*/ 27 w 55"/>
                <a:gd name="T1" fmla="*/ 61 h 61"/>
                <a:gd name="T2" fmla="*/ 0 w 55"/>
                <a:gd name="T3" fmla="*/ 30 h 61"/>
                <a:gd name="T4" fmla="*/ 27 w 55"/>
                <a:gd name="T5" fmla="*/ 0 h 61"/>
                <a:gd name="T6" fmla="*/ 55 w 55"/>
                <a:gd name="T7" fmla="*/ 30 h 61"/>
                <a:gd name="T8" fmla="*/ 27 w 55"/>
                <a:gd name="T9" fmla="*/ 61 h 61"/>
                <a:gd name="T10" fmla="*/ 27 w 55"/>
                <a:gd name="T11" fmla="*/ 6 h 61"/>
                <a:gd name="T12" fmla="*/ 6 w 55"/>
                <a:gd name="T13" fmla="*/ 30 h 61"/>
                <a:gd name="T14" fmla="*/ 27 w 55"/>
                <a:gd name="T15" fmla="*/ 55 h 61"/>
                <a:gd name="T16" fmla="*/ 49 w 55"/>
                <a:gd name="T17" fmla="*/ 30 h 61"/>
                <a:gd name="T18" fmla="*/ 27 w 55"/>
                <a:gd name="T19" fmla="*/ 6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61">
                  <a:moveTo>
                    <a:pt x="27" y="61"/>
                  </a:moveTo>
                  <a:cubicBezTo>
                    <a:pt x="12" y="61"/>
                    <a:pt x="0" y="47"/>
                    <a:pt x="0" y="30"/>
                  </a:cubicBezTo>
                  <a:cubicBezTo>
                    <a:pt x="0" y="13"/>
                    <a:pt x="12" y="0"/>
                    <a:pt x="27" y="0"/>
                  </a:cubicBezTo>
                  <a:cubicBezTo>
                    <a:pt x="42" y="0"/>
                    <a:pt x="55" y="13"/>
                    <a:pt x="55" y="30"/>
                  </a:cubicBezTo>
                  <a:cubicBezTo>
                    <a:pt x="55" y="47"/>
                    <a:pt x="42" y="61"/>
                    <a:pt x="27" y="61"/>
                  </a:cubicBezTo>
                  <a:close/>
                  <a:moveTo>
                    <a:pt x="27" y="6"/>
                  </a:moveTo>
                  <a:cubicBezTo>
                    <a:pt x="16" y="6"/>
                    <a:pt x="6" y="17"/>
                    <a:pt x="6" y="30"/>
                  </a:cubicBezTo>
                  <a:cubicBezTo>
                    <a:pt x="6" y="44"/>
                    <a:pt x="16" y="55"/>
                    <a:pt x="27" y="55"/>
                  </a:cubicBezTo>
                  <a:cubicBezTo>
                    <a:pt x="39" y="55"/>
                    <a:pt x="49" y="44"/>
                    <a:pt x="49" y="30"/>
                  </a:cubicBezTo>
                  <a:cubicBezTo>
                    <a:pt x="49" y="17"/>
                    <a:pt x="39" y="6"/>
                    <a:pt x="2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" name="Freeform 301"/>
            <p:cNvSpPr>
              <a:spLocks/>
            </p:cNvSpPr>
            <p:nvPr/>
          </p:nvSpPr>
          <p:spPr bwMode="auto">
            <a:xfrm>
              <a:off x="4173539" y="2894013"/>
              <a:ext cx="349250" cy="101600"/>
            </a:xfrm>
            <a:custGeom>
              <a:avLst/>
              <a:gdLst>
                <a:gd name="T0" fmla="*/ 75 w 151"/>
                <a:gd name="T1" fmla="*/ 44 h 44"/>
                <a:gd name="T2" fmla="*/ 0 w 151"/>
                <a:gd name="T3" fmla="*/ 17 h 44"/>
                <a:gd name="T4" fmla="*/ 14 w 151"/>
                <a:gd name="T5" fmla="*/ 1 h 44"/>
                <a:gd name="T6" fmla="*/ 18 w 151"/>
                <a:gd name="T7" fmla="*/ 2 h 44"/>
                <a:gd name="T8" fmla="*/ 17 w 151"/>
                <a:gd name="T9" fmla="*/ 6 h 44"/>
                <a:gd name="T10" fmla="*/ 6 w 151"/>
                <a:gd name="T11" fmla="*/ 17 h 44"/>
                <a:gd name="T12" fmla="*/ 75 w 151"/>
                <a:gd name="T13" fmla="*/ 38 h 44"/>
                <a:gd name="T14" fmla="*/ 145 w 151"/>
                <a:gd name="T15" fmla="*/ 17 h 44"/>
                <a:gd name="T16" fmla="*/ 134 w 151"/>
                <a:gd name="T17" fmla="*/ 6 h 44"/>
                <a:gd name="T18" fmla="*/ 133 w 151"/>
                <a:gd name="T19" fmla="*/ 2 h 44"/>
                <a:gd name="T20" fmla="*/ 137 w 151"/>
                <a:gd name="T21" fmla="*/ 1 h 44"/>
                <a:gd name="T22" fmla="*/ 151 w 151"/>
                <a:gd name="T23" fmla="*/ 17 h 44"/>
                <a:gd name="T24" fmla="*/ 75 w 151"/>
                <a:gd name="T25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1" h="44">
                  <a:moveTo>
                    <a:pt x="75" y="44"/>
                  </a:moveTo>
                  <a:cubicBezTo>
                    <a:pt x="39" y="44"/>
                    <a:pt x="0" y="34"/>
                    <a:pt x="0" y="17"/>
                  </a:cubicBezTo>
                  <a:cubicBezTo>
                    <a:pt x="0" y="13"/>
                    <a:pt x="2" y="6"/>
                    <a:pt x="14" y="1"/>
                  </a:cubicBezTo>
                  <a:cubicBezTo>
                    <a:pt x="16" y="0"/>
                    <a:pt x="18" y="0"/>
                    <a:pt x="18" y="2"/>
                  </a:cubicBezTo>
                  <a:cubicBezTo>
                    <a:pt x="19" y="3"/>
                    <a:pt x="18" y="5"/>
                    <a:pt x="17" y="6"/>
                  </a:cubicBezTo>
                  <a:cubicBezTo>
                    <a:pt x="10" y="9"/>
                    <a:pt x="6" y="13"/>
                    <a:pt x="6" y="17"/>
                  </a:cubicBezTo>
                  <a:cubicBezTo>
                    <a:pt x="6" y="27"/>
                    <a:pt x="34" y="38"/>
                    <a:pt x="75" y="38"/>
                  </a:cubicBezTo>
                  <a:cubicBezTo>
                    <a:pt x="116" y="38"/>
                    <a:pt x="145" y="27"/>
                    <a:pt x="145" y="17"/>
                  </a:cubicBezTo>
                  <a:cubicBezTo>
                    <a:pt x="145" y="13"/>
                    <a:pt x="141" y="9"/>
                    <a:pt x="134" y="6"/>
                  </a:cubicBezTo>
                  <a:cubicBezTo>
                    <a:pt x="133" y="5"/>
                    <a:pt x="132" y="4"/>
                    <a:pt x="133" y="2"/>
                  </a:cubicBezTo>
                  <a:cubicBezTo>
                    <a:pt x="133" y="1"/>
                    <a:pt x="135" y="0"/>
                    <a:pt x="137" y="1"/>
                  </a:cubicBezTo>
                  <a:cubicBezTo>
                    <a:pt x="148" y="6"/>
                    <a:pt x="151" y="13"/>
                    <a:pt x="151" y="17"/>
                  </a:cubicBezTo>
                  <a:cubicBezTo>
                    <a:pt x="151" y="34"/>
                    <a:pt x="112" y="44"/>
                    <a:pt x="75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78" name="Группа 77"/>
          <p:cNvGrpSpPr/>
          <p:nvPr/>
        </p:nvGrpSpPr>
        <p:grpSpPr>
          <a:xfrm>
            <a:off x="6640334" y="2158654"/>
            <a:ext cx="225289" cy="419946"/>
            <a:chOff x="5370513" y="3535363"/>
            <a:chExt cx="361951" cy="674687"/>
          </a:xfrm>
          <a:solidFill>
            <a:schemeClr val="bg1"/>
          </a:solidFill>
        </p:grpSpPr>
        <p:sp>
          <p:nvSpPr>
            <p:cNvPr id="79" name="Freeform 431">
              <a:extLst>
                <a:ext uri="{FF2B5EF4-FFF2-40B4-BE49-F238E27FC236}">
                  <a16:creationId xmlns:a16="http://schemas.microsoft.com/office/drawing/2014/main" id="{77D0E063-2350-42DF-9346-FBC1A20EE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0513" y="3752850"/>
              <a:ext cx="14288" cy="411163"/>
            </a:xfrm>
            <a:custGeom>
              <a:avLst/>
              <a:gdLst>
                <a:gd name="T0" fmla="*/ 3 w 6"/>
                <a:gd name="T1" fmla="*/ 177 h 177"/>
                <a:gd name="T2" fmla="*/ 0 w 6"/>
                <a:gd name="T3" fmla="*/ 174 h 177"/>
                <a:gd name="T4" fmla="*/ 0 w 6"/>
                <a:gd name="T5" fmla="*/ 3 h 177"/>
                <a:gd name="T6" fmla="*/ 3 w 6"/>
                <a:gd name="T7" fmla="*/ 0 h 177"/>
                <a:gd name="T8" fmla="*/ 6 w 6"/>
                <a:gd name="T9" fmla="*/ 3 h 177"/>
                <a:gd name="T10" fmla="*/ 6 w 6"/>
                <a:gd name="T11" fmla="*/ 174 h 177"/>
                <a:gd name="T12" fmla="*/ 3 w 6"/>
                <a:gd name="T13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77">
                  <a:moveTo>
                    <a:pt x="3" y="177"/>
                  </a:moveTo>
                  <a:cubicBezTo>
                    <a:pt x="1" y="177"/>
                    <a:pt x="0" y="175"/>
                    <a:pt x="0" y="17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4" y="0"/>
                    <a:pt x="6" y="2"/>
                    <a:pt x="6" y="3"/>
                  </a:cubicBezTo>
                  <a:cubicBezTo>
                    <a:pt x="6" y="174"/>
                    <a:pt x="6" y="174"/>
                    <a:pt x="6" y="174"/>
                  </a:cubicBezTo>
                  <a:cubicBezTo>
                    <a:pt x="6" y="175"/>
                    <a:pt x="4" y="177"/>
                    <a:pt x="3" y="1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" name="Freeform 432">
              <a:extLst>
                <a:ext uri="{FF2B5EF4-FFF2-40B4-BE49-F238E27FC236}">
                  <a16:creationId xmlns:a16="http://schemas.microsoft.com/office/drawing/2014/main" id="{03F3F011-7098-4170-9610-52218CED9E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8176" y="3752850"/>
              <a:ext cx="14288" cy="411163"/>
            </a:xfrm>
            <a:custGeom>
              <a:avLst/>
              <a:gdLst>
                <a:gd name="T0" fmla="*/ 3 w 6"/>
                <a:gd name="T1" fmla="*/ 177 h 177"/>
                <a:gd name="T2" fmla="*/ 0 w 6"/>
                <a:gd name="T3" fmla="*/ 174 h 177"/>
                <a:gd name="T4" fmla="*/ 0 w 6"/>
                <a:gd name="T5" fmla="*/ 3 h 177"/>
                <a:gd name="T6" fmla="*/ 3 w 6"/>
                <a:gd name="T7" fmla="*/ 0 h 177"/>
                <a:gd name="T8" fmla="*/ 6 w 6"/>
                <a:gd name="T9" fmla="*/ 3 h 177"/>
                <a:gd name="T10" fmla="*/ 6 w 6"/>
                <a:gd name="T11" fmla="*/ 174 h 177"/>
                <a:gd name="T12" fmla="*/ 3 w 6"/>
                <a:gd name="T13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77">
                  <a:moveTo>
                    <a:pt x="3" y="177"/>
                  </a:moveTo>
                  <a:cubicBezTo>
                    <a:pt x="1" y="177"/>
                    <a:pt x="0" y="175"/>
                    <a:pt x="0" y="17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4" y="0"/>
                    <a:pt x="6" y="2"/>
                    <a:pt x="6" y="3"/>
                  </a:cubicBezTo>
                  <a:cubicBezTo>
                    <a:pt x="6" y="174"/>
                    <a:pt x="6" y="174"/>
                    <a:pt x="6" y="174"/>
                  </a:cubicBezTo>
                  <a:cubicBezTo>
                    <a:pt x="6" y="175"/>
                    <a:pt x="4" y="177"/>
                    <a:pt x="3" y="1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" name="Freeform 433">
              <a:extLst>
                <a:ext uri="{FF2B5EF4-FFF2-40B4-BE49-F238E27FC236}">
                  <a16:creationId xmlns:a16="http://schemas.microsoft.com/office/drawing/2014/main" id="{0BF5987D-7C17-4F98-A65E-0C93018A8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0513" y="3716338"/>
              <a:ext cx="361950" cy="100013"/>
            </a:xfrm>
            <a:custGeom>
              <a:avLst/>
              <a:gdLst>
                <a:gd name="T0" fmla="*/ 78 w 156"/>
                <a:gd name="T1" fmla="*/ 43 h 43"/>
                <a:gd name="T2" fmla="*/ 0 w 156"/>
                <a:gd name="T3" fmla="*/ 19 h 43"/>
                <a:gd name="T4" fmla="*/ 31 w 156"/>
                <a:gd name="T5" fmla="*/ 1 h 43"/>
                <a:gd name="T6" fmla="*/ 34 w 156"/>
                <a:gd name="T7" fmla="*/ 3 h 43"/>
                <a:gd name="T8" fmla="*/ 32 w 156"/>
                <a:gd name="T9" fmla="*/ 7 h 43"/>
                <a:gd name="T10" fmla="*/ 6 w 156"/>
                <a:gd name="T11" fmla="*/ 19 h 43"/>
                <a:gd name="T12" fmla="*/ 78 w 156"/>
                <a:gd name="T13" fmla="*/ 37 h 43"/>
                <a:gd name="T14" fmla="*/ 150 w 156"/>
                <a:gd name="T15" fmla="*/ 19 h 43"/>
                <a:gd name="T16" fmla="*/ 122 w 156"/>
                <a:gd name="T17" fmla="*/ 7 h 43"/>
                <a:gd name="T18" fmla="*/ 120 w 156"/>
                <a:gd name="T19" fmla="*/ 3 h 43"/>
                <a:gd name="T20" fmla="*/ 124 w 156"/>
                <a:gd name="T21" fmla="*/ 1 h 43"/>
                <a:gd name="T22" fmla="*/ 156 w 156"/>
                <a:gd name="T23" fmla="*/ 19 h 43"/>
                <a:gd name="T24" fmla="*/ 78 w 156"/>
                <a:gd name="T2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6" h="43">
                  <a:moveTo>
                    <a:pt x="78" y="43"/>
                  </a:moveTo>
                  <a:cubicBezTo>
                    <a:pt x="41" y="43"/>
                    <a:pt x="0" y="33"/>
                    <a:pt x="0" y="19"/>
                  </a:cubicBezTo>
                  <a:cubicBezTo>
                    <a:pt x="0" y="10"/>
                    <a:pt x="19" y="4"/>
                    <a:pt x="31" y="1"/>
                  </a:cubicBezTo>
                  <a:cubicBezTo>
                    <a:pt x="32" y="1"/>
                    <a:pt x="34" y="2"/>
                    <a:pt x="34" y="3"/>
                  </a:cubicBezTo>
                  <a:cubicBezTo>
                    <a:pt x="35" y="5"/>
                    <a:pt x="34" y="6"/>
                    <a:pt x="32" y="7"/>
                  </a:cubicBezTo>
                  <a:cubicBezTo>
                    <a:pt x="12" y="11"/>
                    <a:pt x="6" y="17"/>
                    <a:pt x="6" y="19"/>
                  </a:cubicBezTo>
                  <a:cubicBezTo>
                    <a:pt x="6" y="25"/>
                    <a:pt x="33" y="37"/>
                    <a:pt x="78" y="37"/>
                  </a:cubicBezTo>
                  <a:cubicBezTo>
                    <a:pt x="122" y="37"/>
                    <a:pt x="150" y="25"/>
                    <a:pt x="150" y="19"/>
                  </a:cubicBezTo>
                  <a:cubicBezTo>
                    <a:pt x="150" y="17"/>
                    <a:pt x="143" y="11"/>
                    <a:pt x="122" y="7"/>
                  </a:cubicBezTo>
                  <a:cubicBezTo>
                    <a:pt x="121" y="6"/>
                    <a:pt x="120" y="5"/>
                    <a:pt x="120" y="3"/>
                  </a:cubicBezTo>
                  <a:cubicBezTo>
                    <a:pt x="120" y="1"/>
                    <a:pt x="122" y="0"/>
                    <a:pt x="124" y="1"/>
                  </a:cubicBezTo>
                  <a:cubicBezTo>
                    <a:pt x="133" y="3"/>
                    <a:pt x="156" y="9"/>
                    <a:pt x="156" y="19"/>
                  </a:cubicBezTo>
                  <a:cubicBezTo>
                    <a:pt x="156" y="33"/>
                    <a:pt x="115" y="43"/>
                    <a:pt x="7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" name="Freeform 434">
              <a:extLst>
                <a:ext uri="{FF2B5EF4-FFF2-40B4-BE49-F238E27FC236}">
                  <a16:creationId xmlns:a16="http://schemas.microsoft.com/office/drawing/2014/main" id="{E61C98B1-A1DB-4B5F-BD48-B52CED6E34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0513" y="4149725"/>
              <a:ext cx="361950" cy="60325"/>
            </a:xfrm>
            <a:custGeom>
              <a:avLst/>
              <a:gdLst>
                <a:gd name="T0" fmla="*/ 78 w 156"/>
                <a:gd name="T1" fmla="*/ 26 h 26"/>
                <a:gd name="T2" fmla="*/ 0 w 156"/>
                <a:gd name="T3" fmla="*/ 3 h 26"/>
                <a:gd name="T4" fmla="*/ 3 w 156"/>
                <a:gd name="T5" fmla="*/ 0 h 26"/>
                <a:gd name="T6" fmla="*/ 6 w 156"/>
                <a:gd name="T7" fmla="*/ 3 h 26"/>
                <a:gd name="T8" fmla="*/ 78 w 156"/>
                <a:gd name="T9" fmla="*/ 20 h 26"/>
                <a:gd name="T10" fmla="*/ 150 w 156"/>
                <a:gd name="T11" fmla="*/ 3 h 26"/>
                <a:gd name="T12" fmla="*/ 153 w 156"/>
                <a:gd name="T13" fmla="*/ 0 h 26"/>
                <a:gd name="T14" fmla="*/ 156 w 156"/>
                <a:gd name="T15" fmla="*/ 3 h 26"/>
                <a:gd name="T16" fmla="*/ 78 w 156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26">
                  <a:moveTo>
                    <a:pt x="78" y="26"/>
                  </a:moveTo>
                  <a:cubicBezTo>
                    <a:pt x="41" y="26"/>
                    <a:pt x="0" y="16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8"/>
                    <a:pt x="33" y="20"/>
                    <a:pt x="78" y="20"/>
                  </a:cubicBezTo>
                  <a:cubicBezTo>
                    <a:pt x="122" y="20"/>
                    <a:pt x="150" y="8"/>
                    <a:pt x="150" y="3"/>
                  </a:cubicBezTo>
                  <a:cubicBezTo>
                    <a:pt x="150" y="1"/>
                    <a:pt x="151" y="0"/>
                    <a:pt x="153" y="0"/>
                  </a:cubicBezTo>
                  <a:cubicBezTo>
                    <a:pt x="154" y="0"/>
                    <a:pt x="156" y="1"/>
                    <a:pt x="156" y="3"/>
                  </a:cubicBezTo>
                  <a:cubicBezTo>
                    <a:pt x="156" y="16"/>
                    <a:pt x="115" y="26"/>
                    <a:pt x="78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" name="Freeform 435">
              <a:extLst>
                <a:ext uri="{FF2B5EF4-FFF2-40B4-BE49-F238E27FC236}">
                  <a16:creationId xmlns:a16="http://schemas.microsoft.com/office/drawing/2014/main" id="{5E684C70-FA8C-4DED-9FB3-D5BAD3B43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0513" y="4022725"/>
              <a:ext cx="361950" cy="61913"/>
            </a:xfrm>
            <a:custGeom>
              <a:avLst/>
              <a:gdLst>
                <a:gd name="T0" fmla="*/ 78 w 156"/>
                <a:gd name="T1" fmla="*/ 27 h 27"/>
                <a:gd name="T2" fmla="*/ 0 w 156"/>
                <a:gd name="T3" fmla="*/ 3 h 27"/>
                <a:gd name="T4" fmla="*/ 3 w 156"/>
                <a:gd name="T5" fmla="*/ 0 h 27"/>
                <a:gd name="T6" fmla="*/ 6 w 156"/>
                <a:gd name="T7" fmla="*/ 3 h 27"/>
                <a:gd name="T8" fmla="*/ 78 w 156"/>
                <a:gd name="T9" fmla="*/ 21 h 27"/>
                <a:gd name="T10" fmla="*/ 150 w 156"/>
                <a:gd name="T11" fmla="*/ 3 h 27"/>
                <a:gd name="T12" fmla="*/ 153 w 156"/>
                <a:gd name="T13" fmla="*/ 0 h 27"/>
                <a:gd name="T14" fmla="*/ 156 w 156"/>
                <a:gd name="T15" fmla="*/ 3 h 27"/>
                <a:gd name="T16" fmla="*/ 78 w 156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27">
                  <a:moveTo>
                    <a:pt x="78" y="27"/>
                  </a:moveTo>
                  <a:cubicBezTo>
                    <a:pt x="41" y="27"/>
                    <a:pt x="0" y="17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8"/>
                    <a:pt x="33" y="21"/>
                    <a:pt x="78" y="21"/>
                  </a:cubicBezTo>
                  <a:cubicBezTo>
                    <a:pt x="122" y="21"/>
                    <a:pt x="150" y="8"/>
                    <a:pt x="150" y="3"/>
                  </a:cubicBezTo>
                  <a:cubicBezTo>
                    <a:pt x="150" y="1"/>
                    <a:pt x="151" y="0"/>
                    <a:pt x="153" y="0"/>
                  </a:cubicBezTo>
                  <a:cubicBezTo>
                    <a:pt x="154" y="0"/>
                    <a:pt x="156" y="1"/>
                    <a:pt x="156" y="3"/>
                  </a:cubicBezTo>
                  <a:cubicBezTo>
                    <a:pt x="156" y="17"/>
                    <a:pt x="115" y="27"/>
                    <a:pt x="78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" name="Freeform 436">
              <a:extLst>
                <a:ext uri="{FF2B5EF4-FFF2-40B4-BE49-F238E27FC236}">
                  <a16:creationId xmlns:a16="http://schemas.microsoft.com/office/drawing/2014/main" id="{7E6DE776-27C2-461E-8D96-5474D9F27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0513" y="3887788"/>
              <a:ext cx="361950" cy="61913"/>
            </a:xfrm>
            <a:custGeom>
              <a:avLst/>
              <a:gdLst>
                <a:gd name="T0" fmla="*/ 78 w 156"/>
                <a:gd name="T1" fmla="*/ 27 h 27"/>
                <a:gd name="T2" fmla="*/ 0 w 156"/>
                <a:gd name="T3" fmla="*/ 3 h 27"/>
                <a:gd name="T4" fmla="*/ 3 w 156"/>
                <a:gd name="T5" fmla="*/ 0 h 27"/>
                <a:gd name="T6" fmla="*/ 6 w 156"/>
                <a:gd name="T7" fmla="*/ 3 h 27"/>
                <a:gd name="T8" fmla="*/ 78 w 156"/>
                <a:gd name="T9" fmla="*/ 21 h 27"/>
                <a:gd name="T10" fmla="*/ 150 w 156"/>
                <a:gd name="T11" fmla="*/ 3 h 27"/>
                <a:gd name="T12" fmla="*/ 153 w 156"/>
                <a:gd name="T13" fmla="*/ 0 h 27"/>
                <a:gd name="T14" fmla="*/ 156 w 156"/>
                <a:gd name="T15" fmla="*/ 3 h 27"/>
                <a:gd name="T16" fmla="*/ 78 w 156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27">
                  <a:moveTo>
                    <a:pt x="78" y="27"/>
                  </a:moveTo>
                  <a:cubicBezTo>
                    <a:pt x="41" y="27"/>
                    <a:pt x="0" y="17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4" y="0"/>
                    <a:pt x="6" y="2"/>
                    <a:pt x="6" y="3"/>
                  </a:cubicBezTo>
                  <a:cubicBezTo>
                    <a:pt x="6" y="9"/>
                    <a:pt x="33" y="21"/>
                    <a:pt x="78" y="21"/>
                  </a:cubicBezTo>
                  <a:cubicBezTo>
                    <a:pt x="122" y="21"/>
                    <a:pt x="150" y="9"/>
                    <a:pt x="150" y="3"/>
                  </a:cubicBezTo>
                  <a:cubicBezTo>
                    <a:pt x="150" y="2"/>
                    <a:pt x="151" y="0"/>
                    <a:pt x="153" y="0"/>
                  </a:cubicBezTo>
                  <a:cubicBezTo>
                    <a:pt x="154" y="0"/>
                    <a:pt x="156" y="2"/>
                    <a:pt x="156" y="3"/>
                  </a:cubicBezTo>
                  <a:cubicBezTo>
                    <a:pt x="156" y="17"/>
                    <a:pt x="115" y="27"/>
                    <a:pt x="78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" name="Freeform 437">
              <a:extLst>
                <a:ext uri="{FF2B5EF4-FFF2-40B4-BE49-F238E27FC236}">
                  <a16:creationId xmlns:a16="http://schemas.microsoft.com/office/drawing/2014/main" id="{F56559BE-2B4E-46C2-A5E8-5091DBEE49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7188" y="3535363"/>
              <a:ext cx="225425" cy="242888"/>
            </a:xfrm>
            <a:custGeom>
              <a:avLst/>
              <a:gdLst>
                <a:gd name="T0" fmla="*/ 94 w 97"/>
                <a:gd name="T1" fmla="*/ 105 h 105"/>
                <a:gd name="T2" fmla="*/ 91 w 97"/>
                <a:gd name="T3" fmla="*/ 102 h 105"/>
                <a:gd name="T4" fmla="*/ 91 w 97"/>
                <a:gd name="T5" fmla="*/ 31 h 105"/>
                <a:gd name="T6" fmla="*/ 66 w 97"/>
                <a:gd name="T7" fmla="*/ 6 h 105"/>
                <a:gd name="T8" fmla="*/ 6 w 97"/>
                <a:gd name="T9" fmla="*/ 6 h 105"/>
                <a:gd name="T10" fmla="*/ 6 w 97"/>
                <a:gd name="T11" fmla="*/ 102 h 105"/>
                <a:gd name="T12" fmla="*/ 3 w 97"/>
                <a:gd name="T13" fmla="*/ 105 h 105"/>
                <a:gd name="T14" fmla="*/ 0 w 97"/>
                <a:gd name="T15" fmla="*/ 102 h 105"/>
                <a:gd name="T16" fmla="*/ 0 w 97"/>
                <a:gd name="T17" fmla="*/ 3 h 105"/>
                <a:gd name="T18" fmla="*/ 3 w 97"/>
                <a:gd name="T19" fmla="*/ 0 h 105"/>
                <a:gd name="T20" fmla="*/ 68 w 97"/>
                <a:gd name="T21" fmla="*/ 0 h 105"/>
                <a:gd name="T22" fmla="*/ 70 w 97"/>
                <a:gd name="T23" fmla="*/ 1 h 105"/>
                <a:gd name="T24" fmla="*/ 96 w 97"/>
                <a:gd name="T25" fmla="*/ 28 h 105"/>
                <a:gd name="T26" fmla="*/ 97 w 97"/>
                <a:gd name="T27" fmla="*/ 30 h 105"/>
                <a:gd name="T28" fmla="*/ 97 w 97"/>
                <a:gd name="T29" fmla="*/ 102 h 105"/>
                <a:gd name="T30" fmla="*/ 94 w 97"/>
                <a:gd name="T31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5">
                  <a:moveTo>
                    <a:pt x="94" y="105"/>
                  </a:moveTo>
                  <a:cubicBezTo>
                    <a:pt x="92" y="105"/>
                    <a:pt x="91" y="103"/>
                    <a:pt x="91" y="102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6" y="103"/>
                    <a:pt x="5" y="105"/>
                    <a:pt x="3" y="105"/>
                  </a:cubicBezTo>
                  <a:cubicBezTo>
                    <a:pt x="2" y="105"/>
                    <a:pt x="0" y="103"/>
                    <a:pt x="0" y="10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0"/>
                    <a:pt x="69" y="1"/>
                    <a:pt x="70" y="1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7" y="28"/>
                    <a:pt x="97" y="29"/>
                    <a:pt x="97" y="30"/>
                  </a:cubicBezTo>
                  <a:cubicBezTo>
                    <a:pt x="97" y="102"/>
                    <a:pt x="97" y="102"/>
                    <a:pt x="97" y="102"/>
                  </a:cubicBezTo>
                  <a:cubicBezTo>
                    <a:pt x="97" y="103"/>
                    <a:pt x="96" y="105"/>
                    <a:pt x="94" y="1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" name="Freeform 438">
              <a:extLst>
                <a:ext uri="{FF2B5EF4-FFF2-40B4-BE49-F238E27FC236}">
                  <a16:creationId xmlns:a16="http://schemas.microsoft.com/office/drawing/2014/main" id="{3D92396B-124E-480B-89CD-0DE410274E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88001" y="3535363"/>
              <a:ext cx="74613" cy="76200"/>
            </a:xfrm>
            <a:custGeom>
              <a:avLst/>
              <a:gdLst>
                <a:gd name="T0" fmla="*/ 29 w 32"/>
                <a:gd name="T1" fmla="*/ 33 h 33"/>
                <a:gd name="T2" fmla="*/ 3 w 32"/>
                <a:gd name="T3" fmla="*/ 33 h 33"/>
                <a:gd name="T4" fmla="*/ 0 w 32"/>
                <a:gd name="T5" fmla="*/ 30 h 33"/>
                <a:gd name="T6" fmla="*/ 0 w 32"/>
                <a:gd name="T7" fmla="*/ 3 h 33"/>
                <a:gd name="T8" fmla="*/ 1 w 32"/>
                <a:gd name="T9" fmla="*/ 1 h 33"/>
                <a:gd name="T10" fmla="*/ 5 w 32"/>
                <a:gd name="T11" fmla="*/ 1 h 33"/>
                <a:gd name="T12" fmla="*/ 31 w 32"/>
                <a:gd name="T13" fmla="*/ 28 h 33"/>
                <a:gd name="T14" fmla="*/ 32 w 32"/>
                <a:gd name="T15" fmla="*/ 31 h 33"/>
                <a:gd name="T16" fmla="*/ 29 w 32"/>
                <a:gd name="T17" fmla="*/ 33 h 33"/>
                <a:gd name="T18" fmla="*/ 6 w 32"/>
                <a:gd name="T19" fmla="*/ 27 h 33"/>
                <a:gd name="T20" fmla="*/ 22 w 32"/>
                <a:gd name="T21" fmla="*/ 27 h 33"/>
                <a:gd name="T22" fmla="*/ 6 w 32"/>
                <a:gd name="T23" fmla="*/ 11 h 33"/>
                <a:gd name="T24" fmla="*/ 6 w 32"/>
                <a:gd name="T25" fmla="*/ 2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33">
                  <a:moveTo>
                    <a:pt x="29" y="33"/>
                  </a:moveTo>
                  <a:cubicBezTo>
                    <a:pt x="3" y="33"/>
                    <a:pt x="3" y="33"/>
                    <a:pt x="3" y="33"/>
                  </a:cubicBezTo>
                  <a:cubicBezTo>
                    <a:pt x="1" y="33"/>
                    <a:pt x="0" y="31"/>
                    <a:pt x="0" y="3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3" y="0"/>
                    <a:pt x="4" y="0"/>
                    <a:pt x="5" y="1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2" y="28"/>
                    <a:pt x="32" y="30"/>
                    <a:pt x="32" y="31"/>
                  </a:cubicBezTo>
                  <a:cubicBezTo>
                    <a:pt x="31" y="32"/>
                    <a:pt x="30" y="33"/>
                    <a:pt x="29" y="33"/>
                  </a:cubicBezTo>
                  <a:close/>
                  <a:moveTo>
                    <a:pt x="6" y="27"/>
                  </a:moveTo>
                  <a:cubicBezTo>
                    <a:pt x="22" y="27"/>
                    <a:pt x="22" y="27"/>
                    <a:pt x="22" y="27"/>
                  </a:cubicBezTo>
                  <a:cubicBezTo>
                    <a:pt x="6" y="11"/>
                    <a:pt x="6" y="11"/>
                    <a:pt x="6" y="11"/>
                  </a:cubicBezTo>
                  <a:lnTo>
                    <a:pt x="6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7" name="Freeform 439">
              <a:extLst>
                <a:ext uri="{FF2B5EF4-FFF2-40B4-BE49-F238E27FC236}">
                  <a16:creationId xmlns:a16="http://schemas.microsoft.com/office/drawing/2014/main" id="{64E1E349-FBA0-477A-9655-E9FA048B04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0688" y="3632200"/>
              <a:ext cx="101600" cy="14288"/>
            </a:xfrm>
            <a:custGeom>
              <a:avLst/>
              <a:gdLst>
                <a:gd name="T0" fmla="*/ 41 w 44"/>
                <a:gd name="T1" fmla="*/ 6 h 6"/>
                <a:gd name="T2" fmla="*/ 3 w 44"/>
                <a:gd name="T3" fmla="*/ 6 h 6"/>
                <a:gd name="T4" fmla="*/ 0 w 44"/>
                <a:gd name="T5" fmla="*/ 3 h 6"/>
                <a:gd name="T6" fmla="*/ 3 w 44"/>
                <a:gd name="T7" fmla="*/ 0 h 6"/>
                <a:gd name="T8" fmla="*/ 41 w 44"/>
                <a:gd name="T9" fmla="*/ 0 h 6"/>
                <a:gd name="T10" fmla="*/ 44 w 44"/>
                <a:gd name="T11" fmla="*/ 3 h 6"/>
                <a:gd name="T12" fmla="*/ 41 w 44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6">
                  <a:moveTo>
                    <a:pt x="41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3" y="0"/>
                    <a:pt x="44" y="1"/>
                    <a:pt x="44" y="3"/>
                  </a:cubicBezTo>
                  <a:cubicBezTo>
                    <a:pt x="44" y="5"/>
                    <a:pt x="43" y="6"/>
                    <a:pt x="4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8" name="Freeform 440">
              <a:extLst>
                <a:ext uri="{FF2B5EF4-FFF2-40B4-BE49-F238E27FC236}">
                  <a16:creationId xmlns:a16="http://schemas.microsoft.com/office/drawing/2014/main" id="{1A0EDAFB-32C9-4E8B-B5E9-38FBA3FA4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3690938"/>
              <a:ext cx="139700" cy="12700"/>
            </a:xfrm>
            <a:custGeom>
              <a:avLst/>
              <a:gdLst>
                <a:gd name="T0" fmla="*/ 57 w 60"/>
                <a:gd name="T1" fmla="*/ 6 h 6"/>
                <a:gd name="T2" fmla="*/ 3 w 60"/>
                <a:gd name="T3" fmla="*/ 6 h 6"/>
                <a:gd name="T4" fmla="*/ 0 w 60"/>
                <a:gd name="T5" fmla="*/ 3 h 6"/>
                <a:gd name="T6" fmla="*/ 3 w 60"/>
                <a:gd name="T7" fmla="*/ 0 h 6"/>
                <a:gd name="T8" fmla="*/ 57 w 60"/>
                <a:gd name="T9" fmla="*/ 0 h 6"/>
                <a:gd name="T10" fmla="*/ 60 w 60"/>
                <a:gd name="T11" fmla="*/ 3 h 6"/>
                <a:gd name="T12" fmla="*/ 57 w 6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6">
                  <a:moveTo>
                    <a:pt x="5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9" y="0"/>
                    <a:pt x="60" y="2"/>
                    <a:pt x="60" y="3"/>
                  </a:cubicBezTo>
                  <a:cubicBezTo>
                    <a:pt x="60" y="5"/>
                    <a:pt x="59" y="6"/>
                    <a:pt x="5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9" name="Freeform 441">
              <a:extLst>
                <a:ext uri="{FF2B5EF4-FFF2-40B4-BE49-F238E27FC236}">
                  <a16:creationId xmlns:a16="http://schemas.microsoft.com/office/drawing/2014/main" id="{B6A2080B-A276-4682-849E-3FF9DAC9A0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3729038"/>
              <a:ext cx="139700" cy="14288"/>
            </a:xfrm>
            <a:custGeom>
              <a:avLst/>
              <a:gdLst>
                <a:gd name="T0" fmla="*/ 57 w 60"/>
                <a:gd name="T1" fmla="*/ 6 h 6"/>
                <a:gd name="T2" fmla="*/ 3 w 60"/>
                <a:gd name="T3" fmla="*/ 6 h 6"/>
                <a:gd name="T4" fmla="*/ 0 w 60"/>
                <a:gd name="T5" fmla="*/ 3 h 6"/>
                <a:gd name="T6" fmla="*/ 3 w 60"/>
                <a:gd name="T7" fmla="*/ 0 h 6"/>
                <a:gd name="T8" fmla="*/ 57 w 60"/>
                <a:gd name="T9" fmla="*/ 0 h 6"/>
                <a:gd name="T10" fmla="*/ 60 w 60"/>
                <a:gd name="T11" fmla="*/ 3 h 6"/>
                <a:gd name="T12" fmla="*/ 57 w 6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6">
                  <a:moveTo>
                    <a:pt x="5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9" y="0"/>
                    <a:pt x="60" y="2"/>
                    <a:pt x="60" y="3"/>
                  </a:cubicBezTo>
                  <a:cubicBezTo>
                    <a:pt x="60" y="5"/>
                    <a:pt x="59" y="6"/>
                    <a:pt x="5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90" name="Группа 89"/>
          <p:cNvGrpSpPr/>
          <p:nvPr/>
        </p:nvGrpSpPr>
        <p:grpSpPr>
          <a:xfrm>
            <a:off x="5017361" y="2195416"/>
            <a:ext cx="491095" cy="398394"/>
            <a:chOff x="3975100" y="4972050"/>
            <a:chExt cx="706438" cy="573088"/>
          </a:xfrm>
          <a:solidFill>
            <a:schemeClr val="bg2"/>
          </a:solidFill>
        </p:grpSpPr>
        <p:sp>
          <p:nvSpPr>
            <p:cNvPr id="91" name="Freeform 309">
              <a:extLst>
                <a:ext uri="{FF2B5EF4-FFF2-40B4-BE49-F238E27FC236}">
                  <a16:creationId xmlns:a16="http://schemas.microsoft.com/office/drawing/2014/main" id="{9C2BE221-9AD6-4C2B-B03F-F052DEA000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1475" y="4972050"/>
              <a:ext cx="500063" cy="334963"/>
            </a:xfrm>
            <a:custGeom>
              <a:avLst/>
              <a:gdLst>
                <a:gd name="T0" fmla="*/ 181 w 219"/>
                <a:gd name="T1" fmla="*/ 145 h 145"/>
                <a:gd name="T2" fmla="*/ 181 w 219"/>
                <a:gd name="T3" fmla="*/ 145 h 145"/>
                <a:gd name="T4" fmla="*/ 140 w 219"/>
                <a:gd name="T5" fmla="*/ 145 h 145"/>
                <a:gd name="T6" fmla="*/ 137 w 219"/>
                <a:gd name="T7" fmla="*/ 142 h 145"/>
                <a:gd name="T8" fmla="*/ 140 w 219"/>
                <a:gd name="T9" fmla="*/ 139 h 145"/>
                <a:gd name="T10" fmla="*/ 140 w 219"/>
                <a:gd name="T11" fmla="*/ 139 h 145"/>
                <a:gd name="T12" fmla="*/ 181 w 219"/>
                <a:gd name="T13" fmla="*/ 139 h 145"/>
                <a:gd name="T14" fmla="*/ 181 w 219"/>
                <a:gd name="T15" fmla="*/ 139 h 145"/>
                <a:gd name="T16" fmla="*/ 213 w 219"/>
                <a:gd name="T17" fmla="*/ 106 h 145"/>
                <a:gd name="T18" fmla="*/ 181 w 219"/>
                <a:gd name="T19" fmla="*/ 73 h 145"/>
                <a:gd name="T20" fmla="*/ 179 w 219"/>
                <a:gd name="T21" fmla="*/ 72 h 145"/>
                <a:gd name="T22" fmla="*/ 178 w 219"/>
                <a:gd name="T23" fmla="*/ 69 h 145"/>
                <a:gd name="T24" fmla="*/ 183 w 219"/>
                <a:gd name="T25" fmla="*/ 49 h 145"/>
                <a:gd name="T26" fmla="*/ 140 w 219"/>
                <a:gd name="T27" fmla="*/ 6 h 145"/>
                <a:gd name="T28" fmla="*/ 101 w 219"/>
                <a:gd name="T29" fmla="*/ 29 h 145"/>
                <a:gd name="T30" fmla="*/ 99 w 219"/>
                <a:gd name="T31" fmla="*/ 30 h 145"/>
                <a:gd name="T32" fmla="*/ 97 w 219"/>
                <a:gd name="T33" fmla="*/ 30 h 145"/>
                <a:gd name="T34" fmla="*/ 71 w 219"/>
                <a:gd name="T35" fmla="*/ 20 h 145"/>
                <a:gd name="T36" fmla="*/ 31 w 219"/>
                <a:gd name="T37" fmla="*/ 60 h 145"/>
                <a:gd name="T38" fmla="*/ 29 w 219"/>
                <a:gd name="T39" fmla="*/ 63 h 145"/>
                <a:gd name="T40" fmla="*/ 6 w 219"/>
                <a:gd name="T41" fmla="*/ 99 h 145"/>
                <a:gd name="T42" fmla="*/ 3 w 219"/>
                <a:gd name="T43" fmla="*/ 102 h 145"/>
                <a:gd name="T44" fmla="*/ 0 w 219"/>
                <a:gd name="T45" fmla="*/ 99 h 145"/>
                <a:gd name="T46" fmla="*/ 25 w 219"/>
                <a:gd name="T47" fmla="*/ 58 h 145"/>
                <a:gd name="T48" fmla="*/ 71 w 219"/>
                <a:gd name="T49" fmla="*/ 14 h 145"/>
                <a:gd name="T50" fmla="*/ 98 w 219"/>
                <a:gd name="T51" fmla="*/ 23 h 145"/>
                <a:gd name="T52" fmla="*/ 140 w 219"/>
                <a:gd name="T53" fmla="*/ 0 h 145"/>
                <a:gd name="T54" fmla="*/ 189 w 219"/>
                <a:gd name="T55" fmla="*/ 49 h 145"/>
                <a:gd name="T56" fmla="*/ 186 w 219"/>
                <a:gd name="T57" fmla="*/ 68 h 145"/>
                <a:gd name="T58" fmla="*/ 219 w 219"/>
                <a:gd name="T59" fmla="*/ 106 h 145"/>
                <a:gd name="T60" fmla="*/ 181 w 219"/>
                <a:gd name="T61" fmla="*/ 145 h 145"/>
                <a:gd name="T62" fmla="*/ 181 w 219"/>
                <a:gd name="T6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9" h="145">
                  <a:moveTo>
                    <a:pt x="181" y="145"/>
                  </a:moveTo>
                  <a:cubicBezTo>
                    <a:pt x="181" y="145"/>
                    <a:pt x="181" y="145"/>
                    <a:pt x="181" y="145"/>
                  </a:cubicBezTo>
                  <a:cubicBezTo>
                    <a:pt x="140" y="145"/>
                    <a:pt x="140" y="145"/>
                    <a:pt x="140" y="145"/>
                  </a:cubicBezTo>
                  <a:cubicBezTo>
                    <a:pt x="138" y="145"/>
                    <a:pt x="137" y="144"/>
                    <a:pt x="137" y="142"/>
                  </a:cubicBezTo>
                  <a:cubicBezTo>
                    <a:pt x="137" y="141"/>
                    <a:pt x="138" y="139"/>
                    <a:pt x="140" y="139"/>
                  </a:cubicBezTo>
                  <a:cubicBezTo>
                    <a:pt x="140" y="139"/>
                    <a:pt x="140" y="139"/>
                    <a:pt x="140" y="139"/>
                  </a:cubicBezTo>
                  <a:cubicBezTo>
                    <a:pt x="181" y="139"/>
                    <a:pt x="181" y="139"/>
                    <a:pt x="181" y="139"/>
                  </a:cubicBezTo>
                  <a:cubicBezTo>
                    <a:pt x="181" y="139"/>
                    <a:pt x="181" y="139"/>
                    <a:pt x="181" y="139"/>
                  </a:cubicBezTo>
                  <a:cubicBezTo>
                    <a:pt x="199" y="139"/>
                    <a:pt x="213" y="124"/>
                    <a:pt x="213" y="106"/>
                  </a:cubicBezTo>
                  <a:cubicBezTo>
                    <a:pt x="213" y="88"/>
                    <a:pt x="199" y="74"/>
                    <a:pt x="181" y="73"/>
                  </a:cubicBezTo>
                  <a:cubicBezTo>
                    <a:pt x="180" y="73"/>
                    <a:pt x="179" y="73"/>
                    <a:pt x="179" y="72"/>
                  </a:cubicBezTo>
                  <a:cubicBezTo>
                    <a:pt x="178" y="71"/>
                    <a:pt x="178" y="70"/>
                    <a:pt x="178" y="69"/>
                  </a:cubicBezTo>
                  <a:cubicBezTo>
                    <a:pt x="182" y="63"/>
                    <a:pt x="183" y="56"/>
                    <a:pt x="183" y="49"/>
                  </a:cubicBezTo>
                  <a:cubicBezTo>
                    <a:pt x="183" y="25"/>
                    <a:pt x="164" y="6"/>
                    <a:pt x="140" y="6"/>
                  </a:cubicBezTo>
                  <a:cubicBezTo>
                    <a:pt x="124" y="6"/>
                    <a:pt x="109" y="14"/>
                    <a:pt x="101" y="29"/>
                  </a:cubicBezTo>
                  <a:cubicBezTo>
                    <a:pt x="101" y="29"/>
                    <a:pt x="100" y="30"/>
                    <a:pt x="99" y="30"/>
                  </a:cubicBezTo>
                  <a:cubicBezTo>
                    <a:pt x="98" y="30"/>
                    <a:pt x="98" y="30"/>
                    <a:pt x="97" y="30"/>
                  </a:cubicBezTo>
                  <a:cubicBezTo>
                    <a:pt x="90" y="23"/>
                    <a:pt x="81" y="20"/>
                    <a:pt x="71" y="20"/>
                  </a:cubicBezTo>
                  <a:cubicBezTo>
                    <a:pt x="49" y="20"/>
                    <a:pt x="31" y="38"/>
                    <a:pt x="31" y="60"/>
                  </a:cubicBezTo>
                  <a:cubicBezTo>
                    <a:pt x="31" y="61"/>
                    <a:pt x="30" y="62"/>
                    <a:pt x="29" y="63"/>
                  </a:cubicBezTo>
                  <a:cubicBezTo>
                    <a:pt x="15" y="69"/>
                    <a:pt x="6" y="84"/>
                    <a:pt x="6" y="99"/>
                  </a:cubicBezTo>
                  <a:cubicBezTo>
                    <a:pt x="6" y="101"/>
                    <a:pt x="4" y="102"/>
                    <a:pt x="3" y="102"/>
                  </a:cubicBezTo>
                  <a:cubicBezTo>
                    <a:pt x="1" y="102"/>
                    <a:pt x="0" y="101"/>
                    <a:pt x="0" y="99"/>
                  </a:cubicBezTo>
                  <a:cubicBezTo>
                    <a:pt x="0" y="82"/>
                    <a:pt x="10" y="66"/>
                    <a:pt x="25" y="58"/>
                  </a:cubicBezTo>
                  <a:cubicBezTo>
                    <a:pt x="26" y="34"/>
                    <a:pt x="46" y="14"/>
                    <a:pt x="71" y="14"/>
                  </a:cubicBezTo>
                  <a:cubicBezTo>
                    <a:pt x="81" y="14"/>
                    <a:pt x="90" y="17"/>
                    <a:pt x="98" y="23"/>
                  </a:cubicBezTo>
                  <a:cubicBezTo>
                    <a:pt x="107" y="8"/>
                    <a:pt x="123" y="0"/>
                    <a:pt x="140" y="0"/>
                  </a:cubicBezTo>
                  <a:cubicBezTo>
                    <a:pt x="167" y="0"/>
                    <a:pt x="189" y="22"/>
                    <a:pt x="189" y="49"/>
                  </a:cubicBezTo>
                  <a:cubicBezTo>
                    <a:pt x="189" y="55"/>
                    <a:pt x="188" y="62"/>
                    <a:pt x="186" y="68"/>
                  </a:cubicBezTo>
                  <a:cubicBezTo>
                    <a:pt x="205" y="70"/>
                    <a:pt x="219" y="86"/>
                    <a:pt x="219" y="106"/>
                  </a:cubicBezTo>
                  <a:cubicBezTo>
                    <a:pt x="219" y="127"/>
                    <a:pt x="202" y="145"/>
                    <a:pt x="181" y="145"/>
                  </a:cubicBezTo>
                  <a:cubicBezTo>
                    <a:pt x="181" y="145"/>
                    <a:pt x="181" y="145"/>
                    <a:pt x="181" y="1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2" name="Freeform 310">
              <a:extLst>
                <a:ext uri="{FF2B5EF4-FFF2-40B4-BE49-F238E27FC236}">
                  <a16:creationId xmlns:a16="http://schemas.microsoft.com/office/drawing/2014/main" id="{6F3DC16D-2B2E-4637-BB55-263DED0339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0500" y="5486400"/>
              <a:ext cx="547688" cy="58738"/>
            </a:xfrm>
            <a:custGeom>
              <a:avLst/>
              <a:gdLst>
                <a:gd name="T0" fmla="*/ 219 w 240"/>
                <a:gd name="T1" fmla="*/ 25 h 25"/>
                <a:gd name="T2" fmla="*/ 17 w 240"/>
                <a:gd name="T3" fmla="*/ 25 h 25"/>
                <a:gd name="T4" fmla="*/ 0 w 240"/>
                <a:gd name="T5" fmla="*/ 7 h 25"/>
                <a:gd name="T6" fmla="*/ 0 w 240"/>
                <a:gd name="T7" fmla="*/ 3 h 25"/>
                <a:gd name="T8" fmla="*/ 1 w 240"/>
                <a:gd name="T9" fmla="*/ 1 h 25"/>
                <a:gd name="T10" fmla="*/ 3 w 240"/>
                <a:gd name="T11" fmla="*/ 0 h 25"/>
                <a:gd name="T12" fmla="*/ 3 w 240"/>
                <a:gd name="T13" fmla="*/ 0 h 25"/>
                <a:gd name="T14" fmla="*/ 237 w 240"/>
                <a:gd name="T15" fmla="*/ 0 h 25"/>
                <a:gd name="T16" fmla="*/ 239 w 240"/>
                <a:gd name="T17" fmla="*/ 1 h 25"/>
                <a:gd name="T18" fmla="*/ 240 w 240"/>
                <a:gd name="T19" fmla="*/ 3 h 25"/>
                <a:gd name="T20" fmla="*/ 240 w 240"/>
                <a:gd name="T21" fmla="*/ 8 h 25"/>
                <a:gd name="T22" fmla="*/ 223 w 240"/>
                <a:gd name="T23" fmla="*/ 25 h 25"/>
                <a:gd name="T24" fmla="*/ 219 w 240"/>
                <a:gd name="T25" fmla="*/ 25 h 25"/>
                <a:gd name="T26" fmla="*/ 6 w 240"/>
                <a:gd name="T27" fmla="*/ 6 h 25"/>
                <a:gd name="T28" fmla="*/ 6 w 240"/>
                <a:gd name="T29" fmla="*/ 7 h 25"/>
                <a:gd name="T30" fmla="*/ 17 w 240"/>
                <a:gd name="T31" fmla="*/ 19 h 25"/>
                <a:gd name="T32" fmla="*/ 223 w 240"/>
                <a:gd name="T33" fmla="*/ 19 h 25"/>
                <a:gd name="T34" fmla="*/ 234 w 240"/>
                <a:gd name="T35" fmla="*/ 8 h 25"/>
                <a:gd name="T36" fmla="*/ 234 w 240"/>
                <a:gd name="T37" fmla="*/ 6 h 25"/>
                <a:gd name="T38" fmla="*/ 6 w 240"/>
                <a:gd name="T39" fmla="*/ 6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0" h="25">
                  <a:moveTo>
                    <a:pt x="219" y="25"/>
                  </a:moveTo>
                  <a:cubicBezTo>
                    <a:pt x="189" y="25"/>
                    <a:pt x="19" y="25"/>
                    <a:pt x="17" y="25"/>
                  </a:cubicBezTo>
                  <a:cubicBezTo>
                    <a:pt x="2" y="25"/>
                    <a:pt x="0" y="17"/>
                    <a:pt x="0" y="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37" y="0"/>
                    <a:pt x="237" y="0"/>
                    <a:pt x="237" y="0"/>
                  </a:cubicBezTo>
                  <a:cubicBezTo>
                    <a:pt x="238" y="0"/>
                    <a:pt x="239" y="1"/>
                    <a:pt x="239" y="1"/>
                  </a:cubicBezTo>
                  <a:cubicBezTo>
                    <a:pt x="240" y="2"/>
                    <a:pt x="240" y="3"/>
                    <a:pt x="240" y="3"/>
                  </a:cubicBezTo>
                  <a:cubicBezTo>
                    <a:pt x="240" y="8"/>
                    <a:pt x="240" y="8"/>
                    <a:pt x="240" y="8"/>
                  </a:cubicBezTo>
                  <a:cubicBezTo>
                    <a:pt x="240" y="17"/>
                    <a:pt x="239" y="25"/>
                    <a:pt x="223" y="25"/>
                  </a:cubicBezTo>
                  <a:cubicBezTo>
                    <a:pt x="223" y="25"/>
                    <a:pt x="222" y="25"/>
                    <a:pt x="219" y="25"/>
                  </a:cubicBezTo>
                  <a:close/>
                  <a:moveTo>
                    <a:pt x="6" y="6"/>
                  </a:moveTo>
                  <a:cubicBezTo>
                    <a:pt x="6" y="7"/>
                    <a:pt x="6" y="7"/>
                    <a:pt x="6" y="7"/>
                  </a:cubicBezTo>
                  <a:cubicBezTo>
                    <a:pt x="6" y="16"/>
                    <a:pt x="7" y="19"/>
                    <a:pt x="17" y="19"/>
                  </a:cubicBezTo>
                  <a:cubicBezTo>
                    <a:pt x="19" y="19"/>
                    <a:pt x="220" y="19"/>
                    <a:pt x="223" y="19"/>
                  </a:cubicBezTo>
                  <a:cubicBezTo>
                    <a:pt x="234" y="19"/>
                    <a:pt x="234" y="16"/>
                    <a:pt x="234" y="8"/>
                  </a:cubicBezTo>
                  <a:cubicBezTo>
                    <a:pt x="234" y="6"/>
                    <a:pt x="234" y="6"/>
                    <a:pt x="234" y="6"/>
                  </a:cubicBez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3" name="Freeform 311">
              <a:extLst>
                <a:ext uri="{FF2B5EF4-FFF2-40B4-BE49-F238E27FC236}">
                  <a16:creationId xmlns:a16="http://schemas.microsoft.com/office/drawing/2014/main" id="{9C38B617-A091-4D7C-946E-307ED7478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7175" y="5221288"/>
              <a:ext cx="417513" cy="279400"/>
            </a:xfrm>
            <a:custGeom>
              <a:avLst/>
              <a:gdLst>
                <a:gd name="T0" fmla="*/ 180 w 183"/>
                <a:gd name="T1" fmla="*/ 121 h 121"/>
                <a:gd name="T2" fmla="*/ 177 w 183"/>
                <a:gd name="T3" fmla="*/ 118 h 121"/>
                <a:gd name="T4" fmla="*/ 177 w 183"/>
                <a:gd name="T5" fmla="*/ 9 h 121"/>
                <a:gd name="T6" fmla="*/ 173 w 183"/>
                <a:gd name="T7" fmla="*/ 6 h 121"/>
                <a:gd name="T8" fmla="*/ 9 w 183"/>
                <a:gd name="T9" fmla="*/ 6 h 121"/>
                <a:gd name="T10" fmla="*/ 6 w 183"/>
                <a:gd name="T11" fmla="*/ 9 h 121"/>
                <a:gd name="T12" fmla="*/ 6 w 183"/>
                <a:gd name="T13" fmla="*/ 116 h 121"/>
                <a:gd name="T14" fmla="*/ 3 w 183"/>
                <a:gd name="T15" fmla="*/ 119 h 121"/>
                <a:gd name="T16" fmla="*/ 0 w 183"/>
                <a:gd name="T17" fmla="*/ 116 h 121"/>
                <a:gd name="T18" fmla="*/ 0 w 183"/>
                <a:gd name="T19" fmla="*/ 9 h 121"/>
                <a:gd name="T20" fmla="*/ 9 w 183"/>
                <a:gd name="T21" fmla="*/ 0 h 121"/>
                <a:gd name="T22" fmla="*/ 173 w 183"/>
                <a:gd name="T23" fmla="*/ 0 h 121"/>
                <a:gd name="T24" fmla="*/ 183 w 183"/>
                <a:gd name="T25" fmla="*/ 9 h 121"/>
                <a:gd name="T26" fmla="*/ 183 w 183"/>
                <a:gd name="T27" fmla="*/ 118 h 121"/>
                <a:gd name="T28" fmla="*/ 180 w 183"/>
                <a:gd name="T2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3" h="121">
                  <a:moveTo>
                    <a:pt x="180" y="121"/>
                  </a:moveTo>
                  <a:cubicBezTo>
                    <a:pt x="178" y="121"/>
                    <a:pt x="177" y="120"/>
                    <a:pt x="177" y="118"/>
                  </a:cubicBezTo>
                  <a:cubicBezTo>
                    <a:pt x="177" y="9"/>
                    <a:pt x="177" y="9"/>
                    <a:pt x="177" y="9"/>
                  </a:cubicBezTo>
                  <a:cubicBezTo>
                    <a:pt x="177" y="6"/>
                    <a:pt x="174" y="6"/>
                    <a:pt x="17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8" y="6"/>
                    <a:pt x="6" y="7"/>
                    <a:pt x="6" y="9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6" y="118"/>
                    <a:pt x="4" y="119"/>
                    <a:pt x="3" y="119"/>
                  </a:cubicBezTo>
                  <a:cubicBezTo>
                    <a:pt x="1" y="119"/>
                    <a:pt x="0" y="118"/>
                    <a:pt x="0" y="11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3"/>
                    <a:pt x="5" y="0"/>
                    <a:pt x="9" y="0"/>
                  </a:cubicBezTo>
                  <a:cubicBezTo>
                    <a:pt x="173" y="0"/>
                    <a:pt x="173" y="0"/>
                    <a:pt x="173" y="0"/>
                  </a:cubicBezTo>
                  <a:cubicBezTo>
                    <a:pt x="177" y="0"/>
                    <a:pt x="183" y="3"/>
                    <a:pt x="183" y="9"/>
                  </a:cubicBezTo>
                  <a:cubicBezTo>
                    <a:pt x="183" y="118"/>
                    <a:pt x="183" y="118"/>
                    <a:pt x="183" y="118"/>
                  </a:cubicBezTo>
                  <a:cubicBezTo>
                    <a:pt x="183" y="120"/>
                    <a:pt x="181" y="121"/>
                    <a:pt x="180" y="1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4" name="Freeform 312">
              <a:extLst>
                <a:ext uri="{FF2B5EF4-FFF2-40B4-BE49-F238E27FC236}">
                  <a16:creationId xmlns:a16="http://schemas.microsoft.com/office/drawing/2014/main" id="{7BDD312E-C084-403A-899B-1F52C6203F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925" y="5253038"/>
              <a:ext cx="355600" cy="228600"/>
            </a:xfrm>
            <a:custGeom>
              <a:avLst/>
              <a:gdLst>
                <a:gd name="T0" fmla="*/ 153 w 156"/>
                <a:gd name="T1" fmla="*/ 99 h 99"/>
                <a:gd name="T2" fmla="*/ 150 w 156"/>
                <a:gd name="T3" fmla="*/ 96 h 99"/>
                <a:gd name="T4" fmla="*/ 150 w 156"/>
                <a:gd name="T5" fmla="*/ 6 h 99"/>
                <a:gd name="T6" fmla="*/ 6 w 156"/>
                <a:gd name="T7" fmla="*/ 6 h 99"/>
                <a:gd name="T8" fmla="*/ 6 w 156"/>
                <a:gd name="T9" fmla="*/ 94 h 99"/>
                <a:gd name="T10" fmla="*/ 3 w 156"/>
                <a:gd name="T11" fmla="*/ 97 h 99"/>
                <a:gd name="T12" fmla="*/ 0 w 156"/>
                <a:gd name="T13" fmla="*/ 94 h 99"/>
                <a:gd name="T14" fmla="*/ 0 w 156"/>
                <a:gd name="T15" fmla="*/ 3 h 99"/>
                <a:gd name="T16" fmla="*/ 3 w 156"/>
                <a:gd name="T17" fmla="*/ 0 h 99"/>
                <a:gd name="T18" fmla="*/ 153 w 156"/>
                <a:gd name="T19" fmla="*/ 0 h 99"/>
                <a:gd name="T20" fmla="*/ 156 w 156"/>
                <a:gd name="T21" fmla="*/ 3 h 99"/>
                <a:gd name="T22" fmla="*/ 156 w 156"/>
                <a:gd name="T23" fmla="*/ 96 h 99"/>
                <a:gd name="T24" fmla="*/ 153 w 156"/>
                <a:gd name="T2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6" h="99">
                  <a:moveTo>
                    <a:pt x="153" y="99"/>
                  </a:moveTo>
                  <a:cubicBezTo>
                    <a:pt x="151" y="99"/>
                    <a:pt x="150" y="97"/>
                    <a:pt x="150" y="96"/>
                  </a:cubicBezTo>
                  <a:cubicBezTo>
                    <a:pt x="150" y="6"/>
                    <a:pt x="150" y="6"/>
                    <a:pt x="150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94"/>
                    <a:pt x="6" y="94"/>
                    <a:pt x="6" y="94"/>
                  </a:cubicBezTo>
                  <a:cubicBezTo>
                    <a:pt x="6" y="95"/>
                    <a:pt x="4" y="97"/>
                    <a:pt x="3" y="97"/>
                  </a:cubicBezTo>
                  <a:cubicBezTo>
                    <a:pt x="1" y="97"/>
                    <a:pt x="0" y="95"/>
                    <a:pt x="0" y="9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4" y="0"/>
                    <a:pt x="156" y="1"/>
                    <a:pt x="156" y="3"/>
                  </a:cubicBezTo>
                  <a:cubicBezTo>
                    <a:pt x="156" y="96"/>
                    <a:pt x="156" y="96"/>
                    <a:pt x="156" y="96"/>
                  </a:cubicBezTo>
                  <a:cubicBezTo>
                    <a:pt x="156" y="97"/>
                    <a:pt x="154" y="99"/>
                    <a:pt x="153" y="9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5" name="Freeform 313">
              <a:extLst>
                <a:ext uri="{FF2B5EF4-FFF2-40B4-BE49-F238E27FC236}">
                  <a16:creationId xmlns:a16="http://schemas.microsoft.com/office/drawing/2014/main" id="{C0A4C8A0-A6F6-4638-9082-4AC765CEA1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100" y="5094288"/>
              <a:ext cx="169863" cy="327025"/>
            </a:xfrm>
            <a:custGeom>
              <a:avLst/>
              <a:gdLst>
                <a:gd name="T0" fmla="*/ 3 w 74"/>
                <a:gd name="T1" fmla="*/ 142 h 142"/>
                <a:gd name="T2" fmla="*/ 0 w 74"/>
                <a:gd name="T3" fmla="*/ 139 h 142"/>
                <a:gd name="T4" fmla="*/ 0 w 74"/>
                <a:gd name="T5" fmla="*/ 3 h 142"/>
                <a:gd name="T6" fmla="*/ 3 w 74"/>
                <a:gd name="T7" fmla="*/ 0 h 142"/>
                <a:gd name="T8" fmla="*/ 71 w 74"/>
                <a:gd name="T9" fmla="*/ 0 h 142"/>
                <a:gd name="T10" fmla="*/ 74 w 74"/>
                <a:gd name="T11" fmla="*/ 3 h 142"/>
                <a:gd name="T12" fmla="*/ 71 w 74"/>
                <a:gd name="T13" fmla="*/ 6 h 142"/>
                <a:gd name="T14" fmla="*/ 6 w 74"/>
                <a:gd name="T15" fmla="*/ 6 h 142"/>
                <a:gd name="T16" fmla="*/ 6 w 74"/>
                <a:gd name="T17" fmla="*/ 139 h 142"/>
                <a:gd name="T18" fmla="*/ 3 w 74"/>
                <a:gd name="T1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142">
                  <a:moveTo>
                    <a:pt x="3" y="142"/>
                  </a:moveTo>
                  <a:cubicBezTo>
                    <a:pt x="1" y="142"/>
                    <a:pt x="0" y="141"/>
                    <a:pt x="0" y="13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2" y="0"/>
                    <a:pt x="74" y="1"/>
                    <a:pt x="74" y="3"/>
                  </a:cubicBezTo>
                  <a:cubicBezTo>
                    <a:pt x="74" y="5"/>
                    <a:pt x="72" y="6"/>
                    <a:pt x="71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139"/>
                    <a:pt x="6" y="139"/>
                    <a:pt x="6" y="139"/>
                  </a:cubicBezTo>
                  <a:cubicBezTo>
                    <a:pt x="6" y="141"/>
                    <a:pt x="4" y="142"/>
                    <a:pt x="3" y="1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6" name="Freeform 314">
              <a:extLst>
                <a:ext uri="{FF2B5EF4-FFF2-40B4-BE49-F238E27FC236}">
                  <a16:creationId xmlns:a16="http://schemas.microsoft.com/office/drawing/2014/main" id="{C77B44B1-701B-41B9-BABD-A0BEA98B5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1838" y="5343525"/>
              <a:ext cx="41275" cy="96838"/>
            </a:xfrm>
            <a:custGeom>
              <a:avLst/>
              <a:gdLst>
                <a:gd name="T0" fmla="*/ 15 w 18"/>
                <a:gd name="T1" fmla="*/ 42 h 42"/>
                <a:gd name="T2" fmla="*/ 3 w 18"/>
                <a:gd name="T3" fmla="*/ 42 h 42"/>
                <a:gd name="T4" fmla="*/ 0 w 18"/>
                <a:gd name="T5" fmla="*/ 39 h 42"/>
                <a:gd name="T6" fmla="*/ 3 w 18"/>
                <a:gd name="T7" fmla="*/ 36 h 42"/>
                <a:gd name="T8" fmla="*/ 12 w 18"/>
                <a:gd name="T9" fmla="*/ 36 h 42"/>
                <a:gd name="T10" fmla="*/ 12 w 18"/>
                <a:gd name="T11" fmla="*/ 3 h 42"/>
                <a:gd name="T12" fmla="*/ 15 w 18"/>
                <a:gd name="T13" fmla="*/ 0 h 42"/>
                <a:gd name="T14" fmla="*/ 18 w 18"/>
                <a:gd name="T15" fmla="*/ 3 h 42"/>
                <a:gd name="T16" fmla="*/ 18 w 18"/>
                <a:gd name="T17" fmla="*/ 39 h 42"/>
                <a:gd name="T18" fmla="*/ 15 w 18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42">
                  <a:moveTo>
                    <a:pt x="15" y="42"/>
                  </a:moveTo>
                  <a:cubicBezTo>
                    <a:pt x="3" y="42"/>
                    <a:pt x="3" y="42"/>
                    <a:pt x="3" y="42"/>
                  </a:cubicBezTo>
                  <a:cubicBezTo>
                    <a:pt x="1" y="42"/>
                    <a:pt x="0" y="41"/>
                    <a:pt x="0" y="39"/>
                  </a:cubicBezTo>
                  <a:cubicBezTo>
                    <a:pt x="0" y="37"/>
                    <a:pt x="1" y="36"/>
                    <a:pt x="3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1"/>
                    <a:pt x="13" y="0"/>
                    <a:pt x="15" y="0"/>
                  </a:cubicBezTo>
                  <a:cubicBezTo>
                    <a:pt x="16" y="0"/>
                    <a:pt x="18" y="1"/>
                    <a:pt x="18" y="3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41"/>
                    <a:pt x="16" y="42"/>
                    <a:pt x="15" y="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7" name="Freeform 315">
              <a:extLst>
                <a:ext uri="{FF2B5EF4-FFF2-40B4-BE49-F238E27FC236}">
                  <a16:creationId xmlns:a16="http://schemas.microsoft.com/office/drawing/2014/main" id="{3C4B7BB0-259A-42AF-8CBD-278101762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5800" y="5426075"/>
              <a:ext cx="23813" cy="14288"/>
            </a:xfrm>
            <a:custGeom>
              <a:avLst/>
              <a:gdLst>
                <a:gd name="T0" fmla="*/ 7 w 10"/>
                <a:gd name="T1" fmla="*/ 6 h 6"/>
                <a:gd name="T2" fmla="*/ 3 w 10"/>
                <a:gd name="T3" fmla="*/ 6 h 6"/>
                <a:gd name="T4" fmla="*/ 0 w 10"/>
                <a:gd name="T5" fmla="*/ 3 h 6"/>
                <a:gd name="T6" fmla="*/ 3 w 10"/>
                <a:gd name="T7" fmla="*/ 0 h 6"/>
                <a:gd name="T8" fmla="*/ 7 w 10"/>
                <a:gd name="T9" fmla="*/ 0 h 6"/>
                <a:gd name="T10" fmla="*/ 10 w 10"/>
                <a:gd name="T11" fmla="*/ 3 h 6"/>
                <a:gd name="T12" fmla="*/ 7 w 1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6">
                  <a:moveTo>
                    <a:pt x="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10" y="1"/>
                    <a:pt x="10" y="3"/>
                  </a:cubicBezTo>
                  <a:cubicBezTo>
                    <a:pt x="10" y="5"/>
                    <a:pt x="8" y="6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8" name="Freeform 316">
              <a:extLst>
                <a:ext uri="{FF2B5EF4-FFF2-40B4-BE49-F238E27FC236}">
                  <a16:creationId xmlns:a16="http://schemas.microsoft.com/office/drawing/2014/main" id="{4EAE1E90-89B1-4155-98CB-9C055CECD7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7188" y="5094288"/>
              <a:ext cx="22225" cy="14288"/>
            </a:xfrm>
            <a:custGeom>
              <a:avLst/>
              <a:gdLst>
                <a:gd name="T0" fmla="*/ 7 w 10"/>
                <a:gd name="T1" fmla="*/ 6 h 6"/>
                <a:gd name="T2" fmla="*/ 3 w 10"/>
                <a:gd name="T3" fmla="*/ 6 h 6"/>
                <a:gd name="T4" fmla="*/ 0 w 10"/>
                <a:gd name="T5" fmla="*/ 3 h 6"/>
                <a:gd name="T6" fmla="*/ 3 w 10"/>
                <a:gd name="T7" fmla="*/ 0 h 6"/>
                <a:gd name="T8" fmla="*/ 7 w 10"/>
                <a:gd name="T9" fmla="*/ 0 h 6"/>
                <a:gd name="T10" fmla="*/ 10 w 10"/>
                <a:gd name="T11" fmla="*/ 3 h 6"/>
                <a:gd name="T12" fmla="*/ 7 w 1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6">
                  <a:moveTo>
                    <a:pt x="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10" y="1"/>
                    <a:pt x="10" y="3"/>
                  </a:cubicBezTo>
                  <a:cubicBezTo>
                    <a:pt x="10" y="5"/>
                    <a:pt x="8" y="6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108" name="TextBox 107"/>
          <p:cNvSpPr txBox="1"/>
          <p:nvPr/>
        </p:nvSpPr>
        <p:spPr>
          <a:xfrm>
            <a:off x="8574422" y="1754413"/>
            <a:ext cx="3263300" cy="12157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Единая CIM-модель</a:t>
            </a:r>
          </a:p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Единые нотации</a:t>
            </a:r>
          </a:p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Единые модели</a:t>
            </a:r>
          </a:p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Единые справочники</a:t>
            </a:r>
          </a:p>
        </p:txBody>
      </p:sp>
      <p:sp>
        <p:nvSpPr>
          <p:cNvPr id="111" name="Овал 110"/>
          <p:cNvSpPr/>
          <p:nvPr/>
        </p:nvSpPr>
        <p:spPr>
          <a:xfrm>
            <a:off x="8350306" y="1830335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rgbClr val="FE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олилиния 16"/>
          <p:cNvSpPr/>
          <p:nvPr/>
        </p:nvSpPr>
        <p:spPr>
          <a:xfrm>
            <a:off x="6096978" y="1417862"/>
            <a:ext cx="5781675" cy="161925"/>
          </a:xfrm>
          <a:custGeom>
            <a:avLst/>
            <a:gdLst>
              <a:gd name="connsiteX0" fmla="*/ 0 w 5781675"/>
              <a:gd name="connsiteY0" fmla="*/ 161925 h 161925"/>
              <a:gd name="connsiteX1" fmla="*/ 0 w 5781675"/>
              <a:gd name="connsiteY1" fmla="*/ 0 h 161925"/>
              <a:gd name="connsiteX2" fmla="*/ 5781675 w 5781675"/>
              <a:gd name="connsiteY2" fmla="*/ 0 h 16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81675" h="161925">
                <a:moveTo>
                  <a:pt x="0" y="161925"/>
                </a:moveTo>
                <a:lnTo>
                  <a:pt x="0" y="0"/>
                </a:lnTo>
                <a:lnTo>
                  <a:pt x="5781675" y="0"/>
                </a:lnTo>
              </a:path>
            </a:pathLst>
          </a:custGeom>
          <a:noFill/>
          <a:ln w="6350">
            <a:solidFill>
              <a:srgbClr val="FE5757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9" name="TextBox 98"/>
          <p:cNvSpPr txBox="1"/>
          <p:nvPr/>
        </p:nvSpPr>
        <p:spPr>
          <a:xfrm>
            <a:off x="524110" y="282355"/>
            <a:ext cx="1120697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600" dirty="0">
                <a:latin typeface="+mn-lt"/>
              </a:rPr>
              <a:t>НАПРАВЛЕНИЯ КООПЕРАЦИИ</a:t>
            </a:r>
          </a:p>
        </p:txBody>
      </p:sp>
      <p:sp>
        <p:nvSpPr>
          <p:cNvPr id="106" name="Овал 105"/>
          <p:cNvSpPr/>
          <p:nvPr/>
        </p:nvSpPr>
        <p:spPr>
          <a:xfrm>
            <a:off x="8350306" y="2127920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rgbClr val="FE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9" name="Овал 108"/>
          <p:cNvSpPr/>
          <p:nvPr/>
        </p:nvSpPr>
        <p:spPr>
          <a:xfrm>
            <a:off x="8350306" y="2445560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rgbClr val="FE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2" name="Овал 111"/>
          <p:cNvSpPr/>
          <p:nvPr/>
        </p:nvSpPr>
        <p:spPr>
          <a:xfrm>
            <a:off x="8350306" y="2772466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rgbClr val="FE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084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3">
            <a:extLst>
              <a:ext uri="{FF2B5EF4-FFF2-40B4-BE49-F238E27FC236}">
                <a16:creationId xmlns:a16="http://schemas.microsoft.com/office/drawing/2014/main" id="{AB4CCE72-D79B-49AD-9FAB-B8EBC4DF35E8}"/>
              </a:ext>
            </a:extLst>
          </p:cNvPr>
          <p:cNvSpPr/>
          <p:nvPr/>
        </p:nvSpPr>
        <p:spPr>
          <a:xfrm>
            <a:off x="6087653" y="1603200"/>
            <a:ext cx="1768763" cy="1768763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1905000 h 1905000"/>
              <a:gd name="connsiteX2" fmla="*/ 0 w 1905000"/>
              <a:gd name="connsiteY2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cubicBezTo>
                  <a:pt x="1052102" y="0"/>
                  <a:pt x="1905000" y="852898"/>
                  <a:pt x="1905000" y="1905000"/>
                </a:cubicBezTo>
                <a:lnTo>
                  <a:pt x="0" y="1905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4000" bIns="381000" rtlCol="0" anchor="b"/>
          <a:lstStyle/>
          <a:p>
            <a:r>
              <a:rPr lang="ru-RU" b="1" dirty="0">
                <a:solidFill>
                  <a:schemeClr val="bg2"/>
                </a:solidFill>
                <a:ea typeface="Roboto Light" charset="0"/>
                <a:cs typeface="Roboto Light" charset="0"/>
              </a:rPr>
              <a:t>ДАННЫЕ</a:t>
            </a:r>
            <a:endParaRPr lang="en-US" b="1" dirty="0">
              <a:solidFill>
                <a:schemeClr val="bg2"/>
              </a:solidFill>
              <a:ea typeface="Roboto Light" charset="0"/>
              <a:cs typeface="Roboto Light" charset="0"/>
            </a:endParaRPr>
          </a:p>
        </p:txBody>
      </p:sp>
      <p:sp>
        <p:nvSpPr>
          <p:cNvPr id="25" name="Freeform 4">
            <a:extLst>
              <a:ext uri="{FF2B5EF4-FFF2-40B4-BE49-F238E27FC236}">
                <a16:creationId xmlns:a16="http://schemas.microsoft.com/office/drawing/2014/main" id="{2BFD0D33-0296-4056-BCAD-B6CC527B68CE}"/>
              </a:ext>
            </a:extLst>
          </p:cNvPr>
          <p:cNvSpPr/>
          <p:nvPr/>
        </p:nvSpPr>
        <p:spPr>
          <a:xfrm>
            <a:off x="4242290" y="3448563"/>
            <a:ext cx="1768763" cy="1768763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cubicBezTo>
                  <a:pt x="852898" y="1905000"/>
                  <a:pt x="0" y="1052102"/>
                  <a:pt x="0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81000" rIns="254000" rtlCol="0" anchor="t"/>
          <a:lstStyle/>
          <a:p>
            <a:pPr algn="r"/>
            <a:r>
              <a:rPr lang="ru-RU" b="1" dirty="0">
                <a:solidFill>
                  <a:schemeClr val="bg2"/>
                </a:solidFill>
                <a:ea typeface="Roboto Light" charset="0"/>
                <a:cs typeface="Roboto Light" charset="0"/>
              </a:rPr>
              <a:t>ПРОЦЕССЫ</a:t>
            </a:r>
            <a:endParaRPr lang="en-US" b="1" dirty="0">
              <a:solidFill>
                <a:schemeClr val="bg2"/>
              </a:solidFill>
              <a:ea typeface="Roboto Light" charset="0"/>
              <a:cs typeface="Roboto Light" charset="0"/>
            </a:endParaRPr>
          </a:p>
        </p:txBody>
      </p:sp>
      <p:sp>
        <p:nvSpPr>
          <p:cNvPr id="26" name="Freeform 5">
            <a:extLst>
              <a:ext uri="{FF2B5EF4-FFF2-40B4-BE49-F238E27FC236}">
                <a16:creationId xmlns:a16="http://schemas.microsoft.com/office/drawing/2014/main" id="{471E4F6C-4A00-45D5-91C5-4D951E1E69A0}"/>
              </a:ext>
            </a:extLst>
          </p:cNvPr>
          <p:cNvSpPr/>
          <p:nvPr/>
        </p:nvSpPr>
        <p:spPr>
          <a:xfrm>
            <a:off x="6087653" y="3448563"/>
            <a:ext cx="1768763" cy="1768763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0 w 1905000"/>
              <a:gd name="connsiteY2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cubicBezTo>
                  <a:pt x="1905000" y="1052102"/>
                  <a:pt x="1052102" y="1905000"/>
                  <a:pt x="0" y="1905000"/>
                </a:cubicBezTo>
                <a:close/>
              </a:path>
            </a:pathLst>
          </a:custGeom>
          <a:solidFill>
            <a:srgbClr val="FF2649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4000" tIns="381000" bIns="381000" rtlCol="0" anchor="t"/>
          <a:lstStyle/>
          <a:p>
            <a:r>
              <a:rPr lang="ru-RU" b="1" dirty="0">
                <a:solidFill>
                  <a:schemeClr val="bg1"/>
                </a:solidFill>
                <a:ea typeface="Roboto Light" charset="0"/>
                <a:cs typeface="Roboto Light" charset="0"/>
              </a:rPr>
              <a:t>КАДРЫ, КУЛЬТУРА</a:t>
            </a:r>
            <a:endParaRPr lang="en-US" b="1" dirty="0">
              <a:solidFill>
                <a:schemeClr val="bg1"/>
              </a:solidFill>
              <a:ea typeface="Roboto Light" charset="0"/>
              <a:cs typeface="Roboto Light" charset="0"/>
            </a:endParaRPr>
          </a:p>
        </p:txBody>
      </p:sp>
      <p:sp>
        <p:nvSpPr>
          <p:cNvPr id="27" name="Freeform 2">
            <a:extLst>
              <a:ext uri="{FF2B5EF4-FFF2-40B4-BE49-F238E27FC236}">
                <a16:creationId xmlns:a16="http://schemas.microsoft.com/office/drawing/2014/main" id="{9F8BEA46-D0C7-4BA6-88E2-80A0B610E7CA}"/>
              </a:ext>
            </a:extLst>
          </p:cNvPr>
          <p:cNvSpPr>
            <a:spLocks/>
          </p:cNvSpPr>
          <p:nvPr/>
        </p:nvSpPr>
        <p:spPr>
          <a:xfrm>
            <a:off x="4242290" y="1603200"/>
            <a:ext cx="1768763" cy="1768763"/>
          </a:xfrm>
          <a:custGeom>
            <a:avLst/>
            <a:gdLst>
              <a:gd name="connsiteX0" fmla="*/ 1905000 w 1905000"/>
              <a:gd name="connsiteY0" fmla="*/ 0 h 1905000"/>
              <a:gd name="connsiteX1" fmla="*/ 1905000 w 1905000"/>
              <a:gd name="connsiteY1" fmla="*/ 1905000 h 1905000"/>
              <a:gd name="connsiteX2" fmla="*/ 0 w 1905000"/>
              <a:gd name="connsiteY2" fmla="*/ 1905000 h 1905000"/>
              <a:gd name="connsiteX3" fmla="*/ 1905000 w 1905000"/>
              <a:gd name="connsiteY3" fmla="*/ 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1905000" y="0"/>
                </a:moveTo>
                <a:lnTo>
                  <a:pt x="1905000" y="1905000"/>
                </a:lnTo>
                <a:lnTo>
                  <a:pt x="0" y="1905000"/>
                </a:lnTo>
                <a:cubicBezTo>
                  <a:pt x="0" y="852898"/>
                  <a:pt x="852898" y="0"/>
                  <a:pt x="1905000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254000" bIns="381000" rtlCol="0" anchor="b"/>
          <a:lstStyle/>
          <a:p>
            <a:pPr algn="r"/>
            <a:r>
              <a:rPr lang="ru-RU" b="1" dirty="0">
                <a:solidFill>
                  <a:schemeClr val="bg2"/>
                </a:solidFill>
                <a:ea typeface="Roboto Light" charset="0"/>
                <a:cs typeface="Roboto Light" charset="0"/>
              </a:rPr>
              <a:t>ТЕХНОЛОГИИ</a:t>
            </a:r>
            <a:endParaRPr lang="en-US" b="1" dirty="0">
              <a:solidFill>
                <a:schemeClr val="bg2"/>
              </a:solidFill>
              <a:ea typeface="Roboto Light" charset="0"/>
              <a:cs typeface="Roboto Light" charset="0"/>
            </a:endParaRPr>
          </a:p>
        </p:txBody>
      </p: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2F25CFDF-790E-46D8-AF04-BA70097308DA}"/>
              </a:ext>
            </a:extLst>
          </p:cNvPr>
          <p:cNvGrpSpPr/>
          <p:nvPr/>
        </p:nvGrpSpPr>
        <p:grpSpPr>
          <a:xfrm>
            <a:off x="5042286" y="4370166"/>
            <a:ext cx="483785" cy="332089"/>
            <a:chOff x="3978276" y="1422401"/>
            <a:chExt cx="749301" cy="514350"/>
          </a:xfrm>
          <a:solidFill>
            <a:schemeClr val="bg2"/>
          </a:solidFill>
        </p:grpSpPr>
        <p:sp>
          <p:nvSpPr>
            <p:cNvPr id="29" name="Freeform 280">
              <a:extLst>
                <a:ext uri="{FF2B5EF4-FFF2-40B4-BE49-F238E27FC236}">
                  <a16:creationId xmlns:a16="http://schemas.microsoft.com/office/drawing/2014/main" id="{7CE0D451-532B-4D95-830A-90B8361DCF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78276" y="1422401"/>
              <a:ext cx="349250" cy="346075"/>
            </a:xfrm>
            <a:custGeom>
              <a:avLst/>
              <a:gdLst>
                <a:gd name="T0" fmla="*/ 92 w 151"/>
                <a:gd name="T1" fmla="*/ 147 h 149"/>
                <a:gd name="T2" fmla="*/ 63 w 151"/>
                <a:gd name="T3" fmla="*/ 131 h 149"/>
                <a:gd name="T4" fmla="*/ 52 w 151"/>
                <a:gd name="T5" fmla="*/ 148 h 149"/>
                <a:gd name="T6" fmla="*/ 34 w 151"/>
                <a:gd name="T7" fmla="*/ 140 h 149"/>
                <a:gd name="T8" fmla="*/ 41 w 151"/>
                <a:gd name="T9" fmla="*/ 122 h 149"/>
                <a:gd name="T10" fmla="*/ 10 w 151"/>
                <a:gd name="T11" fmla="*/ 111 h 149"/>
                <a:gd name="T12" fmla="*/ 0 w 151"/>
                <a:gd name="T13" fmla="*/ 92 h 149"/>
                <a:gd name="T14" fmla="*/ 2 w 151"/>
                <a:gd name="T15" fmla="*/ 89 h 149"/>
                <a:gd name="T16" fmla="*/ 18 w 151"/>
                <a:gd name="T17" fmla="*/ 62 h 149"/>
                <a:gd name="T18" fmla="*/ 1 w 151"/>
                <a:gd name="T19" fmla="*/ 51 h 149"/>
                <a:gd name="T20" fmla="*/ 10 w 151"/>
                <a:gd name="T21" fmla="*/ 34 h 149"/>
                <a:gd name="T22" fmla="*/ 28 w 151"/>
                <a:gd name="T23" fmla="*/ 41 h 149"/>
                <a:gd name="T24" fmla="*/ 36 w 151"/>
                <a:gd name="T25" fmla="*/ 11 h 149"/>
                <a:gd name="T26" fmla="*/ 38 w 151"/>
                <a:gd name="T27" fmla="*/ 7 h 149"/>
                <a:gd name="T28" fmla="*/ 58 w 151"/>
                <a:gd name="T29" fmla="*/ 2 h 149"/>
                <a:gd name="T30" fmla="*/ 88 w 151"/>
                <a:gd name="T31" fmla="*/ 18 h 149"/>
                <a:gd name="T32" fmla="*/ 98 w 151"/>
                <a:gd name="T33" fmla="*/ 1 h 149"/>
                <a:gd name="T34" fmla="*/ 116 w 151"/>
                <a:gd name="T35" fmla="*/ 10 h 149"/>
                <a:gd name="T36" fmla="*/ 109 w 151"/>
                <a:gd name="T37" fmla="*/ 28 h 149"/>
                <a:gd name="T38" fmla="*/ 141 w 151"/>
                <a:gd name="T39" fmla="*/ 39 h 149"/>
                <a:gd name="T40" fmla="*/ 150 w 151"/>
                <a:gd name="T41" fmla="*/ 57 h 149"/>
                <a:gd name="T42" fmla="*/ 148 w 151"/>
                <a:gd name="T43" fmla="*/ 61 h 149"/>
                <a:gd name="T44" fmla="*/ 132 w 151"/>
                <a:gd name="T45" fmla="*/ 87 h 149"/>
                <a:gd name="T46" fmla="*/ 149 w 151"/>
                <a:gd name="T47" fmla="*/ 96 h 149"/>
                <a:gd name="T48" fmla="*/ 142 w 151"/>
                <a:gd name="T49" fmla="*/ 114 h 149"/>
                <a:gd name="T50" fmla="*/ 122 w 151"/>
                <a:gd name="T51" fmla="*/ 109 h 149"/>
                <a:gd name="T52" fmla="*/ 114 w 151"/>
                <a:gd name="T53" fmla="*/ 139 h 149"/>
                <a:gd name="T54" fmla="*/ 112 w 151"/>
                <a:gd name="T55" fmla="*/ 143 h 149"/>
                <a:gd name="T56" fmla="*/ 95 w 151"/>
                <a:gd name="T57" fmla="*/ 149 h 149"/>
                <a:gd name="T58" fmla="*/ 90 w 151"/>
                <a:gd name="T59" fmla="*/ 127 h 149"/>
                <a:gd name="T60" fmla="*/ 107 w 151"/>
                <a:gd name="T61" fmla="*/ 138 h 149"/>
                <a:gd name="T62" fmla="*/ 102 w 151"/>
                <a:gd name="T63" fmla="*/ 119 h 149"/>
                <a:gd name="T64" fmla="*/ 122 w 151"/>
                <a:gd name="T65" fmla="*/ 102 h 149"/>
                <a:gd name="T66" fmla="*/ 142 w 151"/>
                <a:gd name="T67" fmla="*/ 98 h 149"/>
                <a:gd name="T68" fmla="*/ 125 w 151"/>
                <a:gd name="T69" fmla="*/ 88 h 149"/>
                <a:gd name="T70" fmla="*/ 128 w 151"/>
                <a:gd name="T71" fmla="*/ 62 h 149"/>
                <a:gd name="T72" fmla="*/ 140 w 151"/>
                <a:gd name="T73" fmla="*/ 45 h 149"/>
                <a:gd name="T74" fmla="*/ 121 w 151"/>
                <a:gd name="T75" fmla="*/ 50 h 149"/>
                <a:gd name="T76" fmla="*/ 102 w 151"/>
                <a:gd name="T77" fmla="*/ 27 h 149"/>
                <a:gd name="T78" fmla="*/ 99 w 151"/>
                <a:gd name="T79" fmla="*/ 8 h 149"/>
                <a:gd name="T80" fmla="*/ 89 w 151"/>
                <a:gd name="T81" fmla="*/ 24 h 149"/>
                <a:gd name="T82" fmla="*/ 60 w 151"/>
                <a:gd name="T83" fmla="*/ 22 h 149"/>
                <a:gd name="T84" fmla="*/ 43 w 151"/>
                <a:gd name="T85" fmla="*/ 11 h 149"/>
                <a:gd name="T86" fmla="*/ 48 w 151"/>
                <a:gd name="T87" fmla="*/ 30 h 149"/>
                <a:gd name="T88" fmla="*/ 28 w 151"/>
                <a:gd name="T89" fmla="*/ 47 h 149"/>
                <a:gd name="T90" fmla="*/ 8 w 151"/>
                <a:gd name="T91" fmla="*/ 51 h 149"/>
                <a:gd name="T92" fmla="*/ 25 w 151"/>
                <a:gd name="T93" fmla="*/ 61 h 149"/>
                <a:gd name="T94" fmla="*/ 22 w 151"/>
                <a:gd name="T95" fmla="*/ 88 h 149"/>
                <a:gd name="T96" fmla="*/ 10 w 151"/>
                <a:gd name="T97" fmla="*/ 104 h 149"/>
                <a:gd name="T98" fmla="*/ 29 w 151"/>
                <a:gd name="T99" fmla="*/ 100 h 149"/>
                <a:gd name="T100" fmla="*/ 48 w 151"/>
                <a:gd name="T101" fmla="*/ 122 h 149"/>
                <a:gd name="T102" fmla="*/ 51 w 151"/>
                <a:gd name="T103" fmla="*/ 142 h 149"/>
                <a:gd name="T104" fmla="*/ 62 w 151"/>
                <a:gd name="T105" fmla="*/ 125 h 149"/>
                <a:gd name="T106" fmla="*/ 87 w 151"/>
                <a:gd name="T107" fmla="*/ 125 h 149"/>
                <a:gd name="T108" fmla="*/ 68 w 151"/>
                <a:gd name="T109" fmla="*/ 106 h 149"/>
                <a:gd name="T110" fmla="*/ 44 w 151"/>
                <a:gd name="T111" fmla="*/ 67 h 149"/>
                <a:gd name="T112" fmla="*/ 82 w 151"/>
                <a:gd name="T113" fmla="*/ 43 h 149"/>
                <a:gd name="T114" fmla="*/ 106 w 151"/>
                <a:gd name="T115" fmla="*/ 82 h 149"/>
                <a:gd name="T116" fmla="*/ 69 w 151"/>
                <a:gd name="T117" fmla="*/ 100 h 149"/>
                <a:gd name="T118" fmla="*/ 101 w 151"/>
                <a:gd name="T119" fmla="*/ 81 h 149"/>
                <a:gd name="T120" fmla="*/ 81 w 151"/>
                <a:gd name="T121" fmla="*/ 49 h 149"/>
                <a:gd name="T122" fmla="*/ 49 w 151"/>
                <a:gd name="T123" fmla="*/ 6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" h="149">
                  <a:moveTo>
                    <a:pt x="95" y="149"/>
                  </a:moveTo>
                  <a:cubicBezTo>
                    <a:pt x="94" y="149"/>
                    <a:pt x="92" y="149"/>
                    <a:pt x="92" y="147"/>
                  </a:cubicBezTo>
                  <a:cubicBezTo>
                    <a:pt x="86" y="132"/>
                    <a:pt x="86" y="132"/>
                    <a:pt x="86" y="132"/>
                  </a:cubicBezTo>
                  <a:cubicBezTo>
                    <a:pt x="78" y="133"/>
                    <a:pt x="70" y="133"/>
                    <a:pt x="63" y="131"/>
                  </a:cubicBezTo>
                  <a:cubicBezTo>
                    <a:pt x="56" y="147"/>
                    <a:pt x="56" y="147"/>
                    <a:pt x="56" y="147"/>
                  </a:cubicBezTo>
                  <a:cubicBezTo>
                    <a:pt x="55" y="148"/>
                    <a:pt x="53" y="149"/>
                    <a:pt x="52" y="148"/>
                  </a:cubicBezTo>
                  <a:cubicBezTo>
                    <a:pt x="36" y="141"/>
                    <a:pt x="36" y="141"/>
                    <a:pt x="36" y="141"/>
                  </a:cubicBezTo>
                  <a:cubicBezTo>
                    <a:pt x="35" y="141"/>
                    <a:pt x="35" y="140"/>
                    <a:pt x="34" y="140"/>
                  </a:cubicBezTo>
                  <a:cubicBezTo>
                    <a:pt x="34" y="139"/>
                    <a:pt x="34" y="138"/>
                    <a:pt x="34" y="137"/>
                  </a:cubicBezTo>
                  <a:cubicBezTo>
                    <a:pt x="41" y="122"/>
                    <a:pt x="41" y="122"/>
                    <a:pt x="41" y="122"/>
                  </a:cubicBezTo>
                  <a:cubicBezTo>
                    <a:pt x="35" y="117"/>
                    <a:pt x="30" y="112"/>
                    <a:pt x="26" y="105"/>
                  </a:cubicBezTo>
                  <a:cubicBezTo>
                    <a:pt x="10" y="111"/>
                    <a:pt x="10" y="111"/>
                    <a:pt x="10" y="111"/>
                  </a:cubicBezTo>
                  <a:cubicBezTo>
                    <a:pt x="8" y="111"/>
                    <a:pt x="6" y="110"/>
                    <a:pt x="6" y="109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2"/>
                    <a:pt x="0" y="91"/>
                    <a:pt x="0" y="90"/>
                  </a:cubicBezTo>
                  <a:cubicBezTo>
                    <a:pt x="0" y="89"/>
                    <a:pt x="1" y="89"/>
                    <a:pt x="2" y="89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7" y="76"/>
                    <a:pt x="17" y="69"/>
                    <a:pt x="18" y="62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5"/>
                    <a:pt x="1" y="53"/>
                    <a:pt x="1" y="51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9" y="35"/>
                    <a:pt x="9" y="34"/>
                    <a:pt x="10" y="34"/>
                  </a:cubicBezTo>
                  <a:cubicBezTo>
                    <a:pt x="11" y="34"/>
                    <a:pt x="12" y="34"/>
                    <a:pt x="12" y="34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32" y="35"/>
                    <a:pt x="37" y="30"/>
                    <a:pt x="43" y="26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0"/>
                    <a:pt x="36" y="9"/>
                    <a:pt x="36" y="8"/>
                  </a:cubicBezTo>
                  <a:cubicBezTo>
                    <a:pt x="37" y="8"/>
                    <a:pt x="37" y="7"/>
                    <a:pt x="38" y="7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6" y="0"/>
                    <a:pt x="57" y="0"/>
                    <a:pt x="58" y="2"/>
                  </a:cubicBezTo>
                  <a:cubicBezTo>
                    <a:pt x="65" y="18"/>
                    <a:pt x="65" y="18"/>
                    <a:pt x="65" y="18"/>
                  </a:cubicBezTo>
                  <a:cubicBezTo>
                    <a:pt x="72" y="16"/>
                    <a:pt x="80" y="16"/>
                    <a:pt x="88" y="18"/>
                  </a:cubicBezTo>
                  <a:cubicBezTo>
                    <a:pt x="95" y="2"/>
                    <a:pt x="95" y="2"/>
                    <a:pt x="95" y="2"/>
                  </a:cubicBezTo>
                  <a:cubicBezTo>
                    <a:pt x="95" y="1"/>
                    <a:pt x="97" y="0"/>
                    <a:pt x="98" y="1"/>
                  </a:cubicBezTo>
                  <a:cubicBezTo>
                    <a:pt x="114" y="8"/>
                    <a:pt x="114" y="8"/>
                    <a:pt x="114" y="8"/>
                  </a:cubicBezTo>
                  <a:cubicBezTo>
                    <a:pt x="115" y="8"/>
                    <a:pt x="116" y="9"/>
                    <a:pt x="116" y="10"/>
                  </a:cubicBezTo>
                  <a:cubicBezTo>
                    <a:pt x="116" y="10"/>
                    <a:pt x="116" y="11"/>
                    <a:pt x="116" y="12"/>
                  </a:cubicBezTo>
                  <a:cubicBezTo>
                    <a:pt x="109" y="28"/>
                    <a:pt x="109" y="28"/>
                    <a:pt x="109" y="28"/>
                  </a:cubicBezTo>
                  <a:cubicBezTo>
                    <a:pt x="115" y="32"/>
                    <a:pt x="121" y="38"/>
                    <a:pt x="125" y="44"/>
                  </a:cubicBezTo>
                  <a:cubicBezTo>
                    <a:pt x="141" y="39"/>
                    <a:pt x="141" y="39"/>
                    <a:pt x="141" y="39"/>
                  </a:cubicBezTo>
                  <a:cubicBezTo>
                    <a:pt x="142" y="38"/>
                    <a:pt x="144" y="39"/>
                    <a:pt x="144" y="41"/>
                  </a:cubicBezTo>
                  <a:cubicBezTo>
                    <a:pt x="150" y="57"/>
                    <a:pt x="150" y="57"/>
                    <a:pt x="150" y="57"/>
                  </a:cubicBezTo>
                  <a:cubicBezTo>
                    <a:pt x="151" y="58"/>
                    <a:pt x="151" y="58"/>
                    <a:pt x="150" y="59"/>
                  </a:cubicBezTo>
                  <a:cubicBezTo>
                    <a:pt x="150" y="60"/>
                    <a:pt x="149" y="60"/>
                    <a:pt x="148" y="61"/>
                  </a:cubicBezTo>
                  <a:cubicBezTo>
                    <a:pt x="132" y="66"/>
                    <a:pt x="132" y="66"/>
                    <a:pt x="132" y="66"/>
                  </a:cubicBezTo>
                  <a:cubicBezTo>
                    <a:pt x="133" y="73"/>
                    <a:pt x="133" y="80"/>
                    <a:pt x="132" y="87"/>
                  </a:cubicBezTo>
                  <a:cubicBezTo>
                    <a:pt x="147" y="94"/>
                    <a:pt x="147" y="94"/>
                    <a:pt x="147" y="94"/>
                  </a:cubicBezTo>
                  <a:cubicBezTo>
                    <a:pt x="148" y="94"/>
                    <a:pt x="149" y="95"/>
                    <a:pt x="149" y="96"/>
                  </a:cubicBezTo>
                  <a:cubicBezTo>
                    <a:pt x="149" y="97"/>
                    <a:pt x="149" y="97"/>
                    <a:pt x="149" y="98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1" y="115"/>
                    <a:pt x="139" y="116"/>
                    <a:pt x="138" y="115"/>
                  </a:cubicBezTo>
                  <a:cubicBezTo>
                    <a:pt x="122" y="109"/>
                    <a:pt x="122" y="109"/>
                    <a:pt x="122" y="109"/>
                  </a:cubicBezTo>
                  <a:cubicBezTo>
                    <a:pt x="118" y="114"/>
                    <a:pt x="113" y="119"/>
                    <a:pt x="107" y="123"/>
                  </a:cubicBezTo>
                  <a:cubicBezTo>
                    <a:pt x="114" y="139"/>
                    <a:pt x="114" y="139"/>
                    <a:pt x="114" y="139"/>
                  </a:cubicBezTo>
                  <a:cubicBezTo>
                    <a:pt x="114" y="139"/>
                    <a:pt x="114" y="140"/>
                    <a:pt x="114" y="141"/>
                  </a:cubicBezTo>
                  <a:cubicBezTo>
                    <a:pt x="113" y="142"/>
                    <a:pt x="113" y="142"/>
                    <a:pt x="112" y="143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6" y="149"/>
                    <a:pt x="95" y="149"/>
                    <a:pt x="95" y="149"/>
                  </a:cubicBezTo>
                  <a:close/>
                  <a:moveTo>
                    <a:pt x="87" y="125"/>
                  </a:moveTo>
                  <a:cubicBezTo>
                    <a:pt x="89" y="125"/>
                    <a:pt x="90" y="126"/>
                    <a:pt x="90" y="127"/>
                  </a:cubicBezTo>
                  <a:cubicBezTo>
                    <a:pt x="96" y="142"/>
                    <a:pt x="96" y="142"/>
                    <a:pt x="96" y="142"/>
                  </a:cubicBezTo>
                  <a:cubicBezTo>
                    <a:pt x="107" y="138"/>
                    <a:pt x="107" y="138"/>
                    <a:pt x="107" y="138"/>
                  </a:cubicBezTo>
                  <a:cubicBezTo>
                    <a:pt x="101" y="123"/>
                    <a:pt x="101" y="123"/>
                    <a:pt x="101" y="123"/>
                  </a:cubicBezTo>
                  <a:cubicBezTo>
                    <a:pt x="100" y="121"/>
                    <a:pt x="101" y="120"/>
                    <a:pt x="102" y="119"/>
                  </a:cubicBezTo>
                  <a:cubicBezTo>
                    <a:pt x="109" y="115"/>
                    <a:pt x="114" y="110"/>
                    <a:pt x="119" y="103"/>
                  </a:cubicBezTo>
                  <a:cubicBezTo>
                    <a:pt x="119" y="102"/>
                    <a:pt x="121" y="101"/>
                    <a:pt x="122" y="102"/>
                  </a:cubicBezTo>
                  <a:cubicBezTo>
                    <a:pt x="137" y="109"/>
                    <a:pt x="137" y="109"/>
                    <a:pt x="137" y="109"/>
                  </a:cubicBezTo>
                  <a:cubicBezTo>
                    <a:pt x="142" y="98"/>
                    <a:pt x="142" y="98"/>
                    <a:pt x="142" y="98"/>
                  </a:cubicBezTo>
                  <a:cubicBezTo>
                    <a:pt x="127" y="92"/>
                    <a:pt x="127" y="92"/>
                    <a:pt x="127" y="92"/>
                  </a:cubicBezTo>
                  <a:cubicBezTo>
                    <a:pt x="126" y="91"/>
                    <a:pt x="125" y="90"/>
                    <a:pt x="125" y="88"/>
                  </a:cubicBezTo>
                  <a:cubicBezTo>
                    <a:pt x="127" y="81"/>
                    <a:pt x="128" y="73"/>
                    <a:pt x="126" y="65"/>
                  </a:cubicBezTo>
                  <a:cubicBezTo>
                    <a:pt x="126" y="64"/>
                    <a:pt x="127" y="62"/>
                    <a:pt x="128" y="62"/>
                  </a:cubicBezTo>
                  <a:cubicBezTo>
                    <a:pt x="144" y="56"/>
                    <a:pt x="144" y="56"/>
                    <a:pt x="144" y="56"/>
                  </a:cubicBezTo>
                  <a:cubicBezTo>
                    <a:pt x="140" y="45"/>
                    <a:pt x="140" y="45"/>
                    <a:pt x="140" y="45"/>
                  </a:cubicBezTo>
                  <a:cubicBezTo>
                    <a:pt x="124" y="51"/>
                    <a:pt x="124" y="51"/>
                    <a:pt x="124" y="51"/>
                  </a:cubicBezTo>
                  <a:cubicBezTo>
                    <a:pt x="123" y="51"/>
                    <a:pt x="121" y="51"/>
                    <a:pt x="121" y="50"/>
                  </a:cubicBezTo>
                  <a:cubicBezTo>
                    <a:pt x="116" y="42"/>
                    <a:pt x="111" y="36"/>
                    <a:pt x="103" y="31"/>
                  </a:cubicBezTo>
                  <a:cubicBezTo>
                    <a:pt x="102" y="30"/>
                    <a:pt x="102" y="29"/>
                    <a:pt x="102" y="27"/>
                  </a:cubicBezTo>
                  <a:cubicBezTo>
                    <a:pt x="109" y="12"/>
                    <a:pt x="109" y="12"/>
                    <a:pt x="109" y="12"/>
                  </a:cubicBezTo>
                  <a:cubicBezTo>
                    <a:pt x="99" y="8"/>
                    <a:pt x="99" y="8"/>
                    <a:pt x="99" y="8"/>
                  </a:cubicBezTo>
                  <a:cubicBezTo>
                    <a:pt x="92" y="23"/>
                    <a:pt x="92" y="23"/>
                    <a:pt x="92" y="23"/>
                  </a:cubicBezTo>
                  <a:cubicBezTo>
                    <a:pt x="91" y="24"/>
                    <a:pt x="90" y="25"/>
                    <a:pt x="89" y="24"/>
                  </a:cubicBezTo>
                  <a:cubicBezTo>
                    <a:pt x="80" y="22"/>
                    <a:pt x="72" y="22"/>
                    <a:pt x="63" y="24"/>
                  </a:cubicBezTo>
                  <a:cubicBezTo>
                    <a:pt x="62" y="24"/>
                    <a:pt x="60" y="24"/>
                    <a:pt x="60" y="22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0" y="28"/>
                    <a:pt x="49" y="29"/>
                    <a:pt x="48" y="30"/>
                  </a:cubicBezTo>
                  <a:cubicBezTo>
                    <a:pt x="41" y="34"/>
                    <a:pt x="36" y="40"/>
                    <a:pt x="32" y="46"/>
                  </a:cubicBezTo>
                  <a:cubicBezTo>
                    <a:pt x="31" y="47"/>
                    <a:pt x="29" y="48"/>
                    <a:pt x="28" y="47"/>
                  </a:cubicBezTo>
                  <a:cubicBezTo>
                    <a:pt x="13" y="41"/>
                    <a:pt x="13" y="41"/>
                    <a:pt x="13" y="4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4" y="58"/>
                    <a:pt x="25" y="60"/>
                    <a:pt x="25" y="61"/>
                  </a:cubicBezTo>
                  <a:cubicBezTo>
                    <a:pt x="23" y="69"/>
                    <a:pt x="22" y="77"/>
                    <a:pt x="24" y="84"/>
                  </a:cubicBezTo>
                  <a:cubicBezTo>
                    <a:pt x="24" y="86"/>
                    <a:pt x="23" y="87"/>
                    <a:pt x="22" y="88"/>
                  </a:cubicBezTo>
                  <a:cubicBezTo>
                    <a:pt x="6" y="93"/>
                    <a:pt x="6" y="93"/>
                    <a:pt x="6" y="93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26" y="98"/>
                    <a:pt x="26" y="98"/>
                    <a:pt x="26" y="98"/>
                  </a:cubicBezTo>
                  <a:cubicBezTo>
                    <a:pt x="27" y="98"/>
                    <a:pt x="29" y="98"/>
                    <a:pt x="29" y="100"/>
                  </a:cubicBezTo>
                  <a:cubicBezTo>
                    <a:pt x="34" y="107"/>
                    <a:pt x="40" y="114"/>
                    <a:pt x="47" y="118"/>
                  </a:cubicBezTo>
                  <a:cubicBezTo>
                    <a:pt x="48" y="119"/>
                    <a:pt x="48" y="121"/>
                    <a:pt x="48" y="122"/>
                  </a:cubicBezTo>
                  <a:cubicBezTo>
                    <a:pt x="41" y="137"/>
                    <a:pt x="41" y="137"/>
                    <a:pt x="41" y="137"/>
                  </a:cubicBezTo>
                  <a:cubicBezTo>
                    <a:pt x="51" y="142"/>
                    <a:pt x="51" y="142"/>
                    <a:pt x="51" y="142"/>
                  </a:cubicBezTo>
                  <a:cubicBezTo>
                    <a:pt x="58" y="127"/>
                    <a:pt x="58" y="127"/>
                    <a:pt x="58" y="127"/>
                  </a:cubicBezTo>
                  <a:cubicBezTo>
                    <a:pt x="59" y="125"/>
                    <a:pt x="60" y="125"/>
                    <a:pt x="62" y="125"/>
                  </a:cubicBezTo>
                  <a:cubicBezTo>
                    <a:pt x="70" y="127"/>
                    <a:pt x="79" y="127"/>
                    <a:pt x="87" y="125"/>
                  </a:cubicBezTo>
                  <a:cubicBezTo>
                    <a:pt x="87" y="125"/>
                    <a:pt x="87" y="125"/>
                    <a:pt x="87" y="125"/>
                  </a:cubicBezTo>
                  <a:close/>
                  <a:moveTo>
                    <a:pt x="75" y="107"/>
                  </a:moveTo>
                  <a:cubicBezTo>
                    <a:pt x="73" y="107"/>
                    <a:pt x="70" y="107"/>
                    <a:pt x="68" y="106"/>
                  </a:cubicBezTo>
                  <a:cubicBezTo>
                    <a:pt x="68" y="106"/>
                    <a:pt x="68" y="106"/>
                    <a:pt x="68" y="106"/>
                  </a:cubicBezTo>
                  <a:cubicBezTo>
                    <a:pt x="50" y="102"/>
                    <a:pt x="40" y="85"/>
                    <a:pt x="44" y="67"/>
                  </a:cubicBezTo>
                  <a:cubicBezTo>
                    <a:pt x="46" y="59"/>
                    <a:pt x="51" y="52"/>
                    <a:pt x="58" y="47"/>
                  </a:cubicBezTo>
                  <a:cubicBezTo>
                    <a:pt x="65" y="43"/>
                    <a:pt x="74" y="41"/>
                    <a:pt x="82" y="43"/>
                  </a:cubicBezTo>
                  <a:cubicBezTo>
                    <a:pt x="91" y="45"/>
                    <a:pt x="98" y="50"/>
                    <a:pt x="102" y="58"/>
                  </a:cubicBezTo>
                  <a:cubicBezTo>
                    <a:pt x="107" y="65"/>
                    <a:pt x="108" y="74"/>
                    <a:pt x="106" y="82"/>
                  </a:cubicBezTo>
                  <a:cubicBezTo>
                    <a:pt x="103" y="97"/>
                    <a:pt x="90" y="107"/>
                    <a:pt x="75" y="107"/>
                  </a:cubicBezTo>
                  <a:close/>
                  <a:moveTo>
                    <a:pt x="69" y="100"/>
                  </a:moveTo>
                  <a:cubicBezTo>
                    <a:pt x="76" y="102"/>
                    <a:pt x="83" y="101"/>
                    <a:pt x="89" y="97"/>
                  </a:cubicBezTo>
                  <a:cubicBezTo>
                    <a:pt x="95" y="93"/>
                    <a:pt x="99" y="87"/>
                    <a:pt x="101" y="81"/>
                  </a:cubicBezTo>
                  <a:cubicBezTo>
                    <a:pt x="102" y="74"/>
                    <a:pt x="101" y="67"/>
                    <a:pt x="97" y="61"/>
                  </a:cubicBezTo>
                  <a:cubicBezTo>
                    <a:pt x="94" y="55"/>
                    <a:pt x="88" y="51"/>
                    <a:pt x="81" y="49"/>
                  </a:cubicBezTo>
                  <a:cubicBezTo>
                    <a:pt x="74" y="47"/>
                    <a:pt x="67" y="49"/>
                    <a:pt x="61" y="52"/>
                  </a:cubicBezTo>
                  <a:cubicBezTo>
                    <a:pt x="55" y="56"/>
                    <a:pt x="51" y="62"/>
                    <a:pt x="49" y="69"/>
                  </a:cubicBezTo>
                  <a:cubicBezTo>
                    <a:pt x="46" y="83"/>
                    <a:pt x="55" y="97"/>
                    <a:pt x="69" y="1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" name="Freeform 281">
              <a:extLst>
                <a:ext uri="{FF2B5EF4-FFF2-40B4-BE49-F238E27FC236}">
                  <a16:creationId xmlns:a16="http://schemas.microsoft.com/office/drawing/2014/main" id="{C66E8A0F-AEFF-4A92-923B-A2B36A709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1339" y="1876426"/>
              <a:ext cx="376238" cy="14288"/>
            </a:xfrm>
            <a:custGeom>
              <a:avLst/>
              <a:gdLst>
                <a:gd name="T0" fmla="*/ 159 w 162"/>
                <a:gd name="T1" fmla="*/ 6 h 6"/>
                <a:gd name="T2" fmla="*/ 3 w 162"/>
                <a:gd name="T3" fmla="*/ 6 h 6"/>
                <a:gd name="T4" fmla="*/ 0 w 162"/>
                <a:gd name="T5" fmla="*/ 3 h 6"/>
                <a:gd name="T6" fmla="*/ 3 w 162"/>
                <a:gd name="T7" fmla="*/ 0 h 6"/>
                <a:gd name="T8" fmla="*/ 159 w 162"/>
                <a:gd name="T9" fmla="*/ 0 h 6"/>
                <a:gd name="T10" fmla="*/ 162 w 162"/>
                <a:gd name="T11" fmla="*/ 3 h 6"/>
                <a:gd name="T12" fmla="*/ 159 w 162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6">
                  <a:moveTo>
                    <a:pt x="159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61" y="0"/>
                    <a:pt x="162" y="1"/>
                    <a:pt x="162" y="3"/>
                  </a:cubicBezTo>
                  <a:cubicBezTo>
                    <a:pt x="162" y="4"/>
                    <a:pt x="161" y="6"/>
                    <a:pt x="15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" name="Freeform 282">
              <a:extLst>
                <a:ext uri="{FF2B5EF4-FFF2-40B4-BE49-F238E27FC236}">
                  <a16:creationId xmlns:a16="http://schemas.microsoft.com/office/drawing/2014/main" id="{8358E2EF-25B4-4C45-B430-395DCB6E98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8439" y="1876426"/>
              <a:ext cx="263525" cy="14288"/>
            </a:xfrm>
            <a:custGeom>
              <a:avLst/>
              <a:gdLst>
                <a:gd name="T0" fmla="*/ 111 w 114"/>
                <a:gd name="T1" fmla="*/ 6 h 6"/>
                <a:gd name="T2" fmla="*/ 3 w 114"/>
                <a:gd name="T3" fmla="*/ 6 h 6"/>
                <a:gd name="T4" fmla="*/ 0 w 114"/>
                <a:gd name="T5" fmla="*/ 3 h 6"/>
                <a:gd name="T6" fmla="*/ 3 w 114"/>
                <a:gd name="T7" fmla="*/ 0 h 6"/>
                <a:gd name="T8" fmla="*/ 111 w 114"/>
                <a:gd name="T9" fmla="*/ 0 h 6"/>
                <a:gd name="T10" fmla="*/ 114 w 114"/>
                <a:gd name="T11" fmla="*/ 3 h 6"/>
                <a:gd name="T12" fmla="*/ 111 w 114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" h="6">
                  <a:moveTo>
                    <a:pt x="111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3" y="0"/>
                    <a:pt x="114" y="1"/>
                    <a:pt x="114" y="3"/>
                  </a:cubicBezTo>
                  <a:cubicBezTo>
                    <a:pt x="114" y="4"/>
                    <a:pt x="113" y="6"/>
                    <a:pt x="1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283">
              <a:extLst>
                <a:ext uri="{FF2B5EF4-FFF2-40B4-BE49-F238E27FC236}">
                  <a16:creationId xmlns:a16="http://schemas.microsoft.com/office/drawing/2014/main" id="{2CF0142D-DBFB-4384-A18F-A371EEF1BA2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251" y="1485901"/>
              <a:ext cx="60325" cy="14288"/>
            </a:xfrm>
            <a:custGeom>
              <a:avLst/>
              <a:gdLst>
                <a:gd name="T0" fmla="*/ 23 w 26"/>
                <a:gd name="T1" fmla="*/ 6 h 6"/>
                <a:gd name="T2" fmla="*/ 3 w 26"/>
                <a:gd name="T3" fmla="*/ 6 h 6"/>
                <a:gd name="T4" fmla="*/ 0 w 26"/>
                <a:gd name="T5" fmla="*/ 3 h 6"/>
                <a:gd name="T6" fmla="*/ 3 w 26"/>
                <a:gd name="T7" fmla="*/ 0 h 6"/>
                <a:gd name="T8" fmla="*/ 23 w 26"/>
                <a:gd name="T9" fmla="*/ 0 h 6"/>
                <a:gd name="T10" fmla="*/ 26 w 26"/>
                <a:gd name="T11" fmla="*/ 3 h 6"/>
                <a:gd name="T12" fmla="*/ 23 w 26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6">
                  <a:moveTo>
                    <a:pt x="23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5" y="0"/>
                    <a:pt x="26" y="1"/>
                    <a:pt x="26" y="3"/>
                  </a:cubicBezTo>
                  <a:cubicBezTo>
                    <a:pt x="26" y="4"/>
                    <a:pt x="25" y="6"/>
                    <a:pt x="2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" name="Freeform 284">
              <a:extLst>
                <a:ext uri="{FF2B5EF4-FFF2-40B4-BE49-F238E27FC236}">
                  <a16:creationId xmlns:a16="http://schemas.microsoft.com/office/drawing/2014/main" id="{5FC8E8FB-1501-47A8-8746-70FB8DACF2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0389" y="1485901"/>
              <a:ext cx="217488" cy="14288"/>
            </a:xfrm>
            <a:custGeom>
              <a:avLst/>
              <a:gdLst>
                <a:gd name="T0" fmla="*/ 91 w 94"/>
                <a:gd name="T1" fmla="*/ 6 h 6"/>
                <a:gd name="T2" fmla="*/ 3 w 94"/>
                <a:gd name="T3" fmla="*/ 6 h 6"/>
                <a:gd name="T4" fmla="*/ 0 w 94"/>
                <a:gd name="T5" fmla="*/ 3 h 6"/>
                <a:gd name="T6" fmla="*/ 3 w 94"/>
                <a:gd name="T7" fmla="*/ 0 h 6"/>
                <a:gd name="T8" fmla="*/ 91 w 94"/>
                <a:gd name="T9" fmla="*/ 0 h 6"/>
                <a:gd name="T10" fmla="*/ 94 w 94"/>
                <a:gd name="T11" fmla="*/ 3 h 6"/>
                <a:gd name="T12" fmla="*/ 91 w 94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6">
                  <a:moveTo>
                    <a:pt x="91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3" y="0"/>
                    <a:pt x="94" y="1"/>
                    <a:pt x="94" y="3"/>
                  </a:cubicBezTo>
                  <a:cubicBezTo>
                    <a:pt x="94" y="4"/>
                    <a:pt x="93" y="6"/>
                    <a:pt x="9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" name="Freeform 285">
              <a:extLst>
                <a:ext uri="{FF2B5EF4-FFF2-40B4-BE49-F238E27FC236}">
                  <a16:creationId xmlns:a16="http://schemas.microsoft.com/office/drawing/2014/main" id="{488B68A6-71E1-4DB8-8B19-0570F070BD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8026" y="1681163"/>
              <a:ext cx="209550" cy="14288"/>
            </a:xfrm>
            <a:custGeom>
              <a:avLst/>
              <a:gdLst>
                <a:gd name="T0" fmla="*/ 87 w 90"/>
                <a:gd name="T1" fmla="*/ 6 h 6"/>
                <a:gd name="T2" fmla="*/ 3 w 90"/>
                <a:gd name="T3" fmla="*/ 6 h 6"/>
                <a:gd name="T4" fmla="*/ 0 w 90"/>
                <a:gd name="T5" fmla="*/ 3 h 6"/>
                <a:gd name="T6" fmla="*/ 3 w 90"/>
                <a:gd name="T7" fmla="*/ 0 h 6"/>
                <a:gd name="T8" fmla="*/ 87 w 90"/>
                <a:gd name="T9" fmla="*/ 0 h 6"/>
                <a:gd name="T10" fmla="*/ 90 w 90"/>
                <a:gd name="T11" fmla="*/ 3 h 6"/>
                <a:gd name="T12" fmla="*/ 87 w 9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6">
                  <a:moveTo>
                    <a:pt x="8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9" y="0"/>
                    <a:pt x="90" y="1"/>
                    <a:pt x="90" y="3"/>
                  </a:cubicBezTo>
                  <a:cubicBezTo>
                    <a:pt x="90" y="4"/>
                    <a:pt x="89" y="6"/>
                    <a:pt x="8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" name="Freeform 286">
              <a:extLst>
                <a:ext uri="{FF2B5EF4-FFF2-40B4-BE49-F238E27FC236}">
                  <a16:creationId xmlns:a16="http://schemas.microsoft.com/office/drawing/2014/main" id="{073D92E2-B831-42F8-B836-AFDB17A11DF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0389" y="1681163"/>
              <a:ext cx="69850" cy="14288"/>
            </a:xfrm>
            <a:custGeom>
              <a:avLst/>
              <a:gdLst>
                <a:gd name="T0" fmla="*/ 27 w 30"/>
                <a:gd name="T1" fmla="*/ 6 h 6"/>
                <a:gd name="T2" fmla="*/ 3 w 30"/>
                <a:gd name="T3" fmla="*/ 6 h 6"/>
                <a:gd name="T4" fmla="*/ 0 w 30"/>
                <a:gd name="T5" fmla="*/ 3 h 6"/>
                <a:gd name="T6" fmla="*/ 3 w 30"/>
                <a:gd name="T7" fmla="*/ 0 h 6"/>
                <a:gd name="T8" fmla="*/ 27 w 30"/>
                <a:gd name="T9" fmla="*/ 0 h 6"/>
                <a:gd name="T10" fmla="*/ 30 w 30"/>
                <a:gd name="T11" fmla="*/ 3 h 6"/>
                <a:gd name="T12" fmla="*/ 27 w 3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6">
                  <a:moveTo>
                    <a:pt x="2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9" y="0"/>
                    <a:pt x="30" y="1"/>
                    <a:pt x="30" y="3"/>
                  </a:cubicBezTo>
                  <a:cubicBezTo>
                    <a:pt x="30" y="4"/>
                    <a:pt x="29" y="6"/>
                    <a:pt x="2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" name="Freeform 287">
              <a:extLst>
                <a:ext uri="{FF2B5EF4-FFF2-40B4-BE49-F238E27FC236}">
                  <a16:creationId xmlns:a16="http://schemas.microsoft.com/office/drawing/2014/main" id="{C02F5FF0-FF5B-4265-A78F-CD5D277C1A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73589" y="1439863"/>
              <a:ext cx="107950" cy="106363"/>
            </a:xfrm>
            <a:custGeom>
              <a:avLst/>
              <a:gdLst>
                <a:gd name="T0" fmla="*/ 37 w 46"/>
                <a:gd name="T1" fmla="*/ 46 h 46"/>
                <a:gd name="T2" fmla="*/ 9 w 46"/>
                <a:gd name="T3" fmla="*/ 46 h 46"/>
                <a:gd name="T4" fmla="*/ 0 w 46"/>
                <a:gd name="T5" fmla="*/ 37 h 46"/>
                <a:gd name="T6" fmla="*/ 0 w 46"/>
                <a:gd name="T7" fmla="*/ 8 h 46"/>
                <a:gd name="T8" fmla="*/ 9 w 46"/>
                <a:gd name="T9" fmla="*/ 0 h 46"/>
                <a:gd name="T10" fmla="*/ 37 w 46"/>
                <a:gd name="T11" fmla="*/ 0 h 46"/>
                <a:gd name="T12" fmla="*/ 46 w 46"/>
                <a:gd name="T13" fmla="*/ 8 h 46"/>
                <a:gd name="T14" fmla="*/ 46 w 46"/>
                <a:gd name="T15" fmla="*/ 37 h 46"/>
                <a:gd name="T16" fmla="*/ 37 w 46"/>
                <a:gd name="T17" fmla="*/ 46 h 46"/>
                <a:gd name="T18" fmla="*/ 9 w 46"/>
                <a:gd name="T19" fmla="*/ 6 h 46"/>
                <a:gd name="T20" fmla="*/ 6 w 46"/>
                <a:gd name="T21" fmla="*/ 8 h 46"/>
                <a:gd name="T22" fmla="*/ 6 w 46"/>
                <a:gd name="T23" fmla="*/ 37 h 46"/>
                <a:gd name="T24" fmla="*/ 9 w 46"/>
                <a:gd name="T25" fmla="*/ 40 h 46"/>
                <a:gd name="T26" fmla="*/ 37 w 46"/>
                <a:gd name="T27" fmla="*/ 40 h 46"/>
                <a:gd name="T28" fmla="*/ 40 w 46"/>
                <a:gd name="T29" fmla="*/ 37 h 46"/>
                <a:gd name="T30" fmla="*/ 40 w 46"/>
                <a:gd name="T31" fmla="*/ 8 h 46"/>
                <a:gd name="T32" fmla="*/ 37 w 46"/>
                <a:gd name="T33" fmla="*/ 6 h 46"/>
                <a:gd name="T34" fmla="*/ 9 w 46"/>
                <a:gd name="T35" fmla="*/ 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46">
                  <a:moveTo>
                    <a:pt x="37" y="46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4" y="46"/>
                    <a:pt x="0" y="42"/>
                    <a:pt x="0" y="3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2" y="0"/>
                    <a:pt x="46" y="4"/>
                    <a:pt x="46" y="8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42"/>
                    <a:pt x="42" y="46"/>
                    <a:pt x="37" y="46"/>
                  </a:cubicBezTo>
                  <a:close/>
                  <a:moveTo>
                    <a:pt x="9" y="6"/>
                  </a:moveTo>
                  <a:cubicBezTo>
                    <a:pt x="7" y="6"/>
                    <a:pt x="6" y="7"/>
                    <a:pt x="6" y="8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39"/>
                    <a:pt x="7" y="40"/>
                    <a:pt x="9" y="40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9" y="40"/>
                    <a:pt x="40" y="39"/>
                    <a:pt x="40" y="37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7"/>
                    <a:pt x="39" y="6"/>
                    <a:pt x="37" y="6"/>
                  </a:cubicBezTo>
                  <a:lnTo>
                    <a:pt x="9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" name="Freeform 288">
              <a:extLst>
                <a:ext uri="{FF2B5EF4-FFF2-40B4-BE49-F238E27FC236}">
                  <a16:creationId xmlns:a16="http://schemas.microsoft.com/office/drawing/2014/main" id="{2C74562A-E875-426A-8528-49C4D32A4A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5951" y="1635126"/>
              <a:ext cx="106363" cy="106363"/>
            </a:xfrm>
            <a:custGeom>
              <a:avLst/>
              <a:gdLst>
                <a:gd name="T0" fmla="*/ 37 w 46"/>
                <a:gd name="T1" fmla="*/ 46 h 46"/>
                <a:gd name="T2" fmla="*/ 9 w 46"/>
                <a:gd name="T3" fmla="*/ 46 h 46"/>
                <a:gd name="T4" fmla="*/ 0 w 46"/>
                <a:gd name="T5" fmla="*/ 37 h 46"/>
                <a:gd name="T6" fmla="*/ 0 w 46"/>
                <a:gd name="T7" fmla="*/ 8 h 46"/>
                <a:gd name="T8" fmla="*/ 9 w 46"/>
                <a:gd name="T9" fmla="*/ 0 h 46"/>
                <a:gd name="T10" fmla="*/ 37 w 46"/>
                <a:gd name="T11" fmla="*/ 0 h 46"/>
                <a:gd name="T12" fmla="*/ 46 w 46"/>
                <a:gd name="T13" fmla="*/ 8 h 46"/>
                <a:gd name="T14" fmla="*/ 46 w 46"/>
                <a:gd name="T15" fmla="*/ 37 h 46"/>
                <a:gd name="T16" fmla="*/ 37 w 46"/>
                <a:gd name="T17" fmla="*/ 46 h 46"/>
                <a:gd name="T18" fmla="*/ 9 w 46"/>
                <a:gd name="T19" fmla="*/ 6 h 46"/>
                <a:gd name="T20" fmla="*/ 6 w 46"/>
                <a:gd name="T21" fmla="*/ 8 h 46"/>
                <a:gd name="T22" fmla="*/ 6 w 46"/>
                <a:gd name="T23" fmla="*/ 37 h 46"/>
                <a:gd name="T24" fmla="*/ 9 w 46"/>
                <a:gd name="T25" fmla="*/ 40 h 46"/>
                <a:gd name="T26" fmla="*/ 37 w 46"/>
                <a:gd name="T27" fmla="*/ 40 h 46"/>
                <a:gd name="T28" fmla="*/ 40 w 46"/>
                <a:gd name="T29" fmla="*/ 37 h 46"/>
                <a:gd name="T30" fmla="*/ 40 w 46"/>
                <a:gd name="T31" fmla="*/ 8 h 46"/>
                <a:gd name="T32" fmla="*/ 37 w 46"/>
                <a:gd name="T33" fmla="*/ 6 h 46"/>
                <a:gd name="T34" fmla="*/ 9 w 46"/>
                <a:gd name="T35" fmla="*/ 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46">
                  <a:moveTo>
                    <a:pt x="37" y="46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4" y="46"/>
                    <a:pt x="0" y="42"/>
                    <a:pt x="0" y="3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2" y="0"/>
                    <a:pt x="46" y="4"/>
                    <a:pt x="46" y="8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42"/>
                    <a:pt x="42" y="46"/>
                    <a:pt x="37" y="46"/>
                  </a:cubicBezTo>
                  <a:close/>
                  <a:moveTo>
                    <a:pt x="9" y="6"/>
                  </a:moveTo>
                  <a:cubicBezTo>
                    <a:pt x="7" y="6"/>
                    <a:pt x="6" y="7"/>
                    <a:pt x="6" y="8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39"/>
                    <a:pt x="7" y="40"/>
                    <a:pt x="9" y="40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9" y="40"/>
                    <a:pt x="40" y="39"/>
                    <a:pt x="40" y="37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7"/>
                    <a:pt x="39" y="6"/>
                    <a:pt x="37" y="6"/>
                  </a:cubicBezTo>
                  <a:lnTo>
                    <a:pt x="9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" name="Freeform 289">
              <a:extLst>
                <a:ext uri="{FF2B5EF4-FFF2-40B4-BE49-F238E27FC236}">
                  <a16:creationId xmlns:a16="http://schemas.microsoft.com/office/drawing/2014/main" id="{1851EE84-A286-402B-B17B-87D55A49D8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59264" y="1830388"/>
              <a:ext cx="106363" cy="106363"/>
            </a:xfrm>
            <a:custGeom>
              <a:avLst/>
              <a:gdLst>
                <a:gd name="T0" fmla="*/ 37 w 46"/>
                <a:gd name="T1" fmla="*/ 46 h 46"/>
                <a:gd name="T2" fmla="*/ 9 w 46"/>
                <a:gd name="T3" fmla="*/ 46 h 46"/>
                <a:gd name="T4" fmla="*/ 0 w 46"/>
                <a:gd name="T5" fmla="*/ 37 h 46"/>
                <a:gd name="T6" fmla="*/ 0 w 46"/>
                <a:gd name="T7" fmla="*/ 8 h 46"/>
                <a:gd name="T8" fmla="*/ 9 w 46"/>
                <a:gd name="T9" fmla="*/ 0 h 46"/>
                <a:gd name="T10" fmla="*/ 37 w 46"/>
                <a:gd name="T11" fmla="*/ 0 h 46"/>
                <a:gd name="T12" fmla="*/ 46 w 46"/>
                <a:gd name="T13" fmla="*/ 8 h 46"/>
                <a:gd name="T14" fmla="*/ 46 w 46"/>
                <a:gd name="T15" fmla="*/ 37 h 46"/>
                <a:gd name="T16" fmla="*/ 37 w 46"/>
                <a:gd name="T17" fmla="*/ 46 h 46"/>
                <a:gd name="T18" fmla="*/ 9 w 46"/>
                <a:gd name="T19" fmla="*/ 6 h 46"/>
                <a:gd name="T20" fmla="*/ 6 w 46"/>
                <a:gd name="T21" fmla="*/ 8 h 46"/>
                <a:gd name="T22" fmla="*/ 6 w 46"/>
                <a:gd name="T23" fmla="*/ 37 h 46"/>
                <a:gd name="T24" fmla="*/ 9 w 46"/>
                <a:gd name="T25" fmla="*/ 40 h 46"/>
                <a:gd name="T26" fmla="*/ 37 w 46"/>
                <a:gd name="T27" fmla="*/ 40 h 46"/>
                <a:gd name="T28" fmla="*/ 40 w 46"/>
                <a:gd name="T29" fmla="*/ 37 h 46"/>
                <a:gd name="T30" fmla="*/ 40 w 46"/>
                <a:gd name="T31" fmla="*/ 8 h 46"/>
                <a:gd name="T32" fmla="*/ 37 w 46"/>
                <a:gd name="T33" fmla="*/ 6 h 46"/>
                <a:gd name="T34" fmla="*/ 9 w 46"/>
                <a:gd name="T35" fmla="*/ 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46">
                  <a:moveTo>
                    <a:pt x="37" y="46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4" y="46"/>
                    <a:pt x="0" y="42"/>
                    <a:pt x="0" y="3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2" y="0"/>
                    <a:pt x="46" y="4"/>
                    <a:pt x="46" y="8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42"/>
                    <a:pt x="42" y="46"/>
                    <a:pt x="37" y="46"/>
                  </a:cubicBezTo>
                  <a:close/>
                  <a:moveTo>
                    <a:pt x="9" y="6"/>
                  </a:moveTo>
                  <a:cubicBezTo>
                    <a:pt x="7" y="6"/>
                    <a:pt x="6" y="7"/>
                    <a:pt x="6" y="8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39"/>
                    <a:pt x="7" y="40"/>
                    <a:pt x="9" y="40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9" y="40"/>
                    <a:pt x="40" y="39"/>
                    <a:pt x="40" y="37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7"/>
                    <a:pt x="39" y="6"/>
                    <a:pt x="37" y="6"/>
                  </a:cubicBezTo>
                  <a:lnTo>
                    <a:pt x="9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6389759" y="4353643"/>
            <a:ext cx="651410" cy="365135"/>
            <a:chOff x="3870326" y="2459038"/>
            <a:chExt cx="957263" cy="536575"/>
          </a:xfrm>
          <a:solidFill>
            <a:schemeClr val="bg1"/>
          </a:solidFill>
        </p:grpSpPr>
        <p:sp>
          <p:nvSpPr>
            <p:cNvPr id="51" name="Freeform 282"/>
            <p:cNvSpPr>
              <a:spLocks/>
            </p:cNvSpPr>
            <p:nvPr/>
          </p:nvSpPr>
          <p:spPr bwMode="auto">
            <a:xfrm>
              <a:off x="4602164" y="2660651"/>
              <a:ext cx="14288" cy="52388"/>
            </a:xfrm>
            <a:custGeom>
              <a:avLst/>
              <a:gdLst>
                <a:gd name="T0" fmla="*/ 3 w 6"/>
                <a:gd name="T1" fmla="*/ 22 h 22"/>
                <a:gd name="T2" fmla="*/ 0 w 6"/>
                <a:gd name="T3" fmla="*/ 19 h 22"/>
                <a:gd name="T4" fmla="*/ 0 w 6"/>
                <a:gd name="T5" fmla="*/ 3 h 22"/>
                <a:gd name="T6" fmla="*/ 3 w 6"/>
                <a:gd name="T7" fmla="*/ 0 h 22"/>
                <a:gd name="T8" fmla="*/ 6 w 6"/>
                <a:gd name="T9" fmla="*/ 3 h 22"/>
                <a:gd name="T10" fmla="*/ 6 w 6"/>
                <a:gd name="T11" fmla="*/ 19 h 22"/>
                <a:gd name="T12" fmla="*/ 3 w 6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2">
                  <a:moveTo>
                    <a:pt x="3" y="22"/>
                  </a:moveTo>
                  <a:cubicBezTo>
                    <a:pt x="2" y="22"/>
                    <a:pt x="0" y="21"/>
                    <a:pt x="0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1"/>
                    <a:pt x="5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" name="Freeform 283"/>
            <p:cNvSpPr>
              <a:spLocks/>
            </p:cNvSpPr>
            <p:nvPr/>
          </p:nvSpPr>
          <p:spPr bwMode="auto">
            <a:xfrm>
              <a:off x="4565651" y="2587626"/>
              <a:ext cx="90488" cy="125413"/>
            </a:xfrm>
            <a:custGeom>
              <a:avLst/>
              <a:gdLst>
                <a:gd name="T0" fmla="*/ 3 w 39"/>
                <a:gd name="T1" fmla="*/ 54 h 54"/>
                <a:gd name="T2" fmla="*/ 0 w 39"/>
                <a:gd name="T3" fmla="*/ 51 h 54"/>
                <a:gd name="T4" fmla="*/ 0 w 39"/>
                <a:gd name="T5" fmla="*/ 20 h 54"/>
                <a:gd name="T6" fmla="*/ 18 w 39"/>
                <a:gd name="T7" fmla="*/ 4 h 54"/>
                <a:gd name="T8" fmla="*/ 31 w 39"/>
                <a:gd name="T9" fmla="*/ 4 h 54"/>
                <a:gd name="T10" fmla="*/ 33 w 39"/>
                <a:gd name="T11" fmla="*/ 3 h 54"/>
                <a:gd name="T12" fmla="*/ 36 w 39"/>
                <a:gd name="T13" fmla="*/ 0 h 54"/>
                <a:gd name="T14" fmla="*/ 39 w 39"/>
                <a:gd name="T15" fmla="*/ 3 h 54"/>
                <a:gd name="T16" fmla="*/ 31 w 39"/>
                <a:gd name="T17" fmla="*/ 10 h 54"/>
                <a:gd name="T18" fmla="*/ 18 w 39"/>
                <a:gd name="T19" fmla="*/ 10 h 54"/>
                <a:gd name="T20" fmla="*/ 6 w 39"/>
                <a:gd name="T21" fmla="*/ 20 h 54"/>
                <a:gd name="T22" fmla="*/ 6 w 39"/>
                <a:gd name="T23" fmla="*/ 51 h 54"/>
                <a:gd name="T24" fmla="*/ 3 w 39"/>
                <a:gd name="T2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54">
                  <a:moveTo>
                    <a:pt x="3" y="54"/>
                  </a:moveTo>
                  <a:cubicBezTo>
                    <a:pt x="2" y="54"/>
                    <a:pt x="0" y="53"/>
                    <a:pt x="0" y="51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7"/>
                    <a:pt x="12" y="4"/>
                    <a:pt x="1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3" y="4"/>
                    <a:pt x="33" y="3"/>
                  </a:cubicBezTo>
                  <a:cubicBezTo>
                    <a:pt x="33" y="1"/>
                    <a:pt x="34" y="0"/>
                    <a:pt x="36" y="0"/>
                  </a:cubicBezTo>
                  <a:cubicBezTo>
                    <a:pt x="37" y="0"/>
                    <a:pt x="39" y="1"/>
                    <a:pt x="39" y="3"/>
                  </a:cubicBezTo>
                  <a:cubicBezTo>
                    <a:pt x="39" y="7"/>
                    <a:pt x="35" y="10"/>
                    <a:pt x="31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0"/>
                    <a:pt x="6" y="10"/>
                    <a:pt x="6" y="20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6" y="53"/>
                    <a:pt x="5" y="54"/>
                    <a:pt x="3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" name="Freeform 284"/>
            <p:cNvSpPr>
              <a:spLocks/>
            </p:cNvSpPr>
            <p:nvPr/>
          </p:nvSpPr>
          <p:spPr bwMode="auto">
            <a:xfrm>
              <a:off x="4722814" y="2663826"/>
              <a:ext cx="14288" cy="46038"/>
            </a:xfrm>
            <a:custGeom>
              <a:avLst/>
              <a:gdLst>
                <a:gd name="T0" fmla="*/ 3 w 6"/>
                <a:gd name="T1" fmla="*/ 20 h 20"/>
                <a:gd name="T2" fmla="*/ 0 w 6"/>
                <a:gd name="T3" fmla="*/ 17 h 20"/>
                <a:gd name="T4" fmla="*/ 0 w 6"/>
                <a:gd name="T5" fmla="*/ 3 h 20"/>
                <a:gd name="T6" fmla="*/ 3 w 6"/>
                <a:gd name="T7" fmla="*/ 0 h 20"/>
                <a:gd name="T8" fmla="*/ 6 w 6"/>
                <a:gd name="T9" fmla="*/ 3 h 20"/>
                <a:gd name="T10" fmla="*/ 6 w 6"/>
                <a:gd name="T11" fmla="*/ 17 h 20"/>
                <a:gd name="T12" fmla="*/ 3 w 6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0">
                  <a:moveTo>
                    <a:pt x="3" y="20"/>
                  </a:moveTo>
                  <a:cubicBezTo>
                    <a:pt x="2" y="20"/>
                    <a:pt x="0" y="19"/>
                    <a:pt x="0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9"/>
                    <a:pt x="5" y="20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" name="Freeform 285"/>
            <p:cNvSpPr>
              <a:spLocks/>
            </p:cNvSpPr>
            <p:nvPr/>
          </p:nvSpPr>
          <p:spPr bwMode="auto">
            <a:xfrm>
              <a:off x="4687889" y="2587626"/>
              <a:ext cx="88900" cy="122238"/>
            </a:xfrm>
            <a:custGeom>
              <a:avLst/>
              <a:gdLst>
                <a:gd name="T0" fmla="*/ 35 w 38"/>
                <a:gd name="T1" fmla="*/ 53 h 53"/>
                <a:gd name="T2" fmla="*/ 32 w 38"/>
                <a:gd name="T3" fmla="*/ 50 h 53"/>
                <a:gd name="T4" fmla="*/ 32 w 38"/>
                <a:gd name="T5" fmla="*/ 20 h 53"/>
                <a:gd name="T6" fmla="*/ 20 w 38"/>
                <a:gd name="T7" fmla="*/ 10 h 53"/>
                <a:gd name="T8" fmla="*/ 7 w 38"/>
                <a:gd name="T9" fmla="*/ 10 h 53"/>
                <a:gd name="T10" fmla="*/ 2 w 38"/>
                <a:gd name="T11" fmla="*/ 8 h 53"/>
                <a:gd name="T12" fmla="*/ 0 w 38"/>
                <a:gd name="T13" fmla="*/ 3 h 53"/>
                <a:gd name="T14" fmla="*/ 3 w 38"/>
                <a:gd name="T15" fmla="*/ 0 h 53"/>
                <a:gd name="T16" fmla="*/ 3 w 38"/>
                <a:gd name="T17" fmla="*/ 0 h 53"/>
                <a:gd name="T18" fmla="*/ 6 w 38"/>
                <a:gd name="T19" fmla="*/ 3 h 53"/>
                <a:gd name="T20" fmla="*/ 7 w 38"/>
                <a:gd name="T21" fmla="*/ 4 h 53"/>
                <a:gd name="T22" fmla="*/ 7 w 38"/>
                <a:gd name="T23" fmla="*/ 4 h 53"/>
                <a:gd name="T24" fmla="*/ 20 w 38"/>
                <a:gd name="T25" fmla="*/ 4 h 53"/>
                <a:gd name="T26" fmla="*/ 38 w 38"/>
                <a:gd name="T27" fmla="*/ 20 h 53"/>
                <a:gd name="T28" fmla="*/ 38 w 38"/>
                <a:gd name="T29" fmla="*/ 50 h 53"/>
                <a:gd name="T30" fmla="*/ 35 w 38"/>
                <a:gd name="T3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8" h="53">
                  <a:moveTo>
                    <a:pt x="35" y="53"/>
                  </a:moveTo>
                  <a:cubicBezTo>
                    <a:pt x="33" y="53"/>
                    <a:pt x="32" y="52"/>
                    <a:pt x="32" y="50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10"/>
                    <a:pt x="21" y="10"/>
                    <a:pt x="20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4" y="10"/>
                    <a:pt x="2" y="8"/>
                  </a:cubicBezTo>
                  <a:cubicBezTo>
                    <a:pt x="1" y="7"/>
                    <a:pt x="0" y="6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4"/>
                    <a:pt x="6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6" y="4"/>
                    <a:pt x="38" y="7"/>
                    <a:pt x="38" y="2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2"/>
                    <a:pt x="36" y="53"/>
                    <a:pt x="35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" name="Freeform 286"/>
            <p:cNvSpPr>
              <a:spLocks noEditPoints="1"/>
            </p:cNvSpPr>
            <p:nvPr/>
          </p:nvSpPr>
          <p:spPr bwMode="auto">
            <a:xfrm>
              <a:off x="4613276" y="2459038"/>
              <a:ext cx="114300" cy="125413"/>
            </a:xfrm>
            <a:custGeom>
              <a:avLst/>
              <a:gdLst>
                <a:gd name="T0" fmla="*/ 24 w 49"/>
                <a:gd name="T1" fmla="*/ 54 h 54"/>
                <a:gd name="T2" fmla="*/ 0 w 49"/>
                <a:gd name="T3" fmla="*/ 27 h 54"/>
                <a:gd name="T4" fmla="*/ 24 w 49"/>
                <a:gd name="T5" fmla="*/ 0 h 54"/>
                <a:gd name="T6" fmla="*/ 49 w 49"/>
                <a:gd name="T7" fmla="*/ 27 h 54"/>
                <a:gd name="T8" fmla="*/ 24 w 49"/>
                <a:gd name="T9" fmla="*/ 54 h 54"/>
                <a:gd name="T10" fmla="*/ 24 w 49"/>
                <a:gd name="T11" fmla="*/ 6 h 54"/>
                <a:gd name="T12" fmla="*/ 6 w 49"/>
                <a:gd name="T13" fmla="*/ 27 h 54"/>
                <a:gd name="T14" fmla="*/ 24 w 49"/>
                <a:gd name="T15" fmla="*/ 48 h 54"/>
                <a:gd name="T16" fmla="*/ 43 w 49"/>
                <a:gd name="T17" fmla="*/ 27 h 54"/>
                <a:gd name="T18" fmla="*/ 24 w 49"/>
                <a:gd name="T19" fmla="*/ 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54">
                  <a:moveTo>
                    <a:pt x="24" y="54"/>
                  </a:moveTo>
                  <a:cubicBezTo>
                    <a:pt x="11" y="54"/>
                    <a:pt x="0" y="42"/>
                    <a:pt x="0" y="27"/>
                  </a:cubicBezTo>
                  <a:cubicBezTo>
                    <a:pt x="0" y="12"/>
                    <a:pt x="11" y="0"/>
                    <a:pt x="24" y="0"/>
                  </a:cubicBezTo>
                  <a:cubicBezTo>
                    <a:pt x="38" y="0"/>
                    <a:pt x="49" y="12"/>
                    <a:pt x="49" y="27"/>
                  </a:cubicBezTo>
                  <a:cubicBezTo>
                    <a:pt x="49" y="42"/>
                    <a:pt x="38" y="54"/>
                    <a:pt x="24" y="54"/>
                  </a:cubicBezTo>
                  <a:close/>
                  <a:moveTo>
                    <a:pt x="24" y="6"/>
                  </a:moveTo>
                  <a:cubicBezTo>
                    <a:pt x="14" y="6"/>
                    <a:pt x="6" y="15"/>
                    <a:pt x="6" y="27"/>
                  </a:cubicBezTo>
                  <a:cubicBezTo>
                    <a:pt x="6" y="38"/>
                    <a:pt x="14" y="48"/>
                    <a:pt x="24" y="48"/>
                  </a:cubicBezTo>
                  <a:cubicBezTo>
                    <a:pt x="35" y="48"/>
                    <a:pt x="43" y="38"/>
                    <a:pt x="43" y="27"/>
                  </a:cubicBezTo>
                  <a:cubicBezTo>
                    <a:pt x="43" y="15"/>
                    <a:pt x="35" y="6"/>
                    <a:pt x="2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" name="Freeform 287"/>
            <p:cNvSpPr>
              <a:spLocks/>
            </p:cNvSpPr>
            <p:nvPr/>
          </p:nvSpPr>
          <p:spPr bwMode="auto">
            <a:xfrm>
              <a:off x="3960814" y="2660651"/>
              <a:ext cx="14288" cy="52388"/>
            </a:xfrm>
            <a:custGeom>
              <a:avLst/>
              <a:gdLst>
                <a:gd name="T0" fmla="*/ 3 w 6"/>
                <a:gd name="T1" fmla="*/ 22 h 22"/>
                <a:gd name="T2" fmla="*/ 0 w 6"/>
                <a:gd name="T3" fmla="*/ 19 h 22"/>
                <a:gd name="T4" fmla="*/ 0 w 6"/>
                <a:gd name="T5" fmla="*/ 3 h 22"/>
                <a:gd name="T6" fmla="*/ 3 w 6"/>
                <a:gd name="T7" fmla="*/ 0 h 22"/>
                <a:gd name="T8" fmla="*/ 6 w 6"/>
                <a:gd name="T9" fmla="*/ 3 h 22"/>
                <a:gd name="T10" fmla="*/ 6 w 6"/>
                <a:gd name="T11" fmla="*/ 19 h 22"/>
                <a:gd name="T12" fmla="*/ 3 w 6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2">
                  <a:moveTo>
                    <a:pt x="3" y="22"/>
                  </a:moveTo>
                  <a:cubicBezTo>
                    <a:pt x="1" y="22"/>
                    <a:pt x="0" y="21"/>
                    <a:pt x="0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1"/>
                    <a:pt x="5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" name="Freeform 288"/>
            <p:cNvSpPr>
              <a:spLocks/>
            </p:cNvSpPr>
            <p:nvPr/>
          </p:nvSpPr>
          <p:spPr bwMode="auto">
            <a:xfrm>
              <a:off x="3924301" y="2587626"/>
              <a:ext cx="88900" cy="125413"/>
            </a:xfrm>
            <a:custGeom>
              <a:avLst/>
              <a:gdLst>
                <a:gd name="T0" fmla="*/ 3 w 38"/>
                <a:gd name="T1" fmla="*/ 54 h 54"/>
                <a:gd name="T2" fmla="*/ 0 w 38"/>
                <a:gd name="T3" fmla="*/ 51 h 54"/>
                <a:gd name="T4" fmla="*/ 0 w 38"/>
                <a:gd name="T5" fmla="*/ 20 h 54"/>
                <a:gd name="T6" fmla="*/ 18 w 38"/>
                <a:gd name="T7" fmla="*/ 4 h 54"/>
                <a:gd name="T8" fmla="*/ 30 w 38"/>
                <a:gd name="T9" fmla="*/ 4 h 54"/>
                <a:gd name="T10" fmla="*/ 32 w 38"/>
                <a:gd name="T11" fmla="*/ 3 h 54"/>
                <a:gd name="T12" fmla="*/ 35 w 38"/>
                <a:gd name="T13" fmla="*/ 0 h 54"/>
                <a:gd name="T14" fmla="*/ 38 w 38"/>
                <a:gd name="T15" fmla="*/ 3 h 54"/>
                <a:gd name="T16" fmla="*/ 31 w 38"/>
                <a:gd name="T17" fmla="*/ 10 h 54"/>
                <a:gd name="T18" fmla="*/ 18 w 38"/>
                <a:gd name="T19" fmla="*/ 10 h 54"/>
                <a:gd name="T20" fmla="*/ 6 w 38"/>
                <a:gd name="T21" fmla="*/ 20 h 54"/>
                <a:gd name="T22" fmla="*/ 6 w 38"/>
                <a:gd name="T23" fmla="*/ 51 h 54"/>
                <a:gd name="T24" fmla="*/ 3 w 38"/>
                <a:gd name="T2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54">
                  <a:moveTo>
                    <a:pt x="3" y="54"/>
                  </a:moveTo>
                  <a:cubicBezTo>
                    <a:pt x="1" y="54"/>
                    <a:pt x="0" y="53"/>
                    <a:pt x="0" y="51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7"/>
                    <a:pt x="12" y="4"/>
                    <a:pt x="18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1" y="4"/>
                    <a:pt x="32" y="4"/>
                    <a:pt x="32" y="3"/>
                  </a:cubicBezTo>
                  <a:cubicBezTo>
                    <a:pt x="32" y="1"/>
                    <a:pt x="34" y="0"/>
                    <a:pt x="35" y="0"/>
                  </a:cubicBezTo>
                  <a:cubicBezTo>
                    <a:pt x="37" y="0"/>
                    <a:pt x="38" y="1"/>
                    <a:pt x="38" y="3"/>
                  </a:cubicBezTo>
                  <a:cubicBezTo>
                    <a:pt x="38" y="7"/>
                    <a:pt x="34" y="10"/>
                    <a:pt x="31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0"/>
                    <a:pt x="6" y="10"/>
                    <a:pt x="6" y="20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6" y="53"/>
                    <a:pt x="4" y="54"/>
                    <a:pt x="3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" name="Freeform 289"/>
            <p:cNvSpPr>
              <a:spLocks/>
            </p:cNvSpPr>
            <p:nvPr/>
          </p:nvSpPr>
          <p:spPr bwMode="auto">
            <a:xfrm>
              <a:off x="4081464" y="2663826"/>
              <a:ext cx="14288" cy="46038"/>
            </a:xfrm>
            <a:custGeom>
              <a:avLst/>
              <a:gdLst>
                <a:gd name="T0" fmla="*/ 3 w 6"/>
                <a:gd name="T1" fmla="*/ 20 h 20"/>
                <a:gd name="T2" fmla="*/ 0 w 6"/>
                <a:gd name="T3" fmla="*/ 17 h 20"/>
                <a:gd name="T4" fmla="*/ 0 w 6"/>
                <a:gd name="T5" fmla="*/ 3 h 20"/>
                <a:gd name="T6" fmla="*/ 3 w 6"/>
                <a:gd name="T7" fmla="*/ 0 h 20"/>
                <a:gd name="T8" fmla="*/ 6 w 6"/>
                <a:gd name="T9" fmla="*/ 3 h 20"/>
                <a:gd name="T10" fmla="*/ 6 w 6"/>
                <a:gd name="T11" fmla="*/ 17 h 20"/>
                <a:gd name="T12" fmla="*/ 3 w 6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0">
                  <a:moveTo>
                    <a:pt x="3" y="20"/>
                  </a:moveTo>
                  <a:cubicBezTo>
                    <a:pt x="1" y="20"/>
                    <a:pt x="0" y="19"/>
                    <a:pt x="0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9"/>
                    <a:pt x="5" y="20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" name="Freeform 290"/>
            <p:cNvSpPr>
              <a:spLocks/>
            </p:cNvSpPr>
            <p:nvPr/>
          </p:nvSpPr>
          <p:spPr bwMode="auto">
            <a:xfrm>
              <a:off x="4048126" y="2587626"/>
              <a:ext cx="85725" cy="122238"/>
            </a:xfrm>
            <a:custGeom>
              <a:avLst/>
              <a:gdLst>
                <a:gd name="T0" fmla="*/ 34 w 37"/>
                <a:gd name="T1" fmla="*/ 53 h 53"/>
                <a:gd name="T2" fmla="*/ 31 w 37"/>
                <a:gd name="T3" fmla="*/ 50 h 53"/>
                <a:gd name="T4" fmla="*/ 31 w 37"/>
                <a:gd name="T5" fmla="*/ 20 h 53"/>
                <a:gd name="T6" fmla="*/ 19 w 37"/>
                <a:gd name="T7" fmla="*/ 10 h 53"/>
                <a:gd name="T8" fmla="*/ 7 w 37"/>
                <a:gd name="T9" fmla="*/ 10 h 53"/>
                <a:gd name="T10" fmla="*/ 2 w 37"/>
                <a:gd name="T11" fmla="*/ 8 h 53"/>
                <a:gd name="T12" fmla="*/ 0 w 37"/>
                <a:gd name="T13" fmla="*/ 3 h 53"/>
                <a:gd name="T14" fmla="*/ 3 w 37"/>
                <a:gd name="T15" fmla="*/ 0 h 53"/>
                <a:gd name="T16" fmla="*/ 3 w 37"/>
                <a:gd name="T17" fmla="*/ 0 h 53"/>
                <a:gd name="T18" fmla="*/ 6 w 37"/>
                <a:gd name="T19" fmla="*/ 3 h 53"/>
                <a:gd name="T20" fmla="*/ 6 w 37"/>
                <a:gd name="T21" fmla="*/ 4 h 53"/>
                <a:gd name="T22" fmla="*/ 7 w 37"/>
                <a:gd name="T23" fmla="*/ 4 h 53"/>
                <a:gd name="T24" fmla="*/ 19 w 37"/>
                <a:gd name="T25" fmla="*/ 4 h 53"/>
                <a:gd name="T26" fmla="*/ 37 w 37"/>
                <a:gd name="T27" fmla="*/ 20 h 53"/>
                <a:gd name="T28" fmla="*/ 37 w 37"/>
                <a:gd name="T29" fmla="*/ 50 h 53"/>
                <a:gd name="T30" fmla="*/ 34 w 37"/>
                <a:gd name="T3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" h="53">
                  <a:moveTo>
                    <a:pt x="34" y="53"/>
                  </a:moveTo>
                  <a:cubicBezTo>
                    <a:pt x="33" y="53"/>
                    <a:pt x="31" y="52"/>
                    <a:pt x="31" y="50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1" y="10"/>
                    <a:pt x="20" y="10"/>
                    <a:pt x="19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6" y="10"/>
                    <a:pt x="4" y="10"/>
                    <a:pt x="2" y="8"/>
                  </a:cubicBezTo>
                  <a:cubicBezTo>
                    <a:pt x="1" y="7"/>
                    <a:pt x="0" y="6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7" y="4"/>
                    <a:pt x="7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25" y="4"/>
                    <a:pt x="37" y="7"/>
                    <a:pt x="37" y="2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2"/>
                    <a:pt x="36" y="53"/>
                    <a:pt x="34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" name="Freeform 291"/>
            <p:cNvSpPr>
              <a:spLocks noEditPoints="1"/>
            </p:cNvSpPr>
            <p:nvPr/>
          </p:nvSpPr>
          <p:spPr bwMode="auto">
            <a:xfrm>
              <a:off x="3973514" y="2459038"/>
              <a:ext cx="111125" cy="125413"/>
            </a:xfrm>
            <a:custGeom>
              <a:avLst/>
              <a:gdLst>
                <a:gd name="T0" fmla="*/ 24 w 48"/>
                <a:gd name="T1" fmla="*/ 54 h 54"/>
                <a:gd name="T2" fmla="*/ 0 w 48"/>
                <a:gd name="T3" fmla="*/ 27 h 54"/>
                <a:gd name="T4" fmla="*/ 24 w 48"/>
                <a:gd name="T5" fmla="*/ 0 h 54"/>
                <a:gd name="T6" fmla="*/ 48 w 48"/>
                <a:gd name="T7" fmla="*/ 27 h 54"/>
                <a:gd name="T8" fmla="*/ 24 w 48"/>
                <a:gd name="T9" fmla="*/ 54 h 54"/>
                <a:gd name="T10" fmla="*/ 24 w 48"/>
                <a:gd name="T11" fmla="*/ 6 h 54"/>
                <a:gd name="T12" fmla="*/ 6 w 48"/>
                <a:gd name="T13" fmla="*/ 27 h 54"/>
                <a:gd name="T14" fmla="*/ 24 w 48"/>
                <a:gd name="T15" fmla="*/ 48 h 54"/>
                <a:gd name="T16" fmla="*/ 42 w 48"/>
                <a:gd name="T17" fmla="*/ 27 h 54"/>
                <a:gd name="T18" fmla="*/ 24 w 48"/>
                <a:gd name="T19" fmla="*/ 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54">
                  <a:moveTo>
                    <a:pt x="24" y="54"/>
                  </a:moveTo>
                  <a:cubicBezTo>
                    <a:pt x="11" y="54"/>
                    <a:pt x="0" y="42"/>
                    <a:pt x="0" y="27"/>
                  </a:cubicBezTo>
                  <a:cubicBezTo>
                    <a:pt x="0" y="12"/>
                    <a:pt x="11" y="0"/>
                    <a:pt x="24" y="0"/>
                  </a:cubicBezTo>
                  <a:cubicBezTo>
                    <a:pt x="37" y="0"/>
                    <a:pt x="48" y="12"/>
                    <a:pt x="48" y="27"/>
                  </a:cubicBezTo>
                  <a:cubicBezTo>
                    <a:pt x="48" y="42"/>
                    <a:pt x="37" y="54"/>
                    <a:pt x="24" y="54"/>
                  </a:cubicBezTo>
                  <a:close/>
                  <a:moveTo>
                    <a:pt x="24" y="6"/>
                  </a:moveTo>
                  <a:cubicBezTo>
                    <a:pt x="14" y="6"/>
                    <a:pt x="6" y="15"/>
                    <a:pt x="6" y="27"/>
                  </a:cubicBezTo>
                  <a:cubicBezTo>
                    <a:pt x="6" y="38"/>
                    <a:pt x="14" y="48"/>
                    <a:pt x="24" y="48"/>
                  </a:cubicBezTo>
                  <a:cubicBezTo>
                    <a:pt x="34" y="48"/>
                    <a:pt x="42" y="38"/>
                    <a:pt x="42" y="27"/>
                  </a:cubicBezTo>
                  <a:cubicBezTo>
                    <a:pt x="42" y="15"/>
                    <a:pt x="34" y="6"/>
                    <a:pt x="2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" name="Freeform 292"/>
            <p:cNvSpPr>
              <a:spLocks/>
            </p:cNvSpPr>
            <p:nvPr/>
          </p:nvSpPr>
          <p:spPr bwMode="auto">
            <a:xfrm>
              <a:off x="4044951" y="2754313"/>
              <a:ext cx="169863" cy="120650"/>
            </a:xfrm>
            <a:custGeom>
              <a:avLst/>
              <a:gdLst>
                <a:gd name="T0" fmla="*/ 70 w 73"/>
                <a:gd name="T1" fmla="*/ 52 h 52"/>
                <a:gd name="T2" fmla="*/ 68 w 73"/>
                <a:gd name="T3" fmla="*/ 51 h 52"/>
                <a:gd name="T4" fmla="*/ 1 w 73"/>
                <a:gd name="T5" fmla="*/ 6 h 52"/>
                <a:gd name="T6" fmla="*/ 1 w 73"/>
                <a:gd name="T7" fmla="*/ 2 h 52"/>
                <a:gd name="T8" fmla="*/ 5 w 73"/>
                <a:gd name="T9" fmla="*/ 1 h 52"/>
                <a:gd name="T10" fmla="*/ 71 w 73"/>
                <a:gd name="T11" fmla="*/ 46 h 52"/>
                <a:gd name="T12" fmla="*/ 72 w 73"/>
                <a:gd name="T13" fmla="*/ 50 h 52"/>
                <a:gd name="T14" fmla="*/ 70 w 73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52">
                  <a:moveTo>
                    <a:pt x="70" y="52"/>
                  </a:moveTo>
                  <a:cubicBezTo>
                    <a:pt x="69" y="52"/>
                    <a:pt x="68" y="51"/>
                    <a:pt x="68" y="51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1"/>
                    <a:pt x="3" y="0"/>
                    <a:pt x="5" y="1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3" y="47"/>
                    <a:pt x="73" y="49"/>
                    <a:pt x="72" y="50"/>
                  </a:cubicBezTo>
                  <a:cubicBezTo>
                    <a:pt x="71" y="51"/>
                    <a:pt x="71" y="52"/>
                    <a:pt x="70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" name="Freeform 293"/>
            <p:cNvSpPr>
              <a:spLocks/>
            </p:cNvSpPr>
            <p:nvPr/>
          </p:nvSpPr>
          <p:spPr bwMode="auto">
            <a:xfrm>
              <a:off x="4481514" y="2751138"/>
              <a:ext cx="187325" cy="123825"/>
            </a:xfrm>
            <a:custGeom>
              <a:avLst/>
              <a:gdLst>
                <a:gd name="T0" fmla="*/ 4 w 81"/>
                <a:gd name="T1" fmla="*/ 53 h 53"/>
                <a:gd name="T2" fmla="*/ 1 w 81"/>
                <a:gd name="T3" fmla="*/ 51 h 53"/>
                <a:gd name="T4" fmla="*/ 2 w 81"/>
                <a:gd name="T5" fmla="*/ 47 h 53"/>
                <a:gd name="T6" fmla="*/ 76 w 81"/>
                <a:gd name="T7" fmla="*/ 1 h 53"/>
                <a:gd name="T8" fmla="*/ 80 w 81"/>
                <a:gd name="T9" fmla="*/ 2 h 53"/>
                <a:gd name="T10" fmla="*/ 79 w 81"/>
                <a:gd name="T11" fmla="*/ 6 h 53"/>
                <a:gd name="T12" fmla="*/ 5 w 81"/>
                <a:gd name="T13" fmla="*/ 52 h 53"/>
                <a:gd name="T14" fmla="*/ 4 w 81"/>
                <a:gd name="T1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53">
                  <a:moveTo>
                    <a:pt x="4" y="53"/>
                  </a:moveTo>
                  <a:cubicBezTo>
                    <a:pt x="3" y="53"/>
                    <a:pt x="2" y="52"/>
                    <a:pt x="1" y="51"/>
                  </a:cubicBezTo>
                  <a:cubicBezTo>
                    <a:pt x="0" y="50"/>
                    <a:pt x="1" y="48"/>
                    <a:pt x="2" y="47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8" y="0"/>
                    <a:pt x="79" y="0"/>
                    <a:pt x="80" y="2"/>
                  </a:cubicBezTo>
                  <a:cubicBezTo>
                    <a:pt x="81" y="3"/>
                    <a:pt x="81" y="5"/>
                    <a:pt x="79" y="6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5" y="52"/>
                    <a:pt x="4" y="53"/>
                    <a:pt x="4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" name="Freeform 294"/>
            <p:cNvSpPr>
              <a:spLocks/>
            </p:cNvSpPr>
            <p:nvPr/>
          </p:nvSpPr>
          <p:spPr bwMode="auto">
            <a:xfrm>
              <a:off x="4511676" y="2670176"/>
              <a:ext cx="315913" cy="95250"/>
            </a:xfrm>
            <a:custGeom>
              <a:avLst/>
              <a:gdLst>
                <a:gd name="T0" fmla="*/ 68 w 136"/>
                <a:gd name="T1" fmla="*/ 41 h 41"/>
                <a:gd name="T2" fmla="*/ 0 w 136"/>
                <a:gd name="T3" fmla="*/ 16 h 41"/>
                <a:gd name="T4" fmla="*/ 14 w 136"/>
                <a:gd name="T5" fmla="*/ 1 h 41"/>
                <a:gd name="T6" fmla="*/ 18 w 136"/>
                <a:gd name="T7" fmla="*/ 3 h 41"/>
                <a:gd name="T8" fmla="*/ 16 w 136"/>
                <a:gd name="T9" fmla="*/ 7 h 41"/>
                <a:gd name="T10" fmla="*/ 6 w 136"/>
                <a:gd name="T11" fmla="*/ 16 h 41"/>
                <a:gd name="T12" fmla="*/ 68 w 136"/>
                <a:gd name="T13" fmla="*/ 35 h 41"/>
                <a:gd name="T14" fmla="*/ 130 w 136"/>
                <a:gd name="T15" fmla="*/ 16 h 41"/>
                <a:gd name="T16" fmla="*/ 121 w 136"/>
                <a:gd name="T17" fmla="*/ 7 h 41"/>
                <a:gd name="T18" fmla="*/ 120 w 136"/>
                <a:gd name="T19" fmla="*/ 3 h 41"/>
                <a:gd name="T20" fmla="*/ 124 w 136"/>
                <a:gd name="T21" fmla="*/ 1 h 41"/>
                <a:gd name="T22" fmla="*/ 136 w 136"/>
                <a:gd name="T23" fmla="*/ 16 h 41"/>
                <a:gd name="T24" fmla="*/ 68 w 136"/>
                <a:gd name="T2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6" h="41">
                  <a:moveTo>
                    <a:pt x="68" y="41"/>
                  </a:moveTo>
                  <a:cubicBezTo>
                    <a:pt x="35" y="41"/>
                    <a:pt x="0" y="32"/>
                    <a:pt x="0" y="16"/>
                  </a:cubicBezTo>
                  <a:cubicBezTo>
                    <a:pt x="0" y="12"/>
                    <a:pt x="3" y="6"/>
                    <a:pt x="14" y="1"/>
                  </a:cubicBezTo>
                  <a:cubicBezTo>
                    <a:pt x="15" y="0"/>
                    <a:pt x="17" y="1"/>
                    <a:pt x="18" y="3"/>
                  </a:cubicBezTo>
                  <a:cubicBezTo>
                    <a:pt x="18" y="4"/>
                    <a:pt x="18" y="6"/>
                    <a:pt x="16" y="7"/>
                  </a:cubicBezTo>
                  <a:cubicBezTo>
                    <a:pt x="10" y="10"/>
                    <a:pt x="6" y="13"/>
                    <a:pt x="6" y="16"/>
                  </a:cubicBezTo>
                  <a:cubicBezTo>
                    <a:pt x="6" y="25"/>
                    <a:pt x="33" y="35"/>
                    <a:pt x="68" y="35"/>
                  </a:cubicBezTo>
                  <a:cubicBezTo>
                    <a:pt x="104" y="35"/>
                    <a:pt x="130" y="25"/>
                    <a:pt x="130" y="16"/>
                  </a:cubicBezTo>
                  <a:cubicBezTo>
                    <a:pt x="130" y="13"/>
                    <a:pt x="127" y="10"/>
                    <a:pt x="121" y="7"/>
                  </a:cubicBezTo>
                  <a:cubicBezTo>
                    <a:pt x="120" y="6"/>
                    <a:pt x="119" y="4"/>
                    <a:pt x="120" y="3"/>
                  </a:cubicBezTo>
                  <a:cubicBezTo>
                    <a:pt x="120" y="1"/>
                    <a:pt x="122" y="1"/>
                    <a:pt x="124" y="1"/>
                  </a:cubicBezTo>
                  <a:cubicBezTo>
                    <a:pt x="134" y="7"/>
                    <a:pt x="136" y="12"/>
                    <a:pt x="136" y="16"/>
                  </a:cubicBezTo>
                  <a:cubicBezTo>
                    <a:pt x="136" y="32"/>
                    <a:pt x="101" y="41"/>
                    <a:pt x="68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" name="Freeform 295"/>
            <p:cNvSpPr>
              <a:spLocks/>
            </p:cNvSpPr>
            <p:nvPr/>
          </p:nvSpPr>
          <p:spPr bwMode="auto">
            <a:xfrm>
              <a:off x="3870326" y="2673351"/>
              <a:ext cx="315913" cy="92075"/>
            </a:xfrm>
            <a:custGeom>
              <a:avLst/>
              <a:gdLst>
                <a:gd name="T0" fmla="*/ 68 w 136"/>
                <a:gd name="T1" fmla="*/ 40 h 40"/>
                <a:gd name="T2" fmla="*/ 0 w 136"/>
                <a:gd name="T3" fmla="*/ 16 h 40"/>
                <a:gd name="T4" fmla="*/ 13 w 136"/>
                <a:gd name="T5" fmla="*/ 1 h 40"/>
                <a:gd name="T6" fmla="*/ 17 w 136"/>
                <a:gd name="T7" fmla="*/ 2 h 40"/>
                <a:gd name="T8" fmla="*/ 16 w 136"/>
                <a:gd name="T9" fmla="*/ 6 h 40"/>
                <a:gd name="T10" fmla="*/ 6 w 136"/>
                <a:gd name="T11" fmla="*/ 16 h 40"/>
                <a:gd name="T12" fmla="*/ 68 w 136"/>
                <a:gd name="T13" fmla="*/ 34 h 40"/>
                <a:gd name="T14" fmla="*/ 130 w 136"/>
                <a:gd name="T15" fmla="*/ 16 h 40"/>
                <a:gd name="T16" fmla="*/ 121 w 136"/>
                <a:gd name="T17" fmla="*/ 6 h 40"/>
                <a:gd name="T18" fmla="*/ 119 w 136"/>
                <a:gd name="T19" fmla="*/ 2 h 40"/>
                <a:gd name="T20" fmla="*/ 123 w 136"/>
                <a:gd name="T21" fmla="*/ 1 h 40"/>
                <a:gd name="T22" fmla="*/ 136 w 136"/>
                <a:gd name="T23" fmla="*/ 16 h 40"/>
                <a:gd name="T24" fmla="*/ 68 w 136"/>
                <a:gd name="T2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6" h="40">
                  <a:moveTo>
                    <a:pt x="68" y="40"/>
                  </a:moveTo>
                  <a:cubicBezTo>
                    <a:pt x="35" y="40"/>
                    <a:pt x="0" y="32"/>
                    <a:pt x="0" y="16"/>
                  </a:cubicBezTo>
                  <a:cubicBezTo>
                    <a:pt x="0" y="12"/>
                    <a:pt x="2" y="6"/>
                    <a:pt x="13" y="1"/>
                  </a:cubicBezTo>
                  <a:cubicBezTo>
                    <a:pt x="15" y="0"/>
                    <a:pt x="16" y="1"/>
                    <a:pt x="17" y="2"/>
                  </a:cubicBezTo>
                  <a:cubicBezTo>
                    <a:pt x="18" y="4"/>
                    <a:pt x="17" y="6"/>
                    <a:pt x="16" y="6"/>
                  </a:cubicBezTo>
                  <a:cubicBezTo>
                    <a:pt x="10" y="9"/>
                    <a:pt x="6" y="13"/>
                    <a:pt x="6" y="16"/>
                  </a:cubicBezTo>
                  <a:cubicBezTo>
                    <a:pt x="6" y="24"/>
                    <a:pt x="33" y="34"/>
                    <a:pt x="68" y="34"/>
                  </a:cubicBezTo>
                  <a:cubicBezTo>
                    <a:pt x="104" y="34"/>
                    <a:pt x="130" y="24"/>
                    <a:pt x="130" y="16"/>
                  </a:cubicBezTo>
                  <a:cubicBezTo>
                    <a:pt x="130" y="13"/>
                    <a:pt x="127" y="9"/>
                    <a:pt x="121" y="6"/>
                  </a:cubicBezTo>
                  <a:cubicBezTo>
                    <a:pt x="119" y="6"/>
                    <a:pt x="119" y="4"/>
                    <a:pt x="119" y="2"/>
                  </a:cubicBezTo>
                  <a:cubicBezTo>
                    <a:pt x="120" y="1"/>
                    <a:pt x="122" y="0"/>
                    <a:pt x="123" y="1"/>
                  </a:cubicBezTo>
                  <a:cubicBezTo>
                    <a:pt x="134" y="6"/>
                    <a:pt x="136" y="12"/>
                    <a:pt x="136" y="16"/>
                  </a:cubicBezTo>
                  <a:cubicBezTo>
                    <a:pt x="136" y="32"/>
                    <a:pt x="101" y="40"/>
                    <a:pt x="68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" name="Freeform 296"/>
            <p:cNvSpPr>
              <a:spLocks/>
            </p:cNvSpPr>
            <p:nvPr/>
          </p:nvSpPr>
          <p:spPr bwMode="auto">
            <a:xfrm>
              <a:off x="4271964" y="2873376"/>
              <a:ext cx="14288" cy="52388"/>
            </a:xfrm>
            <a:custGeom>
              <a:avLst/>
              <a:gdLst>
                <a:gd name="T0" fmla="*/ 3 w 6"/>
                <a:gd name="T1" fmla="*/ 23 h 23"/>
                <a:gd name="T2" fmla="*/ 0 w 6"/>
                <a:gd name="T3" fmla="*/ 20 h 23"/>
                <a:gd name="T4" fmla="*/ 0 w 6"/>
                <a:gd name="T5" fmla="*/ 3 h 23"/>
                <a:gd name="T6" fmla="*/ 3 w 6"/>
                <a:gd name="T7" fmla="*/ 0 h 23"/>
                <a:gd name="T8" fmla="*/ 6 w 6"/>
                <a:gd name="T9" fmla="*/ 3 h 23"/>
                <a:gd name="T10" fmla="*/ 6 w 6"/>
                <a:gd name="T11" fmla="*/ 20 h 23"/>
                <a:gd name="T12" fmla="*/ 3 w 6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3">
                  <a:moveTo>
                    <a:pt x="3" y="23"/>
                  </a:moveTo>
                  <a:cubicBezTo>
                    <a:pt x="1" y="23"/>
                    <a:pt x="0" y="22"/>
                    <a:pt x="0" y="2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2"/>
                    <a:pt x="4" y="23"/>
                    <a:pt x="3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" name="Freeform 297"/>
            <p:cNvSpPr>
              <a:spLocks/>
            </p:cNvSpPr>
            <p:nvPr/>
          </p:nvSpPr>
          <p:spPr bwMode="auto">
            <a:xfrm>
              <a:off x="4229101" y="2786063"/>
              <a:ext cx="98425" cy="139700"/>
            </a:xfrm>
            <a:custGeom>
              <a:avLst/>
              <a:gdLst>
                <a:gd name="T0" fmla="*/ 3 w 43"/>
                <a:gd name="T1" fmla="*/ 60 h 60"/>
                <a:gd name="T2" fmla="*/ 0 w 43"/>
                <a:gd name="T3" fmla="*/ 57 h 60"/>
                <a:gd name="T4" fmla="*/ 0 w 43"/>
                <a:gd name="T5" fmla="*/ 22 h 60"/>
                <a:gd name="T6" fmla="*/ 20 w 43"/>
                <a:gd name="T7" fmla="*/ 4 h 60"/>
                <a:gd name="T8" fmla="*/ 35 w 43"/>
                <a:gd name="T9" fmla="*/ 4 h 60"/>
                <a:gd name="T10" fmla="*/ 37 w 43"/>
                <a:gd name="T11" fmla="*/ 3 h 60"/>
                <a:gd name="T12" fmla="*/ 40 w 43"/>
                <a:gd name="T13" fmla="*/ 0 h 60"/>
                <a:gd name="T14" fmla="*/ 43 w 43"/>
                <a:gd name="T15" fmla="*/ 3 h 60"/>
                <a:gd name="T16" fmla="*/ 35 w 43"/>
                <a:gd name="T17" fmla="*/ 10 h 60"/>
                <a:gd name="T18" fmla="*/ 20 w 43"/>
                <a:gd name="T19" fmla="*/ 10 h 60"/>
                <a:gd name="T20" fmla="*/ 6 w 43"/>
                <a:gd name="T21" fmla="*/ 22 h 60"/>
                <a:gd name="T22" fmla="*/ 6 w 43"/>
                <a:gd name="T23" fmla="*/ 57 h 60"/>
                <a:gd name="T24" fmla="*/ 3 w 43"/>
                <a:gd name="T2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60">
                  <a:moveTo>
                    <a:pt x="3" y="60"/>
                  </a:moveTo>
                  <a:cubicBezTo>
                    <a:pt x="2" y="60"/>
                    <a:pt x="0" y="59"/>
                    <a:pt x="0" y="57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8"/>
                    <a:pt x="13" y="4"/>
                    <a:pt x="20" y="4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4"/>
                    <a:pt x="37" y="4"/>
                    <a:pt x="37" y="3"/>
                  </a:cubicBezTo>
                  <a:cubicBezTo>
                    <a:pt x="37" y="1"/>
                    <a:pt x="39" y="0"/>
                    <a:pt x="40" y="0"/>
                  </a:cubicBezTo>
                  <a:cubicBezTo>
                    <a:pt x="42" y="0"/>
                    <a:pt x="43" y="1"/>
                    <a:pt x="43" y="3"/>
                  </a:cubicBezTo>
                  <a:cubicBezTo>
                    <a:pt x="43" y="7"/>
                    <a:pt x="39" y="10"/>
                    <a:pt x="35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6" y="11"/>
                    <a:pt x="6" y="22"/>
                  </a:cubicBezTo>
                  <a:cubicBezTo>
                    <a:pt x="6" y="57"/>
                    <a:pt x="6" y="57"/>
                    <a:pt x="6" y="57"/>
                  </a:cubicBezTo>
                  <a:cubicBezTo>
                    <a:pt x="6" y="59"/>
                    <a:pt x="5" y="60"/>
                    <a:pt x="3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" name="Freeform 298"/>
            <p:cNvSpPr>
              <a:spLocks/>
            </p:cNvSpPr>
            <p:nvPr/>
          </p:nvSpPr>
          <p:spPr bwMode="auto">
            <a:xfrm>
              <a:off x="4410076" y="2873376"/>
              <a:ext cx="12700" cy="50800"/>
            </a:xfrm>
            <a:custGeom>
              <a:avLst/>
              <a:gdLst>
                <a:gd name="T0" fmla="*/ 3 w 6"/>
                <a:gd name="T1" fmla="*/ 22 h 22"/>
                <a:gd name="T2" fmla="*/ 0 w 6"/>
                <a:gd name="T3" fmla="*/ 19 h 22"/>
                <a:gd name="T4" fmla="*/ 0 w 6"/>
                <a:gd name="T5" fmla="*/ 3 h 22"/>
                <a:gd name="T6" fmla="*/ 3 w 6"/>
                <a:gd name="T7" fmla="*/ 0 h 22"/>
                <a:gd name="T8" fmla="*/ 6 w 6"/>
                <a:gd name="T9" fmla="*/ 3 h 22"/>
                <a:gd name="T10" fmla="*/ 6 w 6"/>
                <a:gd name="T11" fmla="*/ 19 h 22"/>
                <a:gd name="T12" fmla="*/ 3 w 6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2">
                  <a:moveTo>
                    <a:pt x="3" y="22"/>
                  </a:moveTo>
                  <a:cubicBezTo>
                    <a:pt x="1" y="22"/>
                    <a:pt x="0" y="21"/>
                    <a:pt x="0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1"/>
                    <a:pt x="5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" name="Freeform 299"/>
            <p:cNvSpPr>
              <a:spLocks/>
            </p:cNvSpPr>
            <p:nvPr/>
          </p:nvSpPr>
          <p:spPr bwMode="auto">
            <a:xfrm>
              <a:off x="4370389" y="2786063"/>
              <a:ext cx="95250" cy="139700"/>
            </a:xfrm>
            <a:custGeom>
              <a:avLst/>
              <a:gdLst>
                <a:gd name="T0" fmla="*/ 38 w 41"/>
                <a:gd name="T1" fmla="*/ 60 h 60"/>
                <a:gd name="T2" fmla="*/ 35 w 41"/>
                <a:gd name="T3" fmla="*/ 57 h 60"/>
                <a:gd name="T4" fmla="*/ 35 w 41"/>
                <a:gd name="T5" fmla="*/ 22 h 60"/>
                <a:gd name="T6" fmla="*/ 21 w 41"/>
                <a:gd name="T7" fmla="*/ 10 h 60"/>
                <a:gd name="T8" fmla="*/ 7 w 41"/>
                <a:gd name="T9" fmla="*/ 10 h 60"/>
                <a:gd name="T10" fmla="*/ 2 w 41"/>
                <a:gd name="T11" fmla="*/ 8 h 60"/>
                <a:gd name="T12" fmla="*/ 0 w 41"/>
                <a:gd name="T13" fmla="*/ 3 h 60"/>
                <a:gd name="T14" fmla="*/ 3 w 41"/>
                <a:gd name="T15" fmla="*/ 0 h 60"/>
                <a:gd name="T16" fmla="*/ 3 w 41"/>
                <a:gd name="T17" fmla="*/ 0 h 60"/>
                <a:gd name="T18" fmla="*/ 6 w 41"/>
                <a:gd name="T19" fmla="*/ 3 h 60"/>
                <a:gd name="T20" fmla="*/ 6 w 41"/>
                <a:gd name="T21" fmla="*/ 4 h 60"/>
                <a:gd name="T22" fmla="*/ 7 w 41"/>
                <a:gd name="T23" fmla="*/ 4 h 60"/>
                <a:gd name="T24" fmla="*/ 7 w 41"/>
                <a:gd name="T25" fmla="*/ 4 h 60"/>
                <a:gd name="T26" fmla="*/ 21 w 41"/>
                <a:gd name="T27" fmla="*/ 4 h 60"/>
                <a:gd name="T28" fmla="*/ 41 w 41"/>
                <a:gd name="T29" fmla="*/ 22 h 60"/>
                <a:gd name="T30" fmla="*/ 41 w 41"/>
                <a:gd name="T31" fmla="*/ 57 h 60"/>
                <a:gd name="T32" fmla="*/ 38 w 41"/>
                <a:gd name="T3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60">
                  <a:moveTo>
                    <a:pt x="38" y="60"/>
                  </a:moveTo>
                  <a:cubicBezTo>
                    <a:pt x="37" y="60"/>
                    <a:pt x="35" y="58"/>
                    <a:pt x="35" y="57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11"/>
                    <a:pt x="23" y="10"/>
                    <a:pt x="21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4" y="10"/>
                    <a:pt x="2" y="8"/>
                  </a:cubicBezTo>
                  <a:cubicBezTo>
                    <a:pt x="1" y="7"/>
                    <a:pt x="0" y="6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3"/>
                    <a:pt x="6" y="4"/>
                    <a:pt x="6" y="4"/>
                  </a:cubicBezTo>
                  <a:cubicBezTo>
                    <a:pt x="6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8" y="4"/>
                    <a:pt x="41" y="8"/>
                    <a:pt x="41" y="22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8"/>
                    <a:pt x="40" y="60"/>
                    <a:pt x="38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" name="Freeform 300"/>
            <p:cNvSpPr>
              <a:spLocks noEditPoints="1"/>
            </p:cNvSpPr>
            <p:nvPr/>
          </p:nvSpPr>
          <p:spPr bwMode="auto">
            <a:xfrm>
              <a:off x="4284664" y="2640013"/>
              <a:ext cx="127000" cy="141288"/>
            </a:xfrm>
            <a:custGeom>
              <a:avLst/>
              <a:gdLst>
                <a:gd name="T0" fmla="*/ 27 w 55"/>
                <a:gd name="T1" fmla="*/ 61 h 61"/>
                <a:gd name="T2" fmla="*/ 0 w 55"/>
                <a:gd name="T3" fmla="*/ 30 h 61"/>
                <a:gd name="T4" fmla="*/ 27 w 55"/>
                <a:gd name="T5" fmla="*/ 0 h 61"/>
                <a:gd name="T6" fmla="*/ 55 w 55"/>
                <a:gd name="T7" fmla="*/ 30 h 61"/>
                <a:gd name="T8" fmla="*/ 27 w 55"/>
                <a:gd name="T9" fmla="*/ 61 h 61"/>
                <a:gd name="T10" fmla="*/ 27 w 55"/>
                <a:gd name="T11" fmla="*/ 6 h 61"/>
                <a:gd name="T12" fmla="*/ 6 w 55"/>
                <a:gd name="T13" fmla="*/ 30 h 61"/>
                <a:gd name="T14" fmla="*/ 27 w 55"/>
                <a:gd name="T15" fmla="*/ 55 h 61"/>
                <a:gd name="T16" fmla="*/ 49 w 55"/>
                <a:gd name="T17" fmla="*/ 30 h 61"/>
                <a:gd name="T18" fmla="*/ 27 w 55"/>
                <a:gd name="T19" fmla="*/ 6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61">
                  <a:moveTo>
                    <a:pt x="27" y="61"/>
                  </a:moveTo>
                  <a:cubicBezTo>
                    <a:pt x="12" y="61"/>
                    <a:pt x="0" y="47"/>
                    <a:pt x="0" y="30"/>
                  </a:cubicBezTo>
                  <a:cubicBezTo>
                    <a:pt x="0" y="13"/>
                    <a:pt x="12" y="0"/>
                    <a:pt x="27" y="0"/>
                  </a:cubicBezTo>
                  <a:cubicBezTo>
                    <a:pt x="42" y="0"/>
                    <a:pt x="55" y="13"/>
                    <a:pt x="55" y="30"/>
                  </a:cubicBezTo>
                  <a:cubicBezTo>
                    <a:pt x="55" y="47"/>
                    <a:pt x="42" y="61"/>
                    <a:pt x="27" y="61"/>
                  </a:cubicBezTo>
                  <a:close/>
                  <a:moveTo>
                    <a:pt x="27" y="6"/>
                  </a:moveTo>
                  <a:cubicBezTo>
                    <a:pt x="16" y="6"/>
                    <a:pt x="6" y="17"/>
                    <a:pt x="6" y="30"/>
                  </a:cubicBezTo>
                  <a:cubicBezTo>
                    <a:pt x="6" y="44"/>
                    <a:pt x="16" y="55"/>
                    <a:pt x="27" y="55"/>
                  </a:cubicBezTo>
                  <a:cubicBezTo>
                    <a:pt x="39" y="55"/>
                    <a:pt x="49" y="44"/>
                    <a:pt x="49" y="30"/>
                  </a:cubicBezTo>
                  <a:cubicBezTo>
                    <a:pt x="49" y="17"/>
                    <a:pt x="39" y="6"/>
                    <a:pt x="2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" name="Freeform 301"/>
            <p:cNvSpPr>
              <a:spLocks/>
            </p:cNvSpPr>
            <p:nvPr/>
          </p:nvSpPr>
          <p:spPr bwMode="auto">
            <a:xfrm>
              <a:off x="4173539" y="2894013"/>
              <a:ext cx="349250" cy="101600"/>
            </a:xfrm>
            <a:custGeom>
              <a:avLst/>
              <a:gdLst>
                <a:gd name="T0" fmla="*/ 75 w 151"/>
                <a:gd name="T1" fmla="*/ 44 h 44"/>
                <a:gd name="T2" fmla="*/ 0 w 151"/>
                <a:gd name="T3" fmla="*/ 17 h 44"/>
                <a:gd name="T4" fmla="*/ 14 w 151"/>
                <a:gd name="T5" fmla="*/ 1 h 44"/>
                <a:gd name="T6" fmla="*/ 18 w 151"/>
                <a:gd name="T7" fmla="*/ 2 h 44"/>
                <a:gd name="T8" fmla="*/ 17 w 151"/>
                <a:gd name="T9" fmla="*/ 6 h 44"/>
                <a:gd name="T10" fmla="*/ 6 w 151"/>
                <a:gd name="T11" fmla="*/ 17 h 44"/>
                <a:gd name="T12" fmla="*/ 75 w 151"/>
                <a:gd name="T13" fmla="*/ 38 h 44"/>
                <a:gd name="T14" fmla="*/ 145 w 151"/>
                <a:gd name="T15" fmla="*/ 17 h 44"/>
                <a:gd name="T16" fmla="*/ 134 w 151"/>
                <a:gd name="T17" fmla="*/ 6 h 44"/>
                <a:gd name="T18" fmla="*/ 133 w 151"/>
                <a:gd name="T19" fmla="*/ 2 h 44"/>
                <a:gd name="T20" fmla="*/ 137 w 151"/>
                <a:gd name="T21" fmla="*/ 1 h 44"/>
                <a:gd name="T22" fmla="*/ 151 w 151"/>
                <a:gd name="T23" fmla="*/ 17 h 44"/>
                <a:gd name="T24" fmla="*/ 75 w 151"/>
                <a:gd name="T25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1" h="44">
                  <a:moveTo>
                    <a:pt x="75" y="44"/>
                  </a:moveTo>
                  <a:cubicBezTo>
                    <a:pt x="39" y="44"/>
                    <a:pt x="0" y="34"/>
                    <a:pt x="0" y="17"/>
                  </a:cubicBezTo>
                  <a:cubicBezTo>
                    <a:pt x="0" y="13"/>
                    <a:pt x="2" y="6"/>
                    <a:pt x="14" y="1"/>
                  </a:cubicBezTo>
                  <a:cubicBezTo>
                    <a:pt x="16" y="0"/>
                    <a:pt x="18" y="0"/>
                    <a:pt x="18" y="2"/>
                  </a:cubicBezTo>
                  <a:cubicBezTo>
                    <a:pt x="19" y="3"/>
                    <a:pt x="18" y="5"/>
                    <a:pt x="17" y="6"/>
                  </a:cubicBezTo>
                  <a:cubicBezTo>
                    <a:pt x="10" y="9"/>
                    <a:pt x="6" y="13"/>
                    <a:pt x="6" y="17"/>
                  </a:cubicBezTo>
                  <a:cubicBezTo>
                    <a:pt x="6" y="27"/>
                    <a:pt x="34" y="38"/>
                    <a:pt x="75" y="38"/>
                  </a:cubicBezTo>
                  <a:cubicBezTo>
                    <a:pt x="116" y="38"/>
                    <a:pt x="145" y="27"/>
                    <a:pt x="145" y="17"/>
                  </a:cubicBezTo>
                  <a:cubicBezTo>
                    <a:pt x="145" y="13"/>
                    <a:pt x="141" y="9"/>
                    <a:pt x="134" y="6"/>
                  </a:cubicBezTo>
                  <a:cubicBezTo>
                    <a:pt x="133" y="5"/>
                    <a:pt x="132" y="4"/>
                    <a:pt x="133" y="2"/>
                  </a:cubicBezTo>
                  <a:cubicBezTo>
                    <a:pt x="133" y="1"/>
                    <a:pt x="135" y="0"/>
                    <a:pt x="137" y="1"/>
                  </a:cubicBezTo>
                  <a:cubicBezTo>
                    <a:pt x="148" y="6"/>
                    <a:pt x="151" y="13"/>
                    <a:pt x="151" y="17"/>
                  </a:cubicBezTo>
                  <a:cubicBezTo>
                    <a:pt x="151" y="34"/>
                    <a:pt x="112" y="44"/>
                    <a:pt x="75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78" name="Группа 77"/>
          <p:cNvGrpSpPr/>
          <p:nvPr/>
        </p:nvGrpSpPr>
        <p:grpSpPr>
          <a:xfrm>
            <a:off x="6640334" y="2158654"/>
            <a:ext cx="225289" cy="419946"/>
            <a:chOff x="5370513" y="3535363"/>
            <a:chExt cx="361951" cy="674687"/>
          </a:xfrm>
          <a:solidFill>
            <a:schemeClr val="bg2"/>
          </a:solidFill>
        </p:grpSpPr>
        <p:sp>
          <p:nvSpPr>
            <p:cNvPr id="79" name="Freeform 431">
              <a:extLst>
                <a:ext uri="{FF2B5EF4-FFF2-40B4-BE49-F238E27FC236}">
                  <a16:creationId xmlns:a16="http://schemas.microsoft.com/office/drawing/2014/main" id="{77D0E063-2350-42DF-9346-FBC1A20EE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0513" y="3752850"/>
              <a:ext cx="14288" cy="411163"/>
            </a:xfrm>
            <a:custGeom>
              <a:avLst/>
              <a:gdLst>
                <a:gd name="T0" fmla="*/ 3 w 6"/>
                <a:gd name="T1" fmla="*/ 177 h 177"/>
                <a:gd name="T2" fmla="*/ 0 w 6"/>
                <a:gd name="T3" fmla="*/ 174 h 177"/>
                <a:gd name="T4" fmla="*/ 0 w 6"/>
                <a:gd name="T5" fmla="*/ 3 h 177"/>
                <a:gd name="T6" fmla="*/ 3 w 6"/>
                <a:gd name="T7" fmla="*/ 0 h 177"/>
                <a:gd name="T8" fmla="*/ 6 w 6"/>
                <a:gd name="T9" fmla="*/ 3 h 177"/>
                <a:gd name="T10" fmla="*/ 6 w 6"/>
                <a:gd name="T11" fmla="*/ 174 h 177"/>
                <a:gd name="T12" fmla="*/ 3 w 6"/>
                <a:gd name="T13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77">
                  <a:moveTo>
                    <a:pt x="3" y="177"/>
                  </a:moveTo>
                  <a:cubicBezTo>
                    <a:pt x="1" y="177"/>
                    <a:pt x="0" y="175"/>
                    <a:pt x="0" y="17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4" y="0"/>
                    <a:pt x="6" y="2"/>
                    <a:pt x="6" y="3"/>
                  </a:cubicBezTo>
                  <a:cubicBezTo>
                    <a:pt x="6" y="174"/>
                    <a:pt x="6" y="174"/>
                    <a:pt x="6" y="174"/>
                  </a:cubicBezTo>
                  <a:cubicBezTo>
                    <a:pt x="6" y="175"/>
                    <a:pt x="4" y="177"/>
                    <a:pt x="3" y="1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" name="Freeform 432">
              <a:extLst>
                <a:ext uri="{FF2B5EF4-FFF2-40B4-BE49-F238E27FC236}">
                  <a16:creationId xmlns:a16="http://schemas.microsoft.com/office/drawing/2014/main" id="{03F3F011-7098-4170-9610-52218CED9E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8176" y="3752850"/>
              <a:ext cx="14288" cy="411163"/>
            </a:xfrm>
            <a:custGeom>
              <a:avLst/>
              <a:gdLst>
                <a:gd name="T0" fmla="*/ 3 w 6"/>
                <a:gd name="T1" fmla="*/ 177 h 177"/>
                <a:gd name="T2" fmla="*/ 0 w 6"/>
                <a:gd name="T3" fmla="*/ 174 h 177"/>
                <a:gd name="T4" fmla="*/ 0 w 6"/>
                <a:gd name="T5" fmla="*/ 3 h 177"/>
                <a:gd name="T6" fmla="*/ 3 w 6"/>
                <a:gd name="T7" fmla="*/ 0 h 177"/>
                <a:gd name="T8" fmla="*/ 6 w 6"/>
                <a:gd name="T9" fmla="*/ 3 h 177"/>
                <a:gd name="T10" fmla="*/ 6 w 6"/>
                <a:gd name="T11" fmla="*/ 174 h 177"/>
                <a:gd name="T12" fmla="*/ 3 w 6"/>
                <a:gd name="T13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77">
                  <a:moveTo>
                    <a:pt x="3" y="177"/>
                  </a:moveTo>
                  <a:cubicBezTo>
                    <a:pt x="1" y="177"/>
                    <a:pt x="0" y="175"/>
                    <a:pt x="0" y="17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4" y="0"/>
                    <a:pt x="6" y="2"/>
                    <a:pt x="6" y="3"/>
                  </a:cubicBezTo>
                  <a:cubicBezTo>
                    <a:pt x="6" y="174"/>
                    <a:pt x="6" y="174"/>
                    <a:pt x="6" y="174"/>
                  </a:cubicBezTo>
                  <a:cubicBezTo>
                    <a:pt x="6" y="175"/>
                    <a:pt x="4" y="177"/>
                    <a:pt x="3" y="1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" name="Freeform 433">
              <a:extLst>
                <a:ext uri="{FF2B5EF4-FFF2-40B4-BE49-F238E27FC236}">
                  <a16:creationId xmlns:a16="http://schemas.microsoft.com/office/drawing/2014/main" id="{0BF5987D-7C17-4F98-A65E-0C93018A8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0513" y="3716338"/>
              <a:ext cx="361950" cy="100013"/>
            </a:xfrm>
            <a:custGeom>
              <a:avLst/>
              <a:gdLst>
                <a:gd name="T0" fmla="*/ 78 w 156"/>
                <a:gd name="T1" fmla="*/ 43 h 43"/>
                <a:gd name="T2" fmla="*/ 0 w 156"/>
                <a:gd name="T3" fmla="*/ 19 h 43"/>
                <a:gd name="T4" fmla="*/ 31 w 156"/>
                <a:gd name="T5" fmla="*/ 1 h 43"/>
                <a:gd name="T6" fmla="*/ 34 w 156"/>
                <a:gd name="T7" fmla="*/ 3 h 43"/>
                <a:gd name="T8" fmla="*/ 32 w 156"/>
                <a:gd name="T9" fmla="*/ 7 h 43"/>
                <a:gd name="T10" fmla="*/ 6 w 156"/>
                <a:gd name="T11" fmla="*/ 19 h 43"/>
                <a:gd name="T12" fmla="*/ 78 w 156"/>
                <a:gd name="T13" fmla="*/ 37 h 43"/>
                <a:gd name="T14" fmla="*/ 150 w 156"/>
                <a:gd name="T15" fmla="*/ 19 h 43"/>
                <a:gd name="T16" fmla="*/ 122 w 156"/>
                <a:gd name="T17" fmla="*/ 7 h 43"/>
                <a:gd name="T18" fmla="*/ 120 w 156"/>
                <a:gd name="T19" fmla="*/ 3 h 43"/>
                <a:gd name="T20" fmla="*/ 124 w 156"/>
                <a:gd name="T21" fmla="*/ 1 h 43"/>
                <a:gd name="T22" fmla="*/ 156 w 156"/>
                <a:gd name="T23" fmla="*/ 19 h 43"/>
                <a:gd name="T24" fmla="*/ 78 w 156"/>
                <a:gd name="T2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6" h="43">
                  <a:moveTo>
                    <a:pt x="78" y="43"/>
                  </a:moveTo>
                  <a:cubicBezTo>
                    <a:pt x="41" y="43"/>
                    <a:pt x="0" y="33"/>
                    <a:pt x="0" y="19"/>
                  </a:cubicBezTo>
                  <a:cubicBezTo>
                    <a:pt x="0" y="10"/>
                    <a:pt x="19" y="4"/>
                    <a:pt x="31" y="1"/>
                  </a:cubicBezTo>
                  <a:cubicBezTo>
                    <a:pt x="32" y="1"/>
                    <a:pt x="34" y="2"/>
                    <a:pt x="34" y="3"/>
                  </a:cubicBezTo>
                  <a:cubicBezTo>
                    <a:pt x="35" y="5"/>
                    <a:pt x="34" y="6"/>
                    <a:pt x="32" y="7"/>
                  </a:cubicBezTo>
                  <a:cubicBezTo>
                    <a:pt x="12" y="11"/>
                    <a:pt x="6" y="17"/>
                    <a:pt x="6" y="19"/>
                  </a:cubicBezTo>
                  <a:cubicBezTo>
                    <a:pt x="6" y="25"/>
                    <a:pt x="33" y="37"/>
                    <a:pt x="78" y="37"/>
                  </a:cubicBezTo>
                  <a:cubicBezTo>
                    <a:pt x="122" y="37"/>
                    <a:pt x="150" y="25"/>
                    <a:pt x="150" y="19"/>
                  </a:cubicBezTo>
                  <a:cubicBezTo>
                    <a:pt x="150" y="17"/>
                    <a:pt x="143" y="11"/>
                    <a:pt x="122" y="7"/>
                  </a:cubicBezTo>
                  <a:cubicBezTo>
                    <a:pt x="121" y="6"/>
                    <a:pt x="120" y="5"/>
                    <a:pt x="120" y="3"/>
                  </a:cubicBezTo>
                  <a:cubicBezTo>
                    <a:pt x="120" y="1"/>
                    <a:pt x="122" y="0"/>
                    <a:pt x="124" y="1"/>
                  </a:cubicBezTo>
                  <a:cubicBezTo>
                    <a:pt x="133" y="3"/>
                    <a:pt x="156" y="9"/>
                    <a:pt x="156" y="19"/>
                  </a:cubicBezTo>
                  <a:cubicBezTo>
                    <a:pt x="156" y="33"/>
                    <a:pt x="115" y="43"/>
                    <a:pt x="7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" name="Freeform 434">
              <a:extLst>
                <a:ext uri="{FF2B5EF4-FFF2-40B4-BE49-F238E27FC236}">
                  <a16:creationId xmlns:a16="http://schemas.microsoft.com/office/drawing/2014/main" id="{E61C98B1-A1DB-4B5F-BD48-B52CED6E34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0513" y="4149725"/>
              <a:ext cx="361950" cy="60325"/>
            </a:xfrm>
            <a:custGeom>
              <a:avLst/>
              <a:gdLst>
                <a:gd name="T0" fmla="*/ 78 w 156"/>
                <a:gd name="T1" fmla="*/ 26 h 26"/>
                <a:gd name="T2" fmla="*/ 0 w 156"/>
                <a:gd name="T3" fmla="*/ 3 h 26"/>
                <a:gd name="T4" fmla="*/ 3 w 156"/>
                <a:gd name="T5" fmla="*/ 0 h 26"/>
                <a:gd name="T6" fmla="*/ 6 w 156"/>
                <a:gd name="T7" fmla="*/ 3 h 26"/>
                <a:gd name="T8" fmla="*/ 78 w 156"/>
                <a:gd name="T9" fmla="*/ 20 h 26"/>
                <a:gd name="T10" fmla="*/ 150 w 156"/>
                <a:gd name="T11" fmla="*/ 3 h 26"/>
                <a:gd name="T12" fmla="*/ 153 w 156"/>
                <a:gd name="T13" fmla="*/ 0 h 26"/>
                <a:gd name="T14" fmla="*/ 156 w 156"/>
                <a:gd name="T15" fmla="*/ 3 h 26"/>
                <a:gd name="T16" fmla="*/ 78 w 156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26">
                  <a:moveTo>
                    <a:pt x="78" y="26"/>
                  </a:moveTo>
                  <a:cubicBezTo>
                    <a:pt x="41" y="26"/>
                    <a:pt x="0" y="16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8"/>
                    <a:pt x="33" y="20"/>
                    <a:pt x="78" y="20"/>
                  </a:cubicBezTo>
                  <a:cubicBezTo>
                    <a:pt x="122" y="20"/>
                    <a:pt x="150" y="8"/>
                    <a:pt x="150" y="3"/>
                  </a:cubicBezTo>
                  <a:cubicBezTo>
                    <a:pt x="150" y="1"/>
                    <a:pt x="151" y="0"/>
                    <a:pt x="153" y="0"/>
                  </a:cubicBezTo>
                  <a:cubicBezTo>
                    <a:pt x="154" y="0"/>
                    <a:pt x="156" y="1"/>
                    <a:pt x="156" y="3"/>
                  </a:cubicBezTo>
                  <a:cubicBezTo>
                    <a:pt x="156" y="16"/>
                    <a:pt x="115" y="26"/>
                    <a:pt x="78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" name="Freeform 435">
              <a:extLst>
                <a:ext uri="{FF2B5EF4-FFF2-40B4-BE49-F238E27FC236}">
                  <a16:creationId xmlns:a16="http://schemas.microsoft.com/office/drawing/2014/main" id="{5E684C70-FA8C-4DED-9FB3-D5BAD3B43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0513" y="4022725"/>
              <a:ext cx="361950" cy="61913"/>
            </a:xfrm>
            <a:custGeom>
              <a:avLst/>
              <a:gdLst>
                <a:gd name="T0" fmla="*/ 78 w 156"/>
                <a:gd name="T1" fmla="*/ 27 h 27"/>
                <a:gd name="T2" fmla="*/ 0 w 156"/>
                <a:gd name="T3" fmla="*/ 3 h 27"/>
                <a:gd name="T4" fmla="*/ 3 w 156"/>
                <a:gd name="T5" fmla="*/ 0 h 27"/>
                <a:gd name="T6" fmla="*/ 6 w 156"/>
                <a:gd name="T7" fmla="*/ 3 h 27"/>
                <a:gd name="T8" fmla="*/ 78 w 156"/>
                <a:gd name="T9" fmla="*/ 21 h 27"/>
                <a:gd name="T10" fmla="*/ 150 w 156"/>
                <a:gd name="T11" fmla="*/ 3 h 27"/>
                <a:gd name="T12" fmla="*/ 153 w 156"/>
                <a:gd name="T13" fmla="*/ 0 h 27"/>
                <a:gd name="T14" fmla="*/ 156 w 156"/>
                <a:gd name="T15" fmla="*/ 3 h 27"/>
                <a:gd name="T16" fmla="*/ 78 w 156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27">
                  <a:moveTo>
                    <a:pt x="78" y="27"/>
                  </a:moveTo>
                  <a:cubicBezTo>
                    <a:pt x="41" y="27"/>
                    <a:pt x="0" y="17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8"/>
                    <a:pt x="33" y="21"/>
                    <a:pt x="78" y="21"/>
                  </a:cubicBezTo>
                  <a:cubicBezTo>
                    <a:pt x="122" y="21"/>
                    <a:pt x="150" y="8"/>
                    <a:pt x="150" y="3"/>
                  </a:cubicBezTo>
                  <a:cubicBezTo>
                    <a:pt x="150" y="1"/>
                    <a:pt x="151" y="0"/>
                    <a:pt x="153" y="0"/>
                  </a:cubicBezTo>
                  <a:cubicBezTo>
                    <a:pt x="154" y="0"/>
                    <a:pt x="156" y="1"/>
                    <a:pt x="156" y="3"/>
                  </a:cubicBezTo>
                  <a:cubicBezTo>
                    <a:pt x="156" y="17"/>
                    <a:pt x="115" y="27"/>
                    <a:pt x="78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" name="Freeform 436">
              <a:extLst>
                <a:ext uri="{FF2B5EF4-FFF2-40B4-BE49-F238E27FC236}">
                  <a16:creationId xmlns:a16="http://schemas.microsoft.com/office/drawing/2014/main" id="{7E6DE776-27C2-461E-8D96-5474D9F27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0513" y="3887788"/>
              <a:ext cx="361950" cy="61913"/>
            </a:xfrm>
            <a:custGeom>
              <a:avLst/>
              <a:gdLst>
                <a:gd name="T0" fmla="*/ 78 w 156"/>
                <a:gd name="T1" fmla="*/ 27 h 27"/>
                <a:gd name="T2" fmla="*/ 0 w 156"/>
                <a:gd name="T3" fmla="*/ 3 h 27"/>
                <a:gd name="T4" fmla="*/ 3 w 156"/>
                <a:gd name="T5" fmla="*/ 0 h 27"/>
                <a:gd name="T6" fmla="*/ 6 w 156"/>
                <a:gd name="T7" fmla="*/ 3 h 27"/>
                <a:gd name="T8" fmla="*/ 78 w 156"/>
                <a:gd name="T9" fmla="*/ 21 h 27"/>
                <a:gd name="T10" fmla="*/ 150 w 156"/>
                <a:gd name="T11" fmla="*/ 3 h 27"/>
                <a:gd name="T12" fmla="*/ 153 w 156"/>
                <a:gd name="T13" fmla="*/ 0 h 27"/>
                <a:gd name="T14" fmla="*/ 156 w 156"/>
                <a:gd name="T15" fmla="*/ 3 h 27"/>
                <a:gd name="T16" fmla="*/ 78 w 156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27">
                  <a:moveTo>
                    <a:pt x="78" y="27"/>
                  </a:moveTo>
                  <a:cubicBezTo>
                    <a:pt x="41" y="27"/>
                    <a:pt x="0" y="17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4" y="0"/>
                    <a:pt x="6" y="2"/>
                    <a:pt x="6" y="3"/>
                  </a:cubicBezTo>
                  <a:cubicBezTo>
                    <a:pt x="6" y="9"/>
                    <a:pt x="33" y="21"/>
                    <a:pt x="78" y="21"/>
                  </a:cubicBezTo>
                  <a:cubicBezTo>
                    <a:pt x="122" y="21"/>
                    <a:pt x="150" y="9"/>
                    <a:pt x="150" y="3"/>
                  </a:cubicBezTo>
                  <a:cubicBezTo>
                    <a:pt x="150" y="2"/>
                    <a:pt x="151" y="0"/>
                    <a:pt x="153" y="0"/>
                  </a:cubicBezTo>
                  <a:cubicBezTo>
                    <a:pt x="154" y="0"/>
                    <a:pt x="156" y="2"/>
                    <a:pt x="156" y="3"/>
                  </a:cubicBezTo>
                  <a:cubicBezTo>
                    <a:pt x="156" y="17"/>
                    <a:pt x="115" y="27"/>
                    <a:pt x="78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" name="Freeform 437">
              <a:extLst>
                <a:ext uri="{FF2B5EF4-FFF2-40B4-BE49-F238E27FC236}">
                  <a16:creationId xmlns:a16="http://schemas.microsoft.com/office/drawing/2014/main" id="{F56559BE-2B4E-46C2-A5E8-5091DBEE49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7188" y="3535363"/>
              <a:ext cx="225425" cy="242888"/>
            </a:xfrm>
            <a:custGeom>
              <a:avLst/>
              <a:gdLst>
                <a:gd name="T0" fmla="*/ 94 w 97"/>
                <a:gd name="T1" fmla="*/ 105 h 105"/>
                <a:gd name="T2" fmla="*/ 91 w 97"/>
                <a:gd name="T3" fmla="*/ 102 h 105"/>
                <a:gd name="T4" fmla="*/ 91 w 97"/>
                <a:gd name="T5" fmla="*/ 31 h 105"/>
                <a:gd name="T6" fmla="*/ 66 w 97"/>
                <a:gd name="T7" fmla="*/ 6 h 105"/>
                <a:gd name="T8" fmla="*/ 6 w 97"/>
                <a:gd name="T9" fmla="*/ 6 h 105"/>
                <a:gd name="T10" fmla="*/ 6 w 97"/>
                <a:gd name="T11" fmla="*/ 102 h 105"/>
                <a:gd name="T12" fmla="*/ 3 w 97"/>
                <a:gd name="T13" fmla="*/ 105 h 105"/>
                <a:gd name="T14" fmla="*/ 0 w 97"/>
                <a:gd name="T15" fmla="*/ 102 h 105"/>
                <a:gd name="T16" fmla="*/ 0 w 97"/>
                <a:gd name="T17" fmla="*/ 3 h 105"/>
                <a:gd name="T18" fmla="*/ 3 w 97"/>
                <a:gd name="T19" fmla="*/ 0 h 105"/>
                <a:gd name="T20" fmla="*/ 68 w 97"/>
                <a:gd name="T21" fmla="*/ 0 h 105"/>
                <a:gd name="T22" fmla="*/ 70 w 97"/>
                <a:gd name="T23" fmla="*/ 1 h 105"/>
                <a:gd name="T24" fmla="*/ 96 w 97"/>
                <a:gd name="T25" fmla="*/ 28 h 105"/>
                <a:gd name="T26" fmla="*/ 97 w 97"/>
                <a:gd name="T27" fmla="*/ 30 h 105"/>
                <a:gd name="T28" fmla="*/ 97 w 97"/>
                <a:gd name="T29" fmla="*/ 102 h 105"/>
                <a:gd name="T30" fmla="*/ 94 w 97"/>
                <a:gd name="T31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5">
                  <a:moveTo>
                    <a:pt x="94" y="105"/>
                  </a:moveTo>
                  <a:cubicBezTo>
                    <a:pt x="92" y="105"/>
                    <a:pt x="91" y="103"/>
                    <a:pt x="91" y="102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6" y="103"/>
                    <a:pt x="5" y="105"/>
                    <a:pt x="3" y="105"/>
                  </a:cubicBezTo>
                  <a:cubicBezTo>
                    <a:pt x="2" y="105"/>
                    <a:pt x="0" y="103"/>
                    <a:pt x="0" y="10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0"/>
                    <a:pt x="69" y="1"/>
                    <a:pt x="70" y="1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7" y="28"/>
                    <a:pt x="97" y="29"/>
                    <a:pt x="97" y="30"/>
                  </a:cubicBezTo>
                  <a:cubicBezTo>
                    <a:pt x="97" y="102"/>
                    <a:pt x="97" y="102"/>
                    <a:pt x="97" y="102"/>
                  </a:cubicBezTo>
                  <a:cubicBezTo>
                    <a:pt x="97" y="103"/>
                    <a:pt x="96" y="105"/>
                    <a:pt x="94" y="1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" name="Freeform 438">
              <a:extLst>
                <a:ext uri="{FF2B5EF4-FFF2-40B4-BE49-F238E27FC236}">
                  <a16:creationId xmlns:a16="http://schemas.microsoft.com/office/drawing/2014/main" id="{3D92396B-124E-480B-89CD-0DE410274E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88001" y="3535363"/>
              <a:ext cx="74613" cy="76200"/>
            </a:xfrm>
            <a:custGeom>
              <a:avLst/>
              <a:gdLst>
                <a:gd name="T0" fmla="*/ 29 w 32"/>
                <a:gd name="T1" fmla="*/ 33 h 33"/>
                <a:gd name="T2" fmla="*/ 3 w 32"/>
                <a:gd name="T3" fmla="*/ 33 h 33"/>
                <a:gd name="T4" fmla="*/ 0 w 32"/>
                <a:gd name="T5" fmla="*/ 30 h 33"/>
                <a:gd name="T6" fmla="*/ 0 w 32"/>
                <a:gd name="T7" fmla="*/ 3 h 33"/>
                <a:gd name="T8" fmla="*/ 1 w 32"/>
                <a:gd name="T9" fmla="*/ 1 h 33"/>
                <a:gd name="T10" fmla="*/ 5 w 32"/>
                <a:gd name="T11" fmla="*/ 1 h 33"/>
                <a:gd name="T12" fmla="*/ 31 w 32"/>
                <a:gd name="T13" fmla="*/ 28 h 33"/>
                <a:gd name="T14" fmla="*/ 32 w 32"/>
                <a:gd name="T15" fmla="*/ 31 h 33"/>
                <a:gd name="T16" fmla="*/ 29 w 32"/>
                <a:gd name="T17" fmla="*/ 33 h 33"/>
                <a:gd name="T18" fmla="*/ 6 w 32"/>
                <a:gd name="T19" fmla="*/ 27 h 33"/>
                <a:gd name="T20" fmla="*/ 22 w 32"/>
                <a:gd name="T21" fmla="*/ 27 h 33"/>
                <a:gd name="T22" fmla="*/ 6 w 32"/>
                <a:gd name="T23" fmla="*/ 11 h 33"/>
                <a:gd name="T24" fmla="*/ 6 w 32"/>
                <a:gd name="T25" fmla="*/ 2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33">
                  <a:moveTo>
                    <a:pt x="29" y="33"/>
                  </a:moveTo>
                  <a:cubicBezTo>
                    <a:pt x="3" y="33"/>
                    <a:pt x="3" y="33"/>
                    <a:pt x="3" y="33"/>
                  </a:cubicBezTo>
                  <a:cubicBezTo>
                    <a:pt x="1" y="33"/>
                    <a:pt x="0" y="31"/>
                    <a:pt x="0" y="3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3" y="0"/>
                    <a:pt x="4" y="0"/>
                    <a:pt x="5" y="1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2" y="28"/>
                    <a:pt x="32" y="30"/>
                    <a:pt x="32" y="31"/>
                  </a:cubicBezTo>
                  <a:cubicBezTo>
                    <a:pt x="31" y="32"/>
                    <a:pt x="30" y="33"/>
                    <a:pt x="29" y="33"/>
                  </a:cubicBezTo>
                  <a:close/>
                  <a:moveTo>
                    <a:pt x="6" y="27"/>
                  </a:moveTo>
                  <a:cubicBezTo>
                    <a:pt x="22" y="27"/>
                    <a:pt x="22" y="27"/>
                    <a:pt x="22" y="27"/>
                  </a:cubicBezTo>
                  <a:cubicBezTo>
                    <a:pt x="6" y="11"/>
                    <a:pt x="6" y="11"/>
                    <a:pt x="6" y="11"/>
                  </a:cubicBezTo>
                  <a:lnTo>
                    <a:pt x="6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7" name="Freeform 439">
              <a:extLst>
                <a:ext uri="{FF2B5EF4-FFF2-40B4-BE49-F238E27FC236}">
                  <a16:creationId xmlns:a16="http://schemas.microsoft.com/office/drawing/2014/main" id="{64E1E349-FBA0-477A-9655-E9FA048B04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0688" y="3632200"/>
              <a:ext cx="101600" cy="14288"/>
            </a:xfrm>
            <a:custGeom>
              <a:avLst/>
              <a:gdLst>
                <a:gd name="T0" fmla="*/ 41 w 44"/>
                <a:gd name="T1" fmla="*/ 6 h 6"/>
                <a:gd name="T2" fmla="*/ 3 w 44"/>
                <a:gd name="T3" fmla="*/ 6 h 6"/>
                <a:gd name="T4" fmla="*/ 0 w 44"/>
                <a:gd name="T5" fmla="*/ 3 h 6"/>
                <a:gd name="T6" fmla="*/ 3 w 44"/>
                <a:gd name="T7" fmla="*/ 0 h 6"/>
                <a:gd name="T8" fmla="*/ 41 w 44"/>
                <a:gd name="T9" fmla="*/ 0 h 6"/>
                <a:gd name="T10" fmla="*/ 44 w 44"/>
                <a:gd name="T11" fmla="*/ 3 h 6"/>
                <a:gd name="T12" fmla="*/ 41 w 44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6">
                  <a:moveTo>
                    <a:pt x="41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3" y="0"/>
                    <a:pt x="44" y="1"/>
                    <a:pt x="44" y="3"/>
                  </a:cubicBezTo>
                  <a:cubicBezTo>
                    <a:pt x="44" y="5"/>
                    <a:pt x="43" y="6"/>
                    <a:pt x="4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8" name="Freeform 440">
              <a:extLst>
                <a:ext uri="{FF2B5EF4-FFF2-40B4-BE49-F238E27FC236}">
                  <a16:creationId xmlns:a16="http://schemas.microsoft.com/office/drawing/2014/main" id="{1A0EDAFB-32C9-4E8B-B5E9-38FBA3FA4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3690938"/>
              <a:ext cx="139700" cy="12700"/>
            </a:xfrm>
            <a:custGeom>
              <a:avLst/>
              <a:gdLst>
                <a:gd name="T0" fmla="*/ 57 w 60"/>
                <a:gd name="T1" fmla="*/ 6 h 6"/>
                <a:gd name="T2" fmla="*/ 3 w 60"/>
                <a:gd name="T3" fmla="*/ 6 h 6"/>
                <a:gd name="T4" fmla="*/ 0 w 60"/>
                <a:gd name="T5" fmla="*/ 3 h 6"/>
                <a:gd name="T6" fmla="*/ 3 w 60"/>
                <a:gd name="T7" fmla="*/ 0 h 6"/>
                <a:gd name="T8" fmla="*/ 57 w 60"/>
                <a:gd name="T9" fmla="*/ 0 h 6"/>
                <a:gd name="T10" fmla="*/ 60 w 60"/>
                <a:gd name="T11" fmla="*/ 3 h 6"/>
                <a:gd name="T12" fmla="*/ 57 w 6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6">
                  <a:moveTo>
                    <a:pt x="5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9" y="0"/>
                    <a:pt x="60" y="2"/>
                    <a:pt x="60" y="3"/>
                  </a:cubicBezTo>
                  <a:cubicBezTo>
                    <a:pt x="60" y="5"/>
                    <a:pt x="59" y="6"/>
                    <a:pt x="5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9" name="Freeform 441">
              <a:extLst>
                <a:ext uri="{FF2B5EF4-FFF2-40B4-BE49-F238E27FC236}">
                  <a16:creationId xmlns:a16="http://schemas.microsoft.com/office/drawing/2014/main" id="{B6A2080B-A276-4682-849E-3FF9DAC9A0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3729038"/>
              <a:ext cx="139700" cy="14288"/>
            </a:xfrm>
            <a:custGeom>
              <a:avLst/>
              <a:gdLst>
                <a:gd name="T0" fmla="*/ 57 w 60"/>
                <a:gd name="T1" fmla="*/ 6 h 6"/>
                <a:gd name="T2" fmla="*/ 3 w 60"/>
                <a:gd name="T3" fmla="*/ 6 h 6"/>
                <a:gd name="T4" fmla="*/ 0 w 60"/>
                <a:gd name="T5" fmla="*/ 3 h 6"/>
                <a:gd name="T6" fmla="*/ 3 w 60"/>
                <a:gd name="T7" fmla="*/ 0 h 6"/>
                <a:gd name="T8" fmla="*/ 57 w 60"/>
                <a:gd name="T9" fmla="*/ 0 h 6"/>
                <a:gd name="T10" fmla="*/ 60 w 60"/>
                <a:gd name="T11" fmla="*/ 3 h 6"/>
                <a:gd name="T12" fmla="*/ 57 w 6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6">
                  <a:moveTo>
                    <a:pt x="5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9" y="0"/>
                    <a:pt x="60" y="2"/>
                    <a:pt x="60" y="3"/>
                  </a:cubicBezTo>
                  <a:cubicBezTo>
                    <a:pt x="60" y="5"/>
                    <a:pt x="59" y="6"/>
                    <a:pt x="5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90" name="Группа 89"/>
          <p:cNvGrpSpPr/>
          <p:nvPr/>
        </p:nvGrpSpPr>
        <p:grpSpPr>
          <a:xfrm>
            <a:off x="5017361" y="2195416"/>
            <a:ext cx="491095" cy="398394"/>
            <a:chOff x="3975100" y="4972050"/>
            <a:chExt cx="706438" cy="573088"/>
          </a:xfrm>
          <a:solidFill>
            <a:schemeClr val="bg2"/>
          </a:solidFill>
        </p:grpSpPr>
        <p:sp>
          <p:nvSpPr>
            <p:cNvPr id="91" name="Freeform 309">
              <a:extLst>
                <a:ext uri="{FF2B5EF4-FFF2-40B4-BE49-F238E27FC236}">
                  <a16:creationId xmlns:a16="http://schemas.microsoft.com/office/drawing/2014/main" id="{9C2BE221-9AD6-4C2B-B03F-F052DEA000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1475" y="4972050"/>
              <a:ext cx="500063" cy="334963"/>
            </a:xfrm>
            <a:custGeom>
              <a:avLst/>
              <a:gdLst>
                <a:gd name="T0" fmla="*/ 181 w 219"/>
                <a:gd name="T1" fmla="*/ 145 h 145"/>
                <a:gd name="T2" fmla="*/ 181 w 219"/>
                <a:gd name="T3" fmla="*/ 145 h 145"/>
                <a:gd name="T4" fmla="*/ 140 w 219"/>
                <a:gd name="T5" fmla="*/ 145 h 145"/>
                <a:gd name="T6" fmla="*/ 137 w 219"/>
                <a:gd name="T7" fmla="*/ 142 h 145"/>
                <a:gd name="T8" fmla="*/ 140 w 219"/>
                <a:gd name="T9" fmla="*/ 139 h 145"/>
                <a:gd name="T10" fmla="*/ 140 w 219"/>
                <a:gd name="T11" fmla="*/ 139 h 145"/>
                <a:gd name="T12" fmla="*/ 181 w 219"/>
                <a:gd name="T13" fmla="*/ 139 h 145"/>
                <a:gd name="T14" fmla="*/ 181 w 219"/>
                <a:gd name="T15" fmla="*/ 139 h 145"/>
                <a:gd name="T16" fmla="*/ 213 w 219"/>
                <a:gd name="T17" fmla="*/ 106 h 145"/>
                <a:gd name="T18" fmla="*/ 181 w 219"/>
                <a:gd name="T19" fmla="*/ 73 h 145"/>
                <a:gd name="T20" fmla="*/ 179 w 219"/>
                <a:gd name="T21" fmla="*/ 72 h 145"/>
                <a:gd name="T22" fmla="*/ 178 w 219"/>
                <a:gd name="T23" fmla="*/ 69 h 145"/>
                <a:gd name="T24" fmla="*/ 183 w 219"/>
                <a:gd name="T25" fmla="*/ 49 h 145"/>
                <a:gd name="T26" fmla="*/ 140 w 219"/>
                <a:gd name="T27" fmla="*/ 6 h 145"/>
                <a:gd name="T28" fmla="*/ 101 w 219"/>
                <a:gd name="T29" fmla="*/ 29 h 145"/>
                <a:gd name="T30" fmla="*/ 99 w 219"/>
                <a:gd name="T31" fmla="*/ 30 h 145"/>
                <a:gd name="T32" fmla="*/ 97 w 219"/>
                <a:gd name="T33" fmla="*/ 30 h 145"/>
                <a:gd name="T34" fmla="*/ 71 w 219"/>
                <a:gd name="T35" fmla="*/ 20 h 145"/>
                <a:gd name="T36" fmla="*/ 31 w 219"/>
                <a:gd name="T37" fmla="*/ 60 h 145"/>
                <a:gd name="T38" fmla="*/ 29 w 219"/>
                <a:gd name="T39" fmla="*/ 63 h 145"/>
                <a:gd name="T40" fmla="*/ 6 w 219"/>
                <a:gd name="T41" fmla="*/ 99 h 145"/>
                <a:gd name="T42" fmla="*/ 3 w 219"/>
                <a:gd name="T43" fmla="*/ 102 h 145"/>
                <a:gd name="T44" fmla="*/ 0 w 219"/>
                <a:gd name="T45" fmla="*/ 99 h 145"/>
                <a:gd name="T46" fmla="*/ 25 w 219"/>
                <a:gd name="T47" fmla="*/ 58 h 145"/>
                <a:gd name="T48" fmla="*/ 71 w 219"/>
                <a:gd name="T49" fmla="*/ 14 h 145"/>
                <a:gd name="T50" fmla="*/ 98 w 219"/>
                <a:gd name="T51" fmla="*/ 23 h 145"/>
                <a:gd name="T52" fmla="*/ 140 w 219"/>
                <a:gd name="T53" fmla="*/ 0 h 145"/>
                <a:gd name="T54" fmla="*/ 189 w 219"/>
                <a:gd name="T55" fmla="*/ 49 h 145"/>
                <a:gd name="T56" fmla="*/ 186 w 219"/>
                <a:gd name="T57" fmla="*/ 68 h 145"/>
                <a:gd name="T58" fmla="*/ 219 w 219"/>
                <a:gd name="T59" fmla="*/ 106 h 145"/>
                <a:gd name="T60" fmla="*/ 181 w 219"/>
                <a:gd name="T61" fmla="*/ 145 h 145"/>
                <a:gd name="T62" fmla="*/ 181 w 219"/>
                <a:gd name="T6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9" h="145">
                  <a:moveTo>
                    <a:pt x="181" y="145"/>
                  </a:moveTo>
                  <a:cubicBezTo>
                    <a:pt x="181" y="145"/>
                    <a:pt x="181" y="145"/>
                    <a:pt x="181" y="145"/>
                  </a:cubicBezTo>
                  <a:cubicBezTo>
                    <a:pt x="140" y="145"/>
                    <a:pt x="140" y="145"/>
                    <a:pt x="140" y="145"/>
                  </a:cubicBezTo>
                  <a:cubicBezTo>
                    <a:pt x="138" y="145"/>
                    <a:pt x="137" y="144"/>
                    <a:pt x="137" y="142"/>
                  </a:cubicBezTo>
                  <a:cubicBezTo>
                    <a:pt x="137" y="141"/>
                    <a:pt x="138" y="139"/>
                    <a:pt x="140" y="139"/>
                  </a:cubicBezTo>
                  <a:cubicBezTo>
                    <a:pt x="140" y="139"/>
                    <a:pt x="140" y="139"/>
                    <a:pt x="140" y="139"/>
                  </a:cubicBezTo>
                  <a:cubicBezTo>
                    <a:pt x="181" y="139"/>
                    <a:pt x="181" y="139"/>
                    <a:pt x="181" y="139"/>
                  </a:cubicBezTo>
                  <a:cubicBezTo>
                    <a:pt x="181" y="139"/>
                    <a:pt x="181" y="139"/>
                    <a:pt x="181" y="139"/>
                  </a:cubicBezTo>
                  <a:cubicBezTo>
                    <a:pt x="199" y="139"/>
                    <a:pt x="213" y="124"/>
                    <a:pt x="213" y="106"/>
                  </a:cubicBezTo>
                  <a:cubicBezTo>
                    <a:pt x="213" y="88"/>
                    <a:pt x="199" y="74"/>
                    <a:pt x="181" y="73"/>
                  </a:cubicBezTo>
                  <a:cubicBezTo>
                    <a:pt x="180" y="73"/>
                    <a:pt x="179" y="73"/>
                    <a:pt x="179" y="72"/>
                  </a:cubicBezTo>
                  <a:cubicBezTo>
                    <a:pt x="178" y="71"/>
                    <a:pt x="178" y="70"/>
                    <a:pt x="178" y="69"/>
                  </a:cubicBezTo>
                  <a:cubicBezTo>
                    <a:pt x="182" y="63"/>
                    <a:pt x="183" y="56"/>
                    <a:pt x="183" y="49"/>
                  </a:cubicBezTo>
                  <a:cubicBezTo>
                    <a:pt x="183" y="25"/>
                    <a:pt x="164" y="6"/>
                    <a:pt x="140" y="6"/>
                  </a:cubicBezTo>
                  <a:cubicBezTo>
                    <a:pt x="124" y="6"/>
                    <a:pt x="109" y="14"/>
                    <a:pt x="101" y="29"/>
                  </a:cubicBezTo>
                  <a:cubicBezTo>
                    <a:pt x="101" y="29"/>
                    <a:pt x="100" y="30"/>
                    <a:pt x="99" y="30"/>
                  </a:cubicBezTo>
                  <a:cubicBezTo>
                    <a:pt x="98" y="30"/>
                    <a:pt x="98" y="30"/>
                    <a:pt x="97" y="30"/>
                  </a:cubicBezTo>
                  <a:cubicBezTo>
                    <a:pt x="90" y="23"/>
                    <a:pt x="81" y="20"/>
                    <a:pt x="71" y="20"/>
                  </a:cubicBezTo>
                  <a:cubicBezTo>
                    <a:pt x="49" y="20"/>
                    <a:pt x="31" y="38"/>
                    <a:pt x="31" y="60"/>
                  </a:cubicBezTo>
                  <a:cubicBezTo>
                    <a:pt x="31" y="61"/>
                    <a:pt x="30" y="62"/>
                    <a:pt x="29" y="63"/>
                  </a:cubicBezTo>
                  <a:cubicBezTo>
                    <a:pt x="15" y="69"/>
                    <a:pt x="6" y="84"/>
                    <a:pt x="6" y="99"/>
                  </a:cubicBezTo>
                  <a:cubicBezTo>
                    <a:pt x="6" y="101"/>
                    <a:pt x="4" y="102"/>
                    <a:pt x="3" y="102"/>
                  </a:cubicBezTo>
                  <a:cubicBezTo>
                    <a:pt x="1" y="102"/>
                    <a:pt x="0" y="101"/>
                    <a:pt x="0" y="99"/>
                  </a:cubicBezTo>
                  <a:cubicBezTo>
                    <a:pt x="0" y="82"/>
                    <a:pt x="10" y="66"/>
                    <a:pt x="25" y="58"/>
                  </a:cubicBezTo>
                  <a:cubicBezTo>
                    <a:pt x="26" y="34"/>
                    <a:pt x="46" y="14"/>
                    <a:pt x="71" y="14"/>
                  </a:cubicBezTo>
                  <a:cubicBezTo>
                    <a:pt x="81" y="14"/>
                    <a:pt x="90" y="17"/>
                    <a:pt x="98" y="23"/>
                  </a:cubicBezTo>
                  <a:cubicBezTo>
                    <a:pt x="107" y="8"/>
                    <a:pt x="123" y="0"/>
                    <a:pt x="140" y="0"/>
                  </a:cubicBezTo>
                  <a:cubicBezTo>
                    <a:pt x="167" y="0"/>
                    <a:pt x="189" y="22"/>
                    <a:pt x="189" y="49"/>
                  </a:cubicBezTo>
                  <a:cubicBezTo>
                    <a:pt x="189" y="55"/>
                    <a:pt x="188" y="62"/>
                    <a:pt x="186" y="68"/>
                  </a:cubicBezTo>
                  <a:cubicBezTo>
                    <a:pt x="205" y="70"/>
                    <a:pt x="219" y="86"/>
                    <a:pt x="219" y="106"/>
                  </a:cubicBezTo>
                  <a:cubicBezTo>
                    <a:pt x="219" y="127"/>
                    <a:pt x="202" y="145"/>
                    <a:pt x="181" y="145"/>
                  </a:cubicBezTo>
                  <a:cubicBezTo>
                    <a:pt x="181" y="145"/>
                    <a:pt x="181" y="145"/>
                    <a:pt x="181" y="1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2" name="Freeform 310">
              <a:extLst>
                <a:ext uri="{FF2B5EF4-FFF2-40B4-BE49-F238E27FC236}">
                  <a16:creationId xmlns:a16="http://schemas.microsoft.com/office/drawing/2014/main" id="{6F3DC16D-2B2E-4637-BB55-263DED0339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0500" y="5486400"/>
              <a:ext cx="547688" cy="58738"/>
            </a:xfrm>
            <a:custGeom>
              <a:avLst/>
              <a:gdLst>
                <a:gd name="T0" fmla="*/ 219 w 240"/>
                <a:gd name="T1" fmla="*/ 25 h 25"/>
                <a:gd name="T2" fmla="*/ 17 w 240"/>
                <a:gd name="T3" fmla="*/ 25 h 25"/>
                <a:gd name="T4" fmla="*/ 0 w 240"/>
                <a:gd name="T5" fmla="*/ 7 h 25"/>
                <a:gd name="T6" fmla="*/ 0 w 240"/>
                <a:gd name="T7" fmla="*/ 3 h 25"/>
                <a:gd name="T8" fmla="*/ 1 w 240"/>
                <a:gd name="T9" fmla="*/ 1 h 25"/>
                <a:gd name="T10" fmla="*/ 3 w 240"/>
                <a:gd name="T11" fmla="*/ 0 h 25"/>
                <a:gd name="T12" fmla="*/ 3 w 240"/>
                <a:gd name="T13" fmla="*/ 0 h 25"/>
                <a:gd name="T14" fmla="*/ 237 w 240"/>
                <a:gd name="T15" fmla="*/ 0 h 25"/>
                <a:gd name="T16" fmla="*/ 239 w 240"/>
                <a:gd name="T17" fmla="*/ 1 h 25"/>
                <a:gd name="T18" fmla="*/ 240 w 240"/>
                <a:gd name="T19" fmla="*/ 3 h 25"/>
                <a:gd name="T20" fmla="*/ 240 w 240"/>
                <a:gd name="T21" fmla="*/ 8 h 25"/>
                <a:gd name="T22" fmla="*/ 223 w 240"/>
                <a:gd name="T23" fmla="*/ 25 h 25"/>
                <a:gd name="T24" fmla="*/ 219 w 240"/>
                <a:gd name="T25" fmla="*/ 25 h 25"/>
                <a:gd name="T26" fmla="*/ 6 w 240"/>
                <a:gd name="T27" fmla="*/ 6 h 25"/>
                <a:gd name="T28" fmla="*/ 6 w 240"/>
                <a:gd name="T29" fmla="*/ 7 h 25"/>
                <a:gd name="T30" fmla="*/ 17 w 240"/>
                <a:gd name="T31" fmla="*/ 19 h 25"/>
                <a:gd name="T32" fmla="*/ 223 w 240"/>
                <a:gd name="T33" fmla="*/ 19 h 25"/>
                <a:gd name="T34" fmla="*/ 234 w 240"/>
                <a:gd name="T35" fmla="*/ 8 h 25"/>
                <a:gd name="T36" fmla="*/ 234 w 240"/>
                <a:gd name="T37" fmla="*/ 6 h 25"/>
                <a:gd name="T38" fmla="*/ 6 w 240"/>
                <a:gd name="T39" fmla="*/ 6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0" h="25">
                  <a:moveTo>
                    <a:pt x="219" y="25"/>
                  </a:moveTo>
                  <a:cubicBezTo>
                    <a:pt x="189" y="25"/>
                    <a:pt x="19" y="25"/>
                    <a:pt x="17" y="25"/>
                  </a:cubicBezTo>
                  <a:cubicBezTo>
                    <a:pt x="2" y="25"/>
                    <a:pt x="0" y="17"/>
                    <a:pt x="0" y="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37" y="0"/>
                    <a:pt x="237" y="0"/>
                    <a:pt x="237" y="0"/>
                  </a:cubicBezTo>
                  <a:cubicBezTo>
                    <a:pt x="238" y="0"/>
                    <a:pt x="239" y="1"/>
                    <a:pt x="239" y="1"/>
                  </a:cubicBezTo>
                  <a:cubicBezTo>
                    <a:pt x="240" y="2"/>
                    <a:pt x="240" y="3"/>
                    <a:pt x="240" y="3"/>
                  </a:cubicBezTo>
                  <a:cubicBezTo>
                    <a:pt x="240" y="8"/>
                    <a:pt x="240" y="8"/>
                    <a:pt x="240" y="8"/>
                  </a:cubicBezTo>
                  <a:cubicBezTo>
                    <a:pt x="240" y="17"/>
                    <a:pt x="239" y="25"/>
                    <a:pt x="223" y="25"/>
                  </a:cubicBezTo>
                  <a:cubicBezTo>
                    <a:pt x="223" y="25"/>
                    <a:pt x="222" y="25"/>
                    <a:pt x="219" y="25"/>
                  </a:cubicBezTo>
                  <a:close/>
                  <a:moveTo>
                    <a:pt x="6" y="6"/>
                  </a:moveTo>
                  <a:cubicBezTo>
                    <a:pt x="6" y="7"/>
                    <a:pt x="6" y="7"/>
                    <a:pt x="6" y="7"/>
                  </a:cubicBezTo>
                  <a:cubicBezTo>
                    <a:pt x="6" y="16"/>
                    <a:pt x="7" y="19"/>
                    <a:pt x="17" y="19"/>
                  </a:cubicBezTo>
                  <a:cubicBezTo>
                    <a:pt x="19" y="19"/>
                    <a:pt x="220" y="19"/>
                    <a:pt x="223" y="19"/>
                  </a:cubicBezTo>
                  <a:cubicBezTo>
                    <a:pt x="234" y="19"/>
                    <a:pt x="234" y="16"/>
                    <a:pt x="234" y="8"/>
                  </a:cubicBezTo>
                  <a:cubicBezTo>
                    <a:pt x="234" y="6"/>
                    <a:pt x="234" y="6"/>
                    <a:pt x="234" y="6"/>
                  </a:cubicBez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3" name="Freeform 311">
              <a:extLst>
                <a:ext uri="{FF2B5EF4-FFF2-40B4-BE49-F238E27FC236}">
                  <a16:creationId xmlns:a16="http://schemas.microsoft.com/office/drawing/2014/main" id="{9C38B617-A091-4D7C-946E-307ED7478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7175" y="5221288"/>
              <a:ext cx="417513" cy="279400"/>
            </a:xfrm>
            <a:custGeom>
              <a:avLst/>
              <a:gdLst>
                <a:gd name="T0" fmla="*/ 180 w 183"/>
                <a:gd name="T1" fmla="*/ 121 h 121"/>
                <a:gd name="T2" fmla="*/ 177 w 183"/>
                <a:gd name="T3" fmla="*/ 118 h 121"/>
                <a:gd name="T4" fmla="*/ 177 w 183"/>
                <a:gd name="T5" fmla="*/ 9 h 121"/>
                <a:gd name="T6" fmla="*/ 173 w 183"/>
                <a:gd name="T7" fmla="*/ 6 h 121"/>
                <a:gd name="T8" fmla="*/ 9 w 183"/>
                <a:gd name="T9" fmla="*/ 6 h 121"/>
                <a:gd name="T10" fmla="*/ 6 w 183"/>
                <a:gd name="T11" fmla="*/ 9 h 121"/>
                <a:gd name="T12" fmla="*/ 6 w 183"/>
                <a:gd name="T13" fmla="*/ 116 h 121"/>
                <a:gd name="T14" fmla="*/ 3 w 183"/>
                <a:gd name="T15" fmla="*/ 119 h 121"/>
                <a:gd name="T16" fmla="*/ 0 w 183"/>
                <a:gd name="T17" fmla="*/ 116 h 121"/>
                <a:gd name="T18" fmla="*/ 0 w 183"/>
                <a:gd name="T19" fmla="*/ 9 h 121"/>
                <a:gd name="T20" fmla="*/ 9 w 183"/>
                <a:gd name="T21" fmla="*/ 0 h 121"/>
                <a:gd name="T22" fmla="*/ 173 w 183"/>
                <a:gd name="T23" fmla="*/ 0 h 121"/>
                <a:gd name="T24" fmla="*/ 183 w 183"/>
                <a:gd name="T25" fmla="*/ 9 h 121"/>
                <a:gd name="T26" fmla="*/ 183 w 183"/>
                <a:gd name="T27" fmla="*/ 118 h 121"/>
                <a:gd name="T28" fmla="*/ 180 w 183"/>
                <a:gd name="T2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3" h="121">
                  <a:moveTo>
                    <a:pt x="180" y="121"/>
                  </a:moveTo>
                  <a:cubicBezTo>
                    <a:pt x="178" y="121"/>
                    <a:pt x="177" y="120"/>
                    <a:pt x="177" y="118"/>
                  </a:cubicBezTo>
                  <a:cubicBezTo>
                    <a:pt x="177" y="9"/>
                    <a:pt x="177" y="9"/>
                    <a:pt x="177" y="9"/>
                  </a:cubicBezTo>
                  <a:cubicBezTo>
                    <a:pt x="177" y="6"/>
                    <a:pt x="174" y="6"/>
                    <a:pt x="17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8" y="6"/>
                    <a:pt x="6" y="7"/>
                    <a:pt x="6" y="9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6" y="118"/>
                    <a:pt x="4" y="119"/>
                    <a:pt x="3" y="119"/>
                  </a:cubicBezTo>
                  <a:cubicBezTo>
                    <a:pt x="1" y="119"/>
                    <a:pt x="0" y="118"/>
                    <a:pt x="0" y="11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3"/>
                    <a:pt x="5" y="0"/>
                    <a:pt x="9" y="0"/>
                  </a:cubicBezTo>
                  <a:cubicBezTo>
                    <a:pt x="173" y="0"/>
                    <a:pt x="173" y="0"/>
                    <a:pt x="173" y="0"/>
                  </a:cubicBezTo>
                  <a:cubicBezTo>
                    <a:pt x="177" y="0"/>
                    <a:pt x="183" y="3"/>
                    <a:pt x="183" y="9"/>
                  </a:cubicBezTo>
                  <a:cubicBezTo>
                    <a:pt x="183" y="118"/>
                    <a:pt x="183" y="118"/>
                    <a:pt x="183" y="118"/>
                  </a:cubicBezTo>
                  <a:cubicBezTo>
                    <a:pt x="183" y="120"/>
                    <a:pt x="181" y="121"/>
                    <a:pt x="180" y="1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4" name="Freeform 312">
              <a:extLst>
                <a:ext uri="{FF2B5EF4-FFF2-40B4-BE49-F238E27FC236}">
                  <a16:creationId xmlns:a16="http://schemas.microsoft.com/office/drawing/2014/main" id="{7BDD312E-C084-403A-899B-1F52C6203F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925" y="5253038"/>
              <a:ext cx="355600" cy="228600"/>
            </a:xfrm>
            <a:custGeom>
              <a:avLst/>
              <a:gdLst>
                <a:gd name="T0" fmla="*/ 153 w 156"/>
                <a:gd name="T1" fmla="*/ 99 h 99"/>
                <a:gd name="T2" fmla="*/ 150 w 156"/>
                <a:gd name="T3" fmla="*/ 96 h 99"/>
                <a:gd name="T4" fmla="*/ 150 w 156"/>
                <a:gd name="T5" fmla="*/ 6 h 99"/>
                <a:gd name="T6" fmla="*/ 6 w 156"/>
                <a:gd name="T7" fmla="*/ 6 h 99"/>
                <a:gd name="T8" fmla="*/ 6 w 156"/>
                <a:gd name="T9" fmla="*/ 94 h 99"/>
                <a:gd name="T10" fmla="*/ 3 w 156"/>
                <a:gd name="T11" fmla="*/ 97 h 99"/>
                <a:gd name="T12" fmla="*/ 0 w 156"/>
                <a:gd name="T13" fmla="*/ 94 h 99"/>
                <a:gd name="T14" fmla="*/ 0 w 156"/>
                <a:gd name="T15" fmla="*/ 3 h 99"/>
                <a:gd name="T16" fmla="*/ 3 w 156"/>
                <a:gd name="T17" fmla="*/ 0 h 99"/>
                <a:gd name="T18" fmla="*/ 153 w 156"/>
                <a:gd name="T19" fmla="*/ 0 h 99"/>
                <a:gd name="T20" fmla="*/ 156 w 156"/>
                <a:gd name="T21" fmla="*/ 3 h 99"/>
                <a:gd name="T22" fmla="*/ 156 w 156"/>
                <a:gd name="T23" fmla="*/ 96 h 99"/>
                <a:gd name="T24" fmla="*/ 153 w 156"/>
                <a:gd name="T2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6" h="99">
                  <a:moveTo>
                    <a:pt x="153" y="99"/>
                  </a:moveTo>
                  <a:cubicBezTo>
                    <a:pt x="151" y="99"/>
                    <a:pt x="150" y="97"/>
                    <a:pt x="150" y="96"/>
                  </a:cubicBezTo>
                  <a:cubicBezTo>
                    <a:pt x="150" y="6"/>
                    <a:pt x="150" y="6"/>
                    <a:pt x="150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94"/>
                    <a:pt x="6" y="94"/>
                    <a:pt x="6" y="94"/>
                  </a:cubicBezTo>
                  <a:cubicBezTo>
                    <a:pt x="6" y="95"/>
                    <a:pt x="4" y="97"/>
                    <a:pt x="3" y="97"/>
                  </a:cubicBezTo>
                  <a:cubicBezTo>
                    <a:pt x="1" y="97"/>
                    <a:pt x="0" y="95"/>
                    <a:pt x="0" y="9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4" y="0"/>
                    <a:pt x="156" y="1"/>
                    <a:pt x="156" y="3"/>
                  </a:cubicBezTo>
                  <a:cubicBezTo>
                    <a:pt x="156" y="96"/>
                    <a:pt x="156" y="96"/>
                    <a:pt x="156" y="96"/>
                  </a:cubicBezTo>
                  <a:cubicBezTo>
                    <a:pt x="156" y="97"/>
                    <a:pt x="154" y="99"/>
                    <a:pt x="153" y="9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5" name="Freeform 313">
              <a:extLst>
                <a:ext uri="{FF2B5EF4-FFF2-40B4-BE49-F238E27FC236}">
                  <a16:creationId xmlns:a16="http://schemas.microsoft.com/office/drawing/2014/main" id="{C0A4C8A0-A6F6-4638-9082-4AC765CEA1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100" y="5094288"/>
              <a:ext cx="169863" cy="327025"/>
            </a:xfrm>
            <a:custGeom>
              <a:avLst/>
              <a:gdLst>
                <a:gd name="T0" fmla="*/ 3 w 74"/>
                <a:gd name="T1" fmla="*/ 142 h 142"/>
                <a:gd name="T2" fmla="*/ 0 w 74"/>
                <a:gd name="T3" fmla="*/ 139 h 142"/>
                <a:gd name="T4" fmla="*/ 0 w 74"/>
                <a:gd name="T5" fmla="*/ 3 h 142"/>
                <a:gd name="T6" fmla="*/ 3 w 74"/>
                <a:gd name="T7" fmla="*/ 0 h 142"/>
                <a:gd name="T8" fmla="*/ 71 w 74"/>
                <a:gd name="T9" fmla="*/ 0 h 142"/>
                <a:gd name="T10" fmla="*/ 74 w 74"/>
                <a:gd name="T11" fmla="*/ 3 h 142"/>
                <a:gd name="T12" fmla="*/ 71 w 74"/>
                <a:gd name="T13" fmla="*/ 6 h 142"/>
                <a:gd name="T14" fmla="*/ 6 w 74"/>
                <a:gd name="T15" fmla="*/ 6 h 142"/>
                <a:gd name="T16" fmla="*/ 6 w 74"/>
                <a:gd name="T17" fmla="*/ 139 h 142"/>
                <a:gd name="T18" fmla="*/ 3 w 74"/>
                <a:gd name="T1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142">
                  <a:moveTo>
                    <a:pt x="3" y="142"/>
                  </a:moveTo>
                  <a:cubicBezTo>
                    <a:pt x="1" y="142"/>
                    <a:pt x="0" y="141"/>
                    <a:pt x="0" y="13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2" y="0"/>
                    <a:pt x="74" y="1"/>
                    <a:pt x="74" y="3"/>
                  </a:cubicBezTo>
                  <a:cubicBezTo>
                    <a:pt x="74" y="5"/>
                    <a:pt x="72" y="6"/>
                    <a:pt x="71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139"/>
                    <a:pt x="6" y="139"/>
                    <a:pt x="6" y="139"/>
                  </a:cubicBezTo>
                  <a:cubicBezTo>
                    <a:pt x="6" y="141"/>
                    <a:pt x="4" y="142"/>
                    <a:pt x="3" y="1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6" name="Freeform 314">
              <a:extLst>
                <a:ext uri="{FF2B5EF4-FFF2-40B4-BE49-F238E27FC236}">
                  <a16:creationId xmlns:a16="http://schemas.microsoft.com/office/drawing/2014/main" id="{C77B44B1-701B-41B9-BABD-A0BEA98B5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1838" y="5343525"/>
              <a:ext cx="41275" cy="96838"/>
            </a:xfrm>
            <a:custGeom>
              <a:avLst/>
              <a:gdLst>
                <a:gd name="T0" fmla="*/ 15 w 18"/>
                <a:gd name="T1" fmla="*/ 42 h 42"/>
                <a:gd name="T2" fmla="*/ 3 w 18"/>
                <a:gd name="T3" fmla="*/ 42 h 42"/>
                <a:gd name="T4" fmla="*/ 0 w 18"/>
                <a:gd name="T5" fmla="*/ 39 h 42"/>
                <a:gd name="T6" fmla="*/ 3 w 18"/>
                <a:gd name="T7" fmla="*/ 36 h 42"/>
                <a:gd name="T8" fmla="*/ 12 w 18"/>
                <a:gd name="T9" fmla="*/ 36 h 42"/>
                <a:gd name="T10" fmla="*/ 12 w 18"/>
                <a:gd name="T11" fmla="*/ 3 h 42"/>
                <a:gd name="T12" fmla="*/ 15 w 18"/>
                <a:gd name="T13" fmla="*/ 0 h 42"/>
                <a:gd name="T14" fmla="*/ 18 w 18"/>
                <a:gd name="T15" fmla="*/ 3 h 42"/>
                <a:gd name="T16" fmla="*/ 18 w 18"/>
                <a:gd name="T17" fmla="*/ 39 h 42"/>
                <a:gd name="T18" fmla="*/ 15 w 18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42">
                  <a:moveTo>
                    <a:pt x="15" y="42"/>
                  </a:moveTo>
                  <a:cubicBezTo>
                    <a:pt x="3" y="42"/>
                    <a:pt x="3" y="42"/>
                    <a:pt x="3" y="42"/>
                  </a:cubicBezTo>
                  <a:cubicBezTo>
                    <a:pt x="1" y="42"/>
                    <a:pt x="0" y="41"/>
                    <a:pt x="0" y="39"/>
                  </a:cubicBezTo>
                  <a:cubicBezTo>
                    <a:pt x="0" y="37"/>
                    <a:pt x="1" y="36"/>
                    <a:pt x="3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1"/>
                    <a:pt x="13" y="0"/>
                    <a:pt x="15" y="0"/>
                  </a:cubicBezTo>
                  <a:cubicBezTo>
                    <a:pt x="16" y="0"/>
                    <a:pt x="18" y="1"/>
                    <a:pt x="18" y="3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41"/>
                    <a:pt x="16" y="42"/>
                    <a:pt x="15" y="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7" name="Freeform 315">
              <a:extLst>
                <a:ext uri="{FF2B5EF4-FFF2-40B4-BE49-F238E27FC236}">
                  <a16:creationId xmlns:a16="http://schemas.microsoft.com/office/drawing/2014/main" id="{3C4B7BB0-259A-42AF-8CBD-278101762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5800" y="5426075"/>
              <a:ext cx="23813" cy="14288"/>
            </a:xfrm>
            <a:custGeom>
              <a:avLst/>
              <a:gdLst>
                <a:gd name="T0" fmla="*/ 7 w 10"/>
                <a:gd name="T1" fmla="*/ 6 h 6"/>
                <a:gd name="T2" fmla="*/ 3 w 10"/>
                <a:gd name="T3" fmla="*/ 6 h 6"/>
                <a:gd name="T4" fmla="*/ 0 w 10"/>
                <a:gd name="T5" fmla="*/ 3 h 6"/>
                <a:gd name="T6" fmla="*/ 3 w 10"/>
                <a:gd name="T7" fmla="*/ 0 h 6"/>
                <a:gd name="T8" fmla="*/ 7 w 10"/>
                <a:gd name="T9" fmla="*/ 0 h 6"/>
                <a:gd name="T10" fmla="*/ 10 w 10"/>
                <a:gd name="T11" fmla="*/ 3 h 6"/>
                <a:gd name="T12" fmla="*/ 7 w 1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6">
                  <a:moveTo>
                    <a:pt x="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10" y="1"/>
                    <a:pt x="10" y="3"/>
                  </a:cubicBezTo>
                  <a:cubicBezTo>
                    <a:pt x="10" y="5"/>
                    <a:pt x="8" y="6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8" name="Freeform 316">
              <a:extLst>
                <a:ext uri="{FF2B5EF4-FFF2-40B4-BE49-F238E27FC236}">
                  <a16:creationId xmlns:a16="http://schemas.microsoft.com/office/drawing/2014/main" id="{4EAE1E90-89B1-4155-98CB-9C055CECD7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7188" y="5094288"/>
              <a:ext cx="22225" cy="14288"/>
            </a:xfrm>
            <a:custGeom>
              <a:avLst/>
              <a:gdLst>
                <a:gd name="T0" fmla="*/ 7 w 10"/>
                <a:gd name="T1" fmla="*/ 6 h 6"/>
                <a:gd name="T2" fmla="*/ 3 w 10"/>
                <a:gd name="T3" fmla="*/ 6 h 6"/>
                <a:gd name="T4" fmla="*/ 0 w 10"/>
                <a:gd name="T5" fmla="*/ 3 h 6"/>
                <a:gd name="T6" fmla="*/ 3 w 10"/>
                <a:gd name="T7" fmla="*/ 0 h 6"/>
                <a:gd name="T8" fmla="*/ 7 w 10"/>
                <a:gd name="T9" fmla="*/ 0 h 6"/>
                <a:gd name="T10" fmla="*/ 10 w 10"/>
                <a:gd name="T11" fmla="*/ 3 h 6"/>
                <a:gd name="T12" fmla="*/ 7 w 1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6">
                  <a:moveTo>
                    <a:pt x="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10" y="1"/>
                    <a:pt x="10" y="3"/>
                  </a:cubicBezTo>
                  <a:cubicBezTo>
                    <a:pt x="10" y="5"/>
                    <a:pt x="8" y="6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cxnSp>
        <p:nvCxnSpPr>
          <p:cNvPr id="105" name="Прямая соединительная линия 104"/>
          <p:cNvCxnSpPr/>
          <p:nvPr/>
        </p:nvCxnSpPr>
        <p:spPr>
          <a:xfrm>
            <a:off x="7904182" y="3448563"/>
            <a:ext cx="3803021" cy="0"/>
          </a:xfrm>
          <a:prstGeom prst="line">
            <a:avLst/>
          </a:prstGeom>
          <a:ln w="6350">
            <a:solidFill>
              <a:srgbClr val="FE575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Box 107"/>
          <p:cNvSpPr txBox="1"/>
          <p:nvPr/>
        </p:nvSpPr>
        <p:spPr>
          <a:xfrm>
            <a:off x="8574422" y="1754413"/>
            <a:ext cx="3263300" cy="12157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Единая CIM-модель</a:t>
            </a:r>
          </a:p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Единые нотации</a:t>
            </a:r>
          </a:p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Единые модели</a:t>
            </a:r>
          </a:p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Единые справочники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8574422" y="3801414"/>
            <a:ext cx="3263300" cy="11387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Единый профиль компетенций</a:t>
            </a:r>
          </a:p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Единые требования к подготовке </a:t>
            </a:r>
            <a:r>
              <a:rPr lang="ru-RU" sz="1600" dirty="0" smtClean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(ВУЗы</a:t>
            </a: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ru-RU" sz="1600" dirty="0" err="1" smtClean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СУЗы</a:t>
            </a: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)</a:t>
            </a:r>
          </a:p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Общая площадка обмена знаниями</a:t>
            </a:r>
          </a:p>
        </p:txBody>
      </p:sp>
      <p:sp>
        <p:nvSpPr>
          <p:cNvPr id="111" name="Овал 110"/>
          <p:cNvSpPr/>
          <p:nvPr/>
        </p:nvSpPr>
        <p:spPr>
          <a:xfrm>
            <a:off x="8350306" y="1830335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олилиния 16"/>
          <p:cNvSpPr/>
          <p:nvPr/>
        </p:nvSpPr>
        <p:spPr>
          <a:xfrm>
            <a:off x="6096978" y="1417862"/>
            <a:ext cx="5781675" cy="161925"/>
          </a:xfrm>
          <a:custGeom>
            <a:avLst/>
            <a:gdLst>
              <a:gd name="connsiteX0" fmla="*/ 0 w 5781675"/>
              <a:gd name="connsiteY0" fmla="*/ 161925 h 161925"/>
              <a:gd name="connsiteX1" fmla="*/ 0 w 5781675"/>
              <a:gd name="connsiteY1" fmla="*/ 0 h 161925"/>
              <a:gd name="connsiteX2" fmla="*/ 5781675 w 5781675"/>
              <a:gd name="connsiteY2" fmla="*/ 0 h 16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81675" h="161925">
                <a:moveTo>
                  <a:pt x="0" y="161925"/>
                </a:moveTo>
                <a:lnTo>
                  <a:pt x="0" y="0"/>
                </a:lnTo>
                <a:lnTo>
                  <a:pt x="5781675" y="0"/>
                </a:lnTo>
              </a:path>
            </a:pathLst>
          </a:custGeom>
          <a:noFill/>
          <a:ln w="6350">
            <a:solidFill>
              <a:srgbClr val="FE5757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9" name="TextBox 98"/>
          <p:cNvSpPr txBox="1"/>
          <p:nvPr/>
        </p:nvSpPr>
        <p:spPr>
          <a:xfrm>
            <a:off x="524110" y="282355"/>
            <a:ext cx="1120697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600" dirty="0">
                <a:latin typeface="+mn-lt"/>
              </a:rPr>
              <a:t>НАПРАВЛЕНИЯ КООПЕРАЦИИ</a:t>
            </a:r>
          </a:p>
        </p:txBody>
      </p:sp>
      <p:sp>
        <p:nvSpPr>
          <p:cNvPr id="106" name="Овал 105"/>
          <p:cNvSpPr/>
          <p:nvPr/>
        </p:nvSpPr>
        <p:spPr>
          <a:xfrm>
            <a:off x="8350306" y="2127920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9" name="Овал 108"/>
          <p:cNvSpPr/>
          <p:nvPr/>
        </p:nvSpPr>
        <p:spPr>
          <a:xfrm>
            <a:off x="8350306" y="2445560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2" name="Овал 111"/>
          <p:cNvSpPr/>
          <p:nvPr/>
        </p:nvSpPr>
        <p:spPr>
          <a:xfrm>
            <a:off x="8350306" y="2772466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3" name="Овал 112"/>
          <p:cNvSpPr/>
          <p:nvPr/>
        </p:nvSpPr>
        <p:spPr>
          <a:xfrm>
            <a:off x="8350306" y="3835700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rgbClr val="FE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4" name="Овал 113"/>
          <p:cNvSpPr/>
          <p:nvPr/>
        </p:nvSpPr>
        <p:spPr>
          <a:xfrm>
            <a:off x="8350306" y="4171785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rgbClr val="FE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5" name="Овал 114"/>
          <p:cNvSpPr/>
          <p:nvPr/>
        </p:nvSpPr>
        <p:spPr>
          <a:xfrm>
            <a:off x="8350306" y="4751201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rgbClr val="FE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7048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524110" y="282355"/>
            <a:ext cx="1120697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600" dirty="0">
                <a:latin typeface="+mn-lt"/>
              </a:rPr>
              <a:t>GARTHER’s </a:t>
            </a:r>
            <a:r>
              <a:rPr lang="ru-RU" sz="3600" dirty="0">
                <a:latin typeface="+mn-lt"/>
              </a:rPr>
              <a:t>«</a:t>
            </a:r>
            <a:r>
              <a:rPr lang="en-US" sz="3600" dirty="0">
                <a:latin typeface="+mn-lt"/>
              </a:rPr>
              <a:t>HYPE CYCLE</a:t>
            </a:r>
            <a:r>
              <a:rPr lang="ru-RU" sz="3600" dirty="0">
                <a:latin typeface="+mn-lt"/>
              </a:rPr>
              <a:t>»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9891134" y="6242945"/>
            <a:ext cx="101475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00" dirty="0">
                <a:latin typeface="+mn-lt"/>
              </a:rPr>
              <a:t>Время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68714" y="1153307"/>
            <a:ext cx="12675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00" dirty="0">
                <a:latin typeface="+mn-lt"/>
              </a:rPr>
              <a:t>Ожидания</a:t>
            </a:r>
          </a:p>
        </p:txBody>
      </p:sp>
      <p:cxnSp>
        <p:nvCxnSpPr>
          <p:cNvPr id="37" name="Прямая со стрелкой 36"/>
          <p:cNvCxnSpPr/>
          <p:nvPr/>
        </p:nvCxnSpPr>
        <p:spPr>
          <a:xfrm flipV="1">
            <a:off x="1821975" y="1153307"/>
            <a:ext cx="0" cy="5229238"/>
          </a:xfrm>
          <a:prstGeom prst="straightConnector1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37"/>
          <p:cNvCxnSpPr/>
          <p:nvPr/>
        </p:nvCxnSpPr>
        <p:spPr>
          <a:xfrm>
            <a:off x="1821975" y="6382545"/>
            <a:ext cx="7950287" cy="0"/>
          </a:xfrm>
          <a:prstGeom prst="straightConnector1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41"/>
          <a:stretch/>
        </p:blipFill>
        <p:spPr>
          <a:xfrm>
            <a:off x="1904896" y="1145777"/>
            <a:ext cx="7784445" cy="5186381"/>
          </a:xfrm>
          <a:prstGeom prst="rect">
            <a:avLst/>
          </a:prstGeom>
        </p:spPr>
      </p:pic>
      <p:sp>
        <p:nvSpPr>
          <p:cNvPr id="41" name="TextBox 40"/>
          <p:cNvSpPr txBox="1"/>
          <p:nvPr/>
        </p:nvSpPr>
        <p:spPr>
          <a:xfrm>
            <a:off x="2308786" y="5855538"/>
            <a:ext cx="28398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Триггер инновации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547835" y="1351913"/>
            <a:ext cx="290798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Пик чрезмерных ожиданий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291727" y="3223439"/>
            <a:ext cx="231573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Плато продуктивности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695282" y="4145822"/>
            <a:ext cx="231573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Склон просветления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663593" y="5347273"/>
            <a:ext cx="263719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ru-RU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Впадина разочарований</a:t>
            </a:r>
          </a:p>
        </p:txBody>
      </p:sp>
    </p:spTree>
    <p:extLst>
      <p:ext uri="{BB962C8B-B14F-4D97-AF65-F5344CB8AC3E}">
        <p14:creationId xmlns:p14="http://schemas.microsoft.com/office/powerpoint/2010/main" val="1607549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3">
            <a:extLst>
              <a:ext uri="{FF2B5EF4-FFF2-40B4-BE49-F238E27FC236}">
                <a16:creationId xmlns:a16="http://schemas.microsoft.com/office/drawing/2014/main" id="{AB4CCE72-D79B-49AD-9FAB-B8EBC4DF35E8}"/>
              </a:ext>
            </a:extLst>
          </p:cNvPr>
          <p:cNvSpPr/>
          <p:nvPr/>
        </p:nvSpPr>
        <p:spPr>
          <a:xfrm>
            <a:off x="6087653" y="1603200"/>
            <a:ext cx="1768763" cy="1768763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1905000 h 1905000"/>
              <a:gd name="connsiteX2" fmla="*/ 0 w 1905000"/>
              <a:gd name="connsiteY2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cubicBezTo>
                  <a:pt x="1052102" y="0"/>
                  <a:pt x="1905000" y="852898"/>
                  <a:pt x="1905000" y="1905000"/>
                </a:cubicBezTo>
                <a:lnTo>
                  <a:pt x="0" y="1905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4000" bIns="381000" rtlCol="0" anchor="b"/>
          <a:lstStyle/>
          <a:p>
            <a:r>
              <a:rPr lang="ru-RU" b="1" dirty="0">
                <a:solidFill>
                  <a:schemeClr val="bg2"/>
                </a:solidFill>
                <a:ea typeface="Roboto Light" charset="0"/>
                <a:cs typeface="Roboto Light" charset="0"/>
              </a:rPr>
              <a:t>ДАННЫЕ</a:t>
            </a:r>
            <a:endParaRPr lang="en-US" b="1" dirty="0">
              <a:solidFill>
                <a:schemeClr val="bg2"/>
              </a:solidFill>
              <a:ea typeface="Roboto Light" charset="0"/>
              <a:cs typeface="Roboto Light" charset="0"/>
            </a:endParaRPr>
          </a:p>
        </p:txBody>
      </p:sp>
      <p:sp>
        <p:nvSpPr>
          <p:cNvPr id="25" name="Freeform 4">
            <a:extLst>
              <a:ext uri="{FF2B5EF4-FFF2-40B4-BE49-F238E27FC236}">
                <a16:creationId xmlns:a16="http://schemas.microsoft.com/office/drawing/2014/main" id="{2BFD0D33-0296-4056-BCAD-B6CC527B68CE}"/>
              </a:ext>
            </a:extLst>
          </p:cNvPr>
          <p:cNvSpPr/>
          <p:nvPr/>
        </p:nvSpPr>
        <p:spPr>
          <a:xfrm>
            <a:off x="4242290" y="3448563"/>
            <a:ext cx="1768763" cy="1768763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cubicBezTo>
                  <a:pt x="852898" y="1905000"/>
                  <a:pt x="0" y="1052102"/>
                  <a:pt x="0" y="0"/>
                </a:cubicBezTo>
                <a:close/>
              </a:path>
            </a:pathLst>
          </a:custGeom>
          <a:solidFill>
            <a:srgbClr val="FF2649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81000" rIns="254000" rtlCol="0" anchor="t"/>
          <a:lstStyle/>
          <a:p>
            <a:pPr algn="r"/>
            <a:r>
              <a:rPr lang="ru-RU" b="1" dirty="0">
                <a:solidFill>
                  <a:schemeClr val="bg1"/>
                </a:solidFill>
                <a:ea typeface="Roboto Light" charset="0"/>
                <a:cs typeface="Roboto Light" charset="0"/>
              </a:rPr>
              <a:t>ПРОЦЕССЫ</a:t>
            </a:r>
            <a:endParaRPr lang="en-US" b="1" dirty="0">
              <a:solidFill>
                <a:schemeClr val="bg1"/>
              </a:solidFill>
              <a:ea typeface="Roboto Light" charset="0"/>
              <a:cs typeface="Roboto Light" charset="0"/>
            </a:endParaRPr>
          </a:p>
        </p:txBody>
      </p:sp>
      <p:sp>
        <p:nvSpPr>
          <p:cNvPr id="26" name="Freeform 5">
            <a:extLst>
              <a:ext uri="{FF2B5EF4-FFF2-40B4-BE49-F238E27FC236}">
                <a16:creationId xmlns:a16="http://schemas.microsoft.com/office/drawing/2014/main" id="{471E4F6C-4A00-45D5-91C5-4D951E1E69A0}"/>
              </a:ext>
            </a:extLst>
          </p:cNvPr>
          <p:cNvSpPr/>
          <p:nvPr/>
        </p:nvSpPr>
        <p:spPr>
          <a:xfrm>
            <a:off x="6087653" y="3448563"/>
            <a:ext cx="1768763" cy="1768763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0 w 1905000"/>
              <a:gd name="connsiteY2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cubicBezTo>
                  <a:pt x="1905000" y="1052102"/>
                  <a:pt x="1052102" y="1905000"/>
                  <a:pt x="0" y="190500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4000" tIns="381000" bIns="381000" rtlCol="0" anchor="t"/>
          <a:lstStyle/>
          <a:p>
            <a:r>
              <a:rPr lang="ru-RU" b="1" dirty="0">
                <a:solidFill>
                  <a:schemeClr val="bg2"/>
                </a:solidFill>
                <a:ea typeface="Roboto Light" charset="0"/>
                <a:cs typeface="Roboto Light" charset="0"/>
              </a:rPr>
              <a:t>КАДРЫ, КУЛЬТУРА</a:t>
            </a:r>
            <a:endParaRPr lang="en-US" b="1" dirty="0">
              <a:solidFill>
                <a:schemeClr val="bg2"/>
              </a:solidFill>
              <a:ea typeface="Roboto Light" charset="0"/>
              <a:cs typeface="Roboto Light" charset="0"/>
            </a:endParaRPr>
          </a:p>
        </p:txBody>
      </p:sp>
      <p:sp>
        <p:nvSpPr>
          <p:cNvPr id="27" name="Freeform 2">
            <a:extLst>
              <a:ext uri="{FF2B5EF4-FFF2-40B4-BE49-F238E27FC236}">
                <a16:creationId xmlns:a16="http://schemas.microsoft.com/office/drawing/2014/main" id="{9F8BEA46-D0C7-4BA6-88E2-80A0B610E7CA}"/>
              </a:ext>
            </a:extLst>
          </p:cNvPr>
          <p:cNvSpPr>
            <a:spLocks/>
          </p:cNvSpPr>
          <p:nvPr/>
        </p:nvSpPr>
        <p:spPr>
          <a:xfrm>
            <a:off x="4242290" y="1603200"/>
            <a:ext cx="1768763" cy="1768763"/>
          </a:xfrm>
          <a:custGeom>
            <a:avLst/>
            <a:gdLst>
              <a:gd name="connsiteX0" fmla="*/ 1905000 w 1905000"/>
              <a:gd name="connsiteY0" fmla="*/ 0 h 1905000"/>
              <a:gd name="connsiteX1" fmla="*/ 1905000 w 1905000"/>
              <a:gd name="connsiteY1" fmla="*/ 1905000 h 1905000"/>
              <a:gd name="connsiteX2" fmla="*/ 0 w 1905000"/>
              <a:gd name="connsiteY2" fmla="*/ 1905000 h 1905000"/>
              <a:gd name="connsiteX3" fmla="*/ 1905000 w 1905000"/>
              <a:gd name="connsiteY3" fmla="*/ 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1905000" y="0"/>
                </a:moveTo>
                <a:lnTo>
                  <a:pt x="1905000" y="1905000"/>
                </a:lnTo>
                <a:lnTo>
                  <a:pt x="0" y="1905000"/>
                </a:lnTo>
                <a:cubicBezTo>
                  <a:pt x="0" y="852898"/>
                  <a:pt x="852898" y="0"/>
                  <a:pt x="1905000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254000" bIns="381000" rtlCol="0" anchor="b"/>
          <a:lstStyle/>
          <a:p>
            <a:pPr algn="r"/>
            <a:r>
              <a:rPr lang="ru-RU" b="1" dirty="0">
                <a:solidFill>
                  <a:schemeClr val="bg2"/>
                </a:solidFill>
                <a:ea typeface="Roboto Light" charset="0"/>
                <a:cs typeface="Roboto Light" charset="0"/>
              </a:rPr>
              <a:t>ТЕХНОЛОГИИ</a:t>
            </a:r>
            <a:endParaRPr lang="en-US" b="1" dirty="0">
              <a:solidFill>
                <a:schemeClr val="bg2"/>
              </a:solidFill>
              <a:ea typeface="Roboto Light" charset="0"/>
              <a:cs typeface="Roboto Light" charset="0"/>
            </a:endParaRPr>
          </a:p>
        </p:txBody>
      </p: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2F25CFDF-790E-46D8-AF04-BA70097308DA}"/>
              </a:ext>
            </a:extLst>
          </p:cNvPr>
          <p:cNvGrpSpPr/>
          <p:nvPr/>
        </p:nvGrpSpPr>
        <p:grpSpPr>
          <a:xfrm>
            <a:off x="5042286" y="4370166"/>
            <a:ext cx="483785" cy="332089"/>
            <a:chOff x="3978276" y="1422401"/>
            <a:chExt cx="749301" cy="514350"/>
          </a:xfrm>
          <a:solidFill>
            <a:schemeClr val="bg1"/>
          </a:solidFill>
        </p:grpSpPr>
        <p:sp>
          <p:nvSpPr>
            <p:cNvPr id="29" name="Freeform 280">
              <a:extLst>
                <a:ext uri="{FF2B5EF4-FFF2-40B4-BE49-F238E27FC236}">
                  <a16:creationId xmlns:a16="http://schemas.microsoft.com/office/drawing/2014/main" id="{7CE0D451-532B-4D95-830A-90B8361DCF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78276" y="1422401"/>
              <a:ext cx="349250" cy="346075"/>
            </a:xfrm>
            <a:custGeom>
              <a:avLst/>
              <a:gdLst>
                <a:gd name="T0" fmla="*/ 92 w 151"/>
                <a:gd name="T1" fmla="*/ 147 h 149"/>
                <a:gd name="T2" fmla="*/ 63 w 151"/>
                <a:gd name="T3" fmla="*/ 131 h 149"/>
                <a:gd name="T4" fmla="*/ 52 w 151"/>
                <a:gd name="T5" fmla="*/ 148 h 149"/>
                <a:gd name="T6" fmla="*/ 34 w 151"/>
                <a:gd name="T7" fmla="*/ 140 h 149"/>
                <a:gd name="T8" fmla="*/ 41 w 151"/>
                <a:gd name="T9" fmla="*/ 122 h 149"/>
                <a:gd name="T10" fmla="*/ 10 w 151"/>
                <a:gd name="T11" fmla="*/ 111 h 149"/>
                <a:gd name="T12" fmla="*/ 0 w 151"/>
                <a:gd name="T13" fmla="*/ 92 h 149"/>
                <a:gd name="T14" fmla="*/ 2 w 151"/>
                <a:gd name="T15" fmla="*/ 89 h 149"/>
                <a:gd name="T16" fmla="*/ 18 w 151"/>
                <a:gd name="T17" fmla="*/ 62 h 149"/>
                <a:gd name="T18" fmla="*/ 1 w 151"/>
                <a:gd name="T19" fmla="*/ 51 h 149"/>
                <a:gd name="T20" fmla="*/ 10 w 151"/>
                <a:gd name="T21" fmla="*/ 34 h 149"/>
                <a:gd name="T22" fmla="*/ 28 w 151"/>
                <a:gd name="T23" fmla="*/ 41 h 149"/>
                <a:gd name="T24" fmla="*/ 36 w 151"/>
                <a:gd name="T25" fmla="*/ 11 h 149"/>
                <a:gd name="T26" fmla="*/ 38 w 151"/>
                <a:gd name="T27" fmla="*/ 7 h 149"/>
                <a:gd name="T28" fmla="*/ 58 w 151"/>
                <a:gd name="T29" fmla="*/ 2 h 149"/>
                <a:gd name="T30" fmla="*/ 88 w 151"/>
                <a:gd name="T31" fmla="*/ 18 h 149"/>
                <a:gd name="T32" fmla="*/ 98 w 151"/>
                <a:gd name="T33" fmla="*/ 1 h 149"/>
                <a:gd name="T34" fmla="*/ 116 w 151"/>
                <a:gd name="T35" fmla="*/ 10 h 149"/>
                <a:gd name="T36" fmla="*/ 109 w 151"/>
                <a:gd name="T37" fmla="*/ 28 h 149"/>
                <a:gd name="T38" fmla="*/ 141 w 151"/>
                <a:gd name="T39" fmla="*/ 39 h 149"/>
                <a:gd name="T40" fmla="*/ 150 w 151"/>
                <a:gd name="T41" fmla="*/ 57 h 149"/>
                <a:gd name="T42" fmla="*/ 148 w 151"/>
                <a:gd name="T43" fmla="*/ 61 h 149"/>
                <a:gd name="T44" fmla="*/ 132 w 151"/>
                <a:gd name="T45" fmla="*/ 87 h 149"/>
                <a:gd name="T46" fmla="*/ 149 w 151"/>
                <a:gd name="T47" fmla="*/ 96 h 149"/>
                <a:gd name="T48" fmla="*/ 142 w 151"/>
                <a:gd name="T49" fmla="*/ 114 h 149"/>
                <a:gd name="T50" fmla="*/ 122 w 151"/>
                <a:gd name="T51" fmla="*/ 109 h 149"/>
                <a:gd name="T52" fmla="*/ 114 w 151"/>
                <a:gd name="T53" fmla="*/ 139 h 149"/>
                <a:gd name="T54" fmla="*/ 112 w 151"/>
                <a:gd name="T55" fmla="*/ 143 h 149"/>
                <a:gd name="T56" fmla="*/ 95 w 151"/>
                <a:gd name="T57" fmla="*/ 149 h 149"/>
                <a:gd name="T58" fmla="*/ 90 w 151"/>
                <a:gd name="T59" fmla="*/ 127 h 149"/>
                <a:gd name="T60" fmla="*/ 107 w 151"/>
                <a:gd name="T61" fmla="*/ 138 h 149"/>
                <a:gd name="T62" fmla="*/ 102 w 151"/>
                <a:gd name="T63" fmla="*/ 119 h 149"/>
                <a:gd name="T64" fmla="*/ 122 w 151"/>
                <a:gd name="T65" fmla="*/ 102 h 149"/>
                <a:gd name="T66" fmla="*/ 142 w 151"/>
                <a:gd name="T67" fmla="*/ 98 h 149"/>
                <a:gd name="T68" fmla="*/ 125 w 151"/>
                <a:gd name="T69" fmla="*/ 88 h 149"/>
                <a:gd name="T70" fmla="*/ 128 w 151"/>
                <a:gd name="T71" fmla="*/ 62 h 149"/>
                <a:gd name="T72" fmla="*/ 140 w 151"/>
                <a:gd name="T73" fmla="*/ 45 h 149"/>
                <a:gd name="T74" fmla="*/ 121 w 151"/>
                <a:gd name="T75" fmla="*/ 50 h 149"/>
                <a:gd name="T76" fmla="*/ 102 w 151"/>
                <a:gd name="T77" fmla="*/ 27 h 149"/>
                <a:gd name="T78" fmla="*/ 99 w 151"/>
                <a:gd name="T79" fmla="*/ 8 h 149"/>
                <a:gd name="T80" fmla="*/ 89 w 151"/>
                <a:gd name="T81" fmla="*/ 24 h 149"/>
                <a:gd name="T82" fmla="*/ 60 w 151"/>
                <a:gd name="T83" fmla="*/ 22 h 149"/>
                <a:gd name="T84" fmla="*/ 43 w 151"/>
                <a:gd name="T85" fmla="*/ 11 h 149"/>
                <a:gd name="T86" fmla="*/ 48 w 151"/>
                <a:gd name="T87" fmla="*/ 30 h 149"/>
                <a:gd name="T88" fmla="*/ 28 w 151"/>
                <a:gd name="T89" fmla="*/ 47 h 149"/>
                <a:gd name="T90" fmla="*/ 8 w 151"/>
                <a:gd name="T91" fmla="*/ 51 h 149"/>
                <a:gd name="T92" fmla="*/ 25 w 151"/>
                <a:gd name="T93" fmla="*/ 61 h 149"/>
                <a:gd name="T94" fmla="*/ 22 w 151"/>
                <a:gd name="T95" fmla="*/ 88 h 149"/>
                <a:gd name="T96" fmla="*/ 10 w 151"/>
                <a:gd name="T97" fmla="*/ 104 h 149"/>
                <a:gd name="T98" fmla="*/ 29 w 151"/>
                <a:gd name="T99" fmla="*/ 100 h 149"/>
                <a:gd name="T100" fmla="*/ 48 w 151"/>
                <a:gd name="T101" fmla="*/ 122 h 149"/>
                <a:gd name="T102" fmla="*/ 51 w 151"/>
                <a:gd name="T103" fmla="*/ 142 h 149"/>
                <a:gd name="T104" fmla="*/ 62 w 151"/>
                <a:gd name="T105" fmla="*/ 125 h 149"/>
                <a:gd name="T106" fmla="*/ 87 w 151"/>
                <a:gd name="T107" fmla="*/ 125 h 149"/>
                <a:gd name="T108" fmla="*/ 68 w 151"/>
                <a:gd name="T109" fmla="*/ 106 h 149"/>
                <a:gd name="T110" fmla="*/ 44 w 151"/>
                <a:gd name="T111" fmla="*/ 67 h 149"/>
                <a:gd name="T112" fmla="*/ 82 w 151"/>
                <a:gd name="T113" fmla="*/ 43 h 149"/>
                <a:gd name="T114" fmla="*/ 106 w 151"/>
                <a:gd name="T115" fmla="*/ 82 h 149"/>
                <a:gd name="T116" fmla="*/ 69 w 151"/>
                <a:gd name="T117" fmla="*/ 100 h 149"/>
                <a:gd name="T118" fmla="*/ 101 w 151"/>
                <a:gd name="T119" fmla="*/ 81 h 149"/>
                <a:gd name="T120" fmla="*/ 81 w 151"/>
                <a:gd name="T121" fmla="*/ 49 h 149"/>
                <a:gd name="T122" fmla="*/ 49 w 151"/>
                <a:gd name="T123" fmla="*/ 6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" h="149">
                  <a:moveTo>
                    <a:pt x="95" y="149"/>
                  </a:moveTo>
                  <a:cubicBezTo>
                    <a:pt x="94" y="149"/>
                    <a:pt x="92" y="149"/>
                    <a:pt x="92" y="147"/>
                  </a:cubicBezTo>
                  <a:cubicBezTo>
                    <a:pt x="86" y="132"/>
                    <a:pt x="86" y="132"/>
                    <a:pt x="86" y="132"/>
                  </a:cubicBezTo>
                  <a:cubicBezTo>
                    <a:pt x="78" y="133"/>
                    <a:pt x="70" y="133"/>
                    <a:pt x="63" y="131"/>
                  </a:cubicBezTo>
                  <a:cubicBezTo>
                    <a:pt x="56" y="147"/>
                    <a:pt x="56" y="147"/>
                    <a:pt x="56" y="147"/>
                  </a:cubicBezTo>
                  <a:cubicBezTo>
                    <a:pt x="55" y="148"/>
                    <a:pt x="53" y="149"/>
                    <a:pt x="52" y="148"/>
                  </a:cubicBezTo>
                  <a:cubicBezTo>
                    <a:pt x="36" y="141"/>
                    <a:pt x="36" y="141"/>
                    <a:pt x="36" y="141"/>
                  </a:cubicBezTo>
                  <a:cubicBezTo>
                    <a:pt x="35" y="141"/>
                    <a:pt x="35" y="140"/>
                    <a:pt x="34" y="140"/>
                  </a:cubicBezTo>
                  <a:cubicBezTo>
                    <a:pt x="34" y="139"/>
                    <a:pt x="34" y="138"/>
                    <a:pt x="34" y="137"/>
                  </a:cubicBezTo>
                  <a:cubicBezTo>
                    <a:pt x="41" y="122"/>
                    <a:pt x="41" y="122"/>
                    <a:pt x="41" y="122"/>
                  </a:cubicBezTo>
                  <a:cubicBezTo>
                    <a:pt x="35" y="117"/>
                    <a:pt x="30" y="112"/>
                    <a:pt x="26" y="105"/>
                  </a:cubicBezTo>
                  <a:cubicBezTo>
                    <a:pt x="10" y="111"/>
                    <a:pt x="10" y="111"/>
                    <a:pt x="10" y="111"/>
                  </a:cubicBezTo>
                  <a:cubicBezTo>
                    <a:pt x="8" y="111"/>
                    <a:pt x="6" y="110"/>
                    <a:pt x="6" y="109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2"/>
                    <a:pt x="0" y="91"/>
                    <a:pt x="0" y="90"/>
                  </a:cubicBezTo>
                  <a:cubicBezTo>
                    <a:pt x="0" y="89"/>
                    <a:pt x="1" y="89"/>
                    <a:pt x="2" y="89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7" y="76"/>
                    <a:pt x="17" y="69"/>
                    <a:pt x="18" y="62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5"/>
                    <a:pt x="1" y="53"/>
                    <a:pt x="1" y="51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9" y="35"/>
                    <a:pt x="9" y="34"/>
                    <a:pt x="10" y="34"/>
                  </a:cubicBezTo>
                  <a:cubicBezTo>
                    <a:pt x="11" y="34"/>
                    <a:pt x="12" y="34"/>
                    <a:pt x="12" y="34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32" y="35"/>
                    <a:pt x="37" y="30"/>
                    <a:pt x="43" y="26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0"/>
                    <a:pt x="36" y="9"/>
                    <a:pt x="36" y="8"/>
                  </a:cubicBezTo>
                  <a:cubicBezTo>
                    <a:pt x="37" y="8"/>
                    <a:pt x="37" y="7"/>
                    <a:pt x="38" y="7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6" y="0"/>
                    <a:pt x="57" y="0"/>
                    <a:pt x="58" y="2"/>
                  </a:cubicBezTo>
                  <a:cubicBezTo>
                    <a:pt x="65" y="18"/>
                    <a:pt x="65" y="18"/>
                    <a:pt x="65" y="18"/>
                  </a:cubicBezTo>
                  <a:cubicBezTo>
                    <a:pt x="72" y="16"/>
                    <a:pt x="80" y="16"/>
                    <a:pt x="88" y="18"/>
                  </a:cubicBezTo>
                  <a:cubicBezTo>
                    <a:pt x="95" y="2"/>
                    <a:pt x="95" y="2"/>
                    <a:pt x="95" y="2"/>
                  </a:cubicBezTo>
                  <a:cubicBezTo>
                    <a:pt x="95" y="1"/>
                    <a:pt x="97" y="0"/>
                    <a:pt x="98" y="1"/>
                  </a:cubicBezTo>
                  <a:cubicBezTo>
                    <a:pt x="114" y="8"/>
                    <a:pt x="114" y="8"/>
                    <a:pt x="114" y="8"/>
                  </a:cubicBezTo>
                  <a:cubicBezTo>
                    <a:pt x="115" y="8"/>
                    <a:pt x="116" y="9"/>
                    <a:pt x="116" y="10"/>
                  </a:cubicBezTo>
                  <a:cubicBezTo>
                    <a:pt x="116" y="10"/>
                    <a:pt x="116" y="11"/>
                    <a:pt x="116" y="12"/>
                  </a:cubicBezTo>
                  <a:cubicBezTo>
                    <a:pt x="109" y="28"/>
                    <a:pt x="109" y="28"/>
                    <a:pt x="109" y="28"/>
                  </a:cubicBezTo>
                  <a:cubicBezTo>
                    <a:pt x="115" y="32"/>
                    <a:pt x="121" y="38"/>
                    <a:pt x="125" y="44"/>
                  </a:cubicBezTo>
                  <a:cubicBezTo>
                    <a:pt x="141" y="39"/>
                    <a:pt x="141" y="39"/>
                    <a:pt x="141" y="39"/>
                  </a:cubicBezTo>
                  <a:cubicBezTo>
                    <a:pt x="142" y="38"/>
                    <a:pt x="144" y="39"/>
                    <a:pt x="144" y="41"/>
                  </a:cubicBezTo>
                  <a:cubicBezTo>
                    <a:pt x="150" y="57"/>
                    <a:pt x="150" y="57"/>
                    <a:pt x="150" y="57"/>
                  </a:cubicBezTo>
                  <a:cubicBezTo>
                    <a:pt x="151" y="58"/>
                    <a:pt x="151" y="58"/>
                    <a:pt x="150" y="59"/>
                  </a:cubicBezTo>
                  <a:cubicBezTo>
                    <a:pt x="150" y="60"/>
                    <a:pt x="149" y="60"/>
                    <a:pt x="148" y="61"/>
                  </a:cubicBezTo>
                  <a:cubicBezTo>
                    <a:pt x="132" y="66"/>
                    <a:pt x="132" y="66"/>
                    <a:pt x="132" y="66"/>
                  </a:cubicBezTo>
                  <a:cubicBezTo>
                    <a:pt x="133" y="73"/>
                    <a:pt x="133" y="80"/>
                    <a:pt x="132" y="87"/>
                  </a:cubicBezTo>
                  <a:cubicBezTo>
                    <a:pt x="147" y="94"/>
                    <a:pt x="147" y="94"/>
                    <a:pt x="147" y="94"/>
                  </a:cubicBezTo>
                  <a:cubicBezTo>
                    <a:pt x="148" y="94"/>
                    <a:pt x="149" y="95"/>
                    <a:pt x="149" y="96"/>
                  </a:cubicBezTo>
                  <a:cubicBezTo>
                    <a:pt x="149" y="97"/>
                    <a:pt x="149" y="97"/>
                    <a:pt x="149" y="98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1" y="115"/>
                    <a:pt x="139" y="116"/>
                    <a:pt x="138" y="115"/>
                  </a:cubicBezTo>
                  <a:cubicBezTo>
                    <a:pt x="122" y="109"/>
                    <a:pt x="122" y="109"/>
                    <a:pt x="122" y="109"/>
                  </a:cubicBezTo>
                  <a:cubicBezTo>
                    <a:pt x="118" y="114"/>
                    <a:pt x="113" y="119"/>
                    <a:pt x="107" y="123"/>
                  </a:cubicBezTo>
                  <a:cubicBezTo>
                    <a:pt x="114" y="139"/>
                    <a:pt x="114" y="139"/>
                    <a:pt x="114" y="139"/>
                  </a:cubicBezTo>
                  <a:cubicBezTo>
                    <a:pt x="114" y="139"/>
                    <a:pt x="114" y="140"/>
                    <a:pt x="114" y="141"/>
                  </a:cubicBezTo>
                  <a:cubicBezTo>
                    <a:pt x="113" y="142"/>
                    <a:pt x="113" y="142"/>
                    <a:pt x="112" y="143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6" y="149"/>
                    <a:pt x="95" y="149"/>
                    <a:pt x="95" y="149"/>
                  </a:cubicBezTo>
                  <a:close/>
                  <a:moveTo>
                    <a:pt x="87" y="125"/>
                  </a:moveTo>
                  <a:cubicBezTo>
                    <a:pt x="89" y="125"/>
                    <a:pt x="90" y="126"/>
                    <a:pt x="90" y="127"/>
                  </a:cubicBezTo>
                  <a:cubicBezTo>
                    <a:pt x="96" y="142"/>
                    <a:pt x="96" y="142"/>
                    <a:pt x="96" y="142"/>
                  </a:cubicBezTo>
                  <a:cubicBezTo>
                    <a:pt x="107" y="138"/>
                    <a:pt x="107" y="138"/>
                    <a:pt x="107" y="138"/>
                  </a:cubicBezTo>
                  <a:cubicBezTo>
                    <a:pt x="101" y="123"/>
                    <a:pt x="101" y="123"/>
                    <a:pt x="101" y="123"/>
                  </a:cubicBezTo>
                  <a:cubicBezTo>
                    <a:pt x="100" y="121"/>
                    <a:pt x="101" y="120"/>
                    <a:pt x="102" y="119"/>
                  </a:cubicBezTo>
                  <a:cubicBezTo>
                    <a:pt x="109" y="115"/>
                    <a:pt x="114" y="110"/>
                    <a:pt x="119" y="103"/>
                  </a:cubicBezTo>
                  <a:cubicBezTo>
                    <a:pt x="119" y="102"/>
                    <a:pt x="121" y="101"/>
                    <a:pt x="122" y="102"/>
                  </a:cubicBezTo>
                  <a:cubicBezTo>
                    <a:pt x="137" y="109"/>
                    <a:pt x="137" y="109"/>
                    <a:pt x="137" y="109"/>
                  </a:cubicBezTo>
                  <a:cubicBezTo>
                    <a:pt x="142" y="98"/>
                    <a:pt x="142" y="98"/>
                    <a:pt x="142" y="98"/>
                  </a:cubicBezTo>
                  <a:cubicBezTo>
                    <a:pt x="127" y="92"/>
                    <a:pt x="127" y="92"/>
                    <a:pt x="127" y="92"/>
                  </a:cubicBezTo>
                  <a:cubicBezTo>
                    <a:pt x="126" y="91"/>
                    <a:pt x="125" y="90"/>
                    <a:pt x="125" y="88"/>
                  </a:cubicBezTo>
                  <a:cubicBezTo>
                    <a:pt x="127" y="81"/>
                    <a:pt x="128" y="73"/>
                    <a:pt x="126" y="65"/>
                  </a:cubicBezTo>
                  <a:cubicBezTo>
                    <a:pt x="126" y="64"/>
                    <a:pt x="127" y="62"/>
                    <a:pt x="128" y="62"/>
                  </a:cubicBezTo>
                  <a:cubicBezTo>
                    <a:pt x="144" y="56"/>
                    <a:pt x="144" y="56"/>
                    <a:pt x="144" y="56"/>
                  </a:cubicBezTo>
                  <a:cubicBezTo>
                    <a:pt x="140" y="45"/>
                    <a:pt x="140" y="45"/>
                    <a:pt x="140" y="45"/>
                  </a:cubicBezTo>
                  <a:cubicBezTo>
                    <a:pt x="124" y="51"/>
                    <a:pt x="124" y="51"/>
                    <a:pt x="124" y="51"/>
                  </a:cubicBezTo>
                  <a:cubicBezTo>
                    <a:pt x="123" y="51"/>
                    <a:pt x="121" y="51"/>
                    <a:pt x="121" y="50"/>
                  </a:cubicBezTo>
                  <a:cubicBezTo>
                    <a:pt x="116" y="42"/>
                    <a:pt x="111" y="36"/>
                    <a:pt x="103" y="31"/>
                  </a:cubicBezTo>
                  <a:cubicBezTo>
                    <a:pt x="102" y="30"/>
                    <a:pt x="102" y="29"/>
                    <a:pt x="102" y="27"/>
                  </a:cubicBezTo>
                  <a:cubicBezTo>
                    <a:pt x="109" y="12"/>
                    <a:pt x="109" y="12"/>
                    <a:pt x="109" y="12"/>
                  </a:cubicBezTo>
                  <a:cubicBezTo>
                    <a:pt x="99" y="8"/>
                    <a:pt x="99" y="8"/>
                    <a:pt x="99" y="8"/>
                  </a:cubicBezTo>
                  <a:cubicBezTo>
                    <a:pt x="92" y="23"/>
                    <a:pt x="92" y="23"/>
                    <a:pt x="92" y="23"/>
                  </a:cubicBezTo>
                  <a:cubicBezTo>
                    <a:pt x="91" y="24"/>
                    <a:pt x="90" y="25"/>
                    <a:pt x="89" y="24"/>
                  </a:cubicBezTo>
                  <a:cubicBezTo>
                    <a:pt x="80" y="22"/>
                    <a:pt x="72" y="22"/>
                    <a:pt x="63" y="24"/>
                  </a:cubicBezTo>
                  <a:cubicBezTo>
                    <a:pt x="62" y="24"/>
                    <a:pt x="60" y="24"/>
                    <a:pt x="60" y="22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0" y="28"/>
                    <a:pt x="49" y="29"/>
                    <a:pt x="48" y="30"/>
                  </a:cubicBezTo>
                  <a:cubicBezTo>
                    <a:pt x="41" y="34"/>
                    <a:pt x="36" y="40"/>
                    <a:pt x="32" y="46"/>
                  </a:cubicBezTo>
                  <a:cubicBezTo>
                    <a:pt x="31" y="47"/>
                    <a:pt x="29" y="48"/>
                    <a:pt x="28" y="47"/>
                  </a:cubicBezTo>
                  <a:cubicBezTo>
                    <a:pt x="13" y="41"/>
                    <a:pt x="13" y="41"/>
                    <a:pt x="13" y="4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4" y="58"/>
                    <a:pt x="25" y="60"/>
                    <a:pt x="25" y="61"/>
                  </a:cubicBezTo>
                  <a:cubicBezTo>
                    <a:pt x="23" y="69"/>
                    <a:pt x="22" y="77"/>
                    <a:pt x="24" y="84"/>
                  </a:cubicBezTo>
                  <a:cubicBezTo>
                    <a:pt x="24" y="86"/>
                    <a:pt x="23" y="87"/>
                    <a:pt x="22" y="88"/>
                  </a:cubicBezTo>
                  <a:cubicBezTo>
                    <a:pt x="6" y="93"/>
                    <a:pt x="6" y="93"/>
                    <a:pt x="6" y="93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26" y="98"/>
                    <a:pt x="26" y="98"/>
                    <a:pt x="26" y="98"/>
                  </a:cubicBezTo>
                  <a:cubicBezTo>
                    <a:pt x="27" y="98"/>
                    <a:pt x="29" y="98"/>
                    <a:pt x="29" y="100"/>
                  </a:cubicBezTo>
                  <a:cubicBezTo>
                    <a:pt x="34" y="107"/>
                    <a:pt x="40" y="114"/>
                    <a:pt x="47" y="118"/>
                  </a:cubicBezTo>
                  <a:cubicBezTo>
                    <a:pt x="48" y="119"/>
                    <a:pt x="48" y="121"/>
                    <a:pt x="48" y="122"/>
                  </a:cubicBezTo>
                  <a:cubicBezTo>
                    <a:pt x="41" y="137"/>
                    <a:pt x="41" y="137"/>
                    <a:pt x="41" y="137"/>
                  </a:cubicBezTo>
                  <a:cubicBezTo>
                    <a:pt x="51" y="142"/>
                    <a:pt x="51" y="142"/>
                    <a:pt x="51" y="142"/>
                  </a:cubicBezTo>
                  <a:cubicBezTo>
                    <a:pt x="58" y="127"/>
                    <a:pt x="58" y="127"/>
                    <a:pt x="58" y="127"/>
                  </a:cubicBezTo>
                  <a:cubicBezTo>
                    <a:pt x="59" y="125"/>
                    <a:pt x="60" y="125"/>
                    <a:pt x="62" y="125"/>
                  </a:cubicBezTo>
                  <a:cubicBezTo>
                    <a:pt x="70" y="127"/>
                    <a:pt x="79" y="127"/>
                    <a:pt x="87" y="125"/>
                  </a:cubicBezTo>
                  <a:cubicBezTo>
                    <a:pt x="87" y="125"/>
                    <a:pt x="87" y="125"/>
                    <a:pt x="87" y="125"/>
                  </a:cubicBezTo>
                  <a:close/>
                  <a:moveTo>
                    <a:pt x="75" y="107"/>
                  </a:moveTo>
                  <a:cubicBezTo>
                    <a:pt x="73" y="107"/>
                    <a:pt x="70" y="107"/>
                    <a:pt x="68" y="106"/>
                  </a:cubicBezTo>
                  <a:cubicBezTo>
                    <a:pt x="68" y="106"/>
                    <a:pt x="68" y="106"/>
                    <a:pt x="68" y="106"/>
                  </a:cubicBezTo>
                  <a:cubicBezTo>
                    <a:pt x="50" y="102"/>
                    <a:pt x="40" y="85"/>
                    <a:pt x="44" y="67"/>
                  </a:cubicBezTo>
                  <a:cubicBezTo>
                    <a:pt x="46" y="59"/>
                    <a:pt x="51" y="52"/>
                    <a:pt x="58" y="47"/>
                  </a:cubicBezTo>
                  <a:cubicBezTo>
                    <a:pt x="65" y="43"/>
                    <a:pt x="74" y="41"/>
                    <a:pt x="82" y="43"/>
                  </a:cubicBezTo>
                  <a:cubicBezTo>
                    <a:pt x="91" y="45"/>
                    <a:pt x="98" y="50"/>
                    <a:pt x="102" y="58"/>
                  </a:cubicBezTo>
                  <a:cubicBezTo>
                    <a:pt x="107" y="65"/>
                    <a:pt x="108" y="74"/>
                    <a:pt x="106" y="82"/>
                  </a:cubicBezTo>
                  <a:cubicBezTo>
                    <a:pt x="103" y="97"/>
                    <a:pt x="90" y="107"/>
                    <a:pt x="75" y="107"/>
                  </a:cubicBezTo>
                  <a:close/>
                  <a:moveTo>
                    <a:pt x="69" y="100"/>
                  </a:moveTo>
                  <a:cubicBezTo>
                    <a:pt x="76" y="102"/>
                    <a:pt x="83" y="101"/>
                    <a:pt x="89" y="97"/>
                  </a:cubicBezTo>
                  <a:cubicBezTo>
                    <a:pt x="95" y="93"/>
                    <a:pt x="99" y="87"/>
                    <a:pt x="101" y="81"/>
                  </a:cubicBezTo>
                  <a:cubicBezTo>
                    <a:pt x="102" y="74"/>
                    <a:pt x="101" y="67"/>
                    <a:pt x="97" y="61"/>
                  </a:cubicBezTo>
                  <a:cubicBezTo>
                    <a:pt x="94" y="55"/>
                    <a:pt x="88" y="51"/>
                    <a:pt x="81" y="49"/>
                  </a:cubicBezTo>
                  <a:cubicBezTo>
                    <a:pt x="74" y="47"/>
                    <a:pt x="67" y="49"/>
                    <a:pt x="61" y="52"/>
                  </a:cubicBezTo>
                  <a:cubicBezTo>
                    <a:pt x="55" y="56"/>
                    <a:pt x="51" y="62"/>
                    <a:pt x="49" y="69"/>
                  </a:cubicBezTo>
                  <a:cubicBezTo>
                    <a:pt x="46" y="83"/>
                    <a:pt x="55" y="97"/>
                    <a:pt x="69" y="1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" name="Freeform 281">
              <a:extLst>
                <a:ext uri="{FF2B5EF4-FFF2-40B4-BE49-F238E27FC236}">
                  <a16:creationId xmlns:a16="http://schemas.microsoft.com/office/drawing/2014/main" id="{C66E8A0F-AEFF-4A92-923B-A2B36A709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1339" y="1876426"/>
              <a:ext cx="376238" cy="14288"/>
            </a:xfrm>
            <a:custGeom>
              <a:avLst/>
              <a:gdLst>
                <a:gd name="T0" fmla="*/ 159 w 162"/>
                <a:gd name="T1" fmla="*/ 6 h 6"/>
                <a:gd name="T2" fmla="*/ 3 w 162"/>
                <a:gd name="T3" fmla="*/ 6 h 6"/>
                <a:gd name="T4" fmla="*/ 0 w 162"/>
                <a:gd name="T5" fmla="*/ 3 h 6"/>
                <a:gd name="T6" fmla="*/ 3 w 162"/>
                <a:gd name="T7" fmla="*/ 0 h 6"/>
                <a:gd name="T8" fmla="*/ 159 w 162"/>
                <a:gd name="T9" fmla="*/ 0 h 6"/>
                <a:gd name="T10" fmla="*/ 162 w 162"/>
                <a:gd name="T11" fmla="*/ 3 h 6"/>
                <a:gd name="T12" fmla="*/ 159 w 162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6">
                  <a:moveTo>
                    <a:pt x="159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61" y="0"/>
                    <a:pt x="162" y="1"/>
                    <a:pt x="162" y="3"/>
                  </a:cubicBezTo>
                  <a:cubicBezTo>
                    <a:pt x="162" y="4"/>
                    <a:pt x="161" y="6"/>
                    <a:pt x="15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" name="Freeform 282">
              <a:extLst>
                <a:ext uri="{FF2B5EF4-FFF2-40B4-BE49-F238E27FC236}">
                  <a16:creationId xmlns:a16="http://schemas.microsoft.com/office/drawing/2014/main" id="{8358E2EF-25B4-4C45-B430-395DCB6E98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8439" y="1876426"/>
              <a:ext cx="263525" cy="14288"/>
            </a:xfrm>
            <a:custGeom>
              <a:avLst/>
              <a:gdLst>
                <a:gd name="T0" fmla="*/ 111 w 114"/>
                <a:gd name="T1" fmla="*/ 6 h 6"/>
                <a:gd name="T2" fmla="*/ 3 w 114"/>
                <a:gd name="T3" fmla="*/ 6 h 6"/>
                <a:gd name="T4" fmla="*/ 0 w 114"/>
                <a:gd name="T5" fmla="*/ 3 h 6"/>
                <a:gd name="T6" fmla="*/ 3 w 114"/>
                <a:gd name="T7" fmla="*/ 0 h 6"/>
                <a:gd name="T8" fmla="*/ 111 w 114"/>
                <a:gd name="T9" fmla="*/ 0 h 6"/>
                <a:gd name="T10" fmla="*/ 114 w 114"/>
                <a:gd name="T11" fmla="*/ 3 h 6"/>
                <a:gd name="T12" fmla="*/ 111 w 114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" h="6">
                  <a:moveTo>
                    <a:pt x="111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3" y="0"/>
                    <a:pt x="114" y="1"/>
                    <a:pt x="114" y="3"/>
                  </a:cubicBezTo>
                  <a:cubicBezTo>
                    <a:pt x="114" y="4"/>
                    <a:pt x="113" y="6"/>
                    <a:pt x="1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283">
              <a:extLst>
                <a:ext uri="{FF2B5EF4-FFF2-40B4-BE49-F238E27FC236}">
                  <a16:creationId xmlns:a16="http://schemas.microsoft.com/office/drawing/2014/main" id="{2CF0142D-DBFB-4384-A18F-A371EEF1BA2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251" y="1485901"/>
              <a:ext cx="60325" cy="14288"/>
            </a:xfrm>
            <a:custGeom>
              <a:avLst/>
              <a:gdLst>
                <a:gd name="T0" fmla="*/ 23 w 26"/>
                <a:gd name="T1" fmla="*/ 6 h 6"/>
                <a:gd name="T2" fmla="*/ 3 w 26"/>
                <a:gd name="T3" fmla="*/ 6 h 6"/>
                <a:gd name="T4" fmla="*/ 0 w 26"/>
                <a:gd name="T5" fmla="*/ 3 h 6"/>
                <a:gd name="T6" fmla="*/ 3 w 26"/>
                <a:gd name="T7" fmla="*/ 0 h 6"/>
                <a:gd name="T8" fmla="*/ 23 w 26"/>
                <a:gd name="T9" fmla="*/ 0 h 6"/>
                <a:gd name="T10" fmla="*/ 26 w 26"/>
                <a:gd name="T11" fmla="*/ 3 h 6"/>
                <a:gd name="T12" fmla="*/ 23 w 26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6">
                  <a:moveTo>
                    <a:pt x="23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5" y="0"/>
                    <a:pt x="26" y="1"/>
                    <a:pt x="26" y="3"/>
                  </a:cubicBezTo>
                  <a:cubicBezTo>
                    <a:pt x="26" y="4"/>
                    <a:pt x="25" y="6"/>
                    <a:pt x="2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" name="Freeform 284">
              <a:extLst>
                <a:ext uri="{FF2B5EF4-FFF2-40B4-BE49-F238E27FC236}">
                  <a16:creationId xmlns:a16="http://schemas.microsoft.com/office/drawing/2014/main" id="{5FC8E8FB-1501-47A8-8746-70FB8DACF2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0389" y="1485901"/>
              <a:ext cx="217488" cy="14288"/>
            </a:xfrm>
            <a:custGeom>
              <a:avLst/>
              <a:gdLst>
                <a:gd name="T0" fmla="*/ 91 w 94"/>
                <a:gd name="T1" fmla="*/ 6 h 6"/>
                <a:gd name="T2" fmla="*/ 3 w 94"/>
                <a:gd name="T3" fmla="*/ 6 h 6"/>
                <a:gd name="T4" fmla="*/ 0 w 94"/>
                <a:gd name="T5" fmla="*/ 3 h 6"/>
                <a:gd name="T6" fmla="*/ 3 w 94"/>
                <a:gd name="T7" fmla="*/ 0 h 6"/>
                <a:gd name="T8" fmla="*/ 91 w 94"/>
                <a:gd name="T9" fmla="*/ 0 h 6"/>
                <a:gd name="T10" fmla="*/ 94 w 94"/>
                <a:gd name="T11" fmla="*/ 3 h 6"/>
                <a:gd name="T12" fmla="*/ 91 w 94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6">
                  <a:moveTo>
                    <a:pt x="91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3" y="0"/>
                    <a:pt x="94" y="1"/>
                    <a:pt x="94" y="3"/>
                  </a:cubicBezTo>
                  <a:cubicBezTo>
                    <a:pt x="94" y="4"/>
                    <a:pt x="93" y="6"/>
                    <a:pt x="9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" name="Freeform 285">
              <a:extLst>
                <a:ext uri="{FF2B5EF4-FFF2-40B4-BE49-F238E27FC236}">
                  <a16:creationId xmlns:a16="http://schemas.microsoft.com/office/drawing/2014/main" id="{488B68A6-71E1-4DB8-8B19-0570F070BD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8026" y="1681163"/>
              <a:ext cx="209550" cy="14288"/>
            </a:xfrm>
            <a:custGeom>
              <a:avLst/>
              <a:gdLst>
                <a:gd name="T0" fmla="*/ 87 w 90"/>
                <a:gd name="T1" fmla="*/ 6 h 6"/>
                <a:gd name="T2" fmla="*/ 3 w 90"/>
                <a:gd name="T3" fmla="*/ 6 h 6"/>
                <a:gd name="T4" fmla="*/ 0 w 90"/>
                <a:gd name="T5" fmla="*/ 3 h 6"/>
                <a:gd name="T6" fmla="*/ 3 w 90"/>
                <a:gd name="T7" fmla="*/ 0 h 6"/>
                <a:gd name="T8" fmla="*/ 87 w 90"/>
                <a:gd name="T9" fmla="*/ 0 h 6"/>
                <a:gd name="T10" fmla="*/ 90 w 90"/>
                <a:gd name="T11" fmla="*/ 3 h 6"/>
                <a:gd name="T12" fmla="*/ 87 w 9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6">
                  <a:moveTo>
                    <a:pt x="8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9" y="0"/>
                    <a:pt x="90" y="1"/>
                    <a:pt x="90" y="3"/>
                  </a:cubicBezTo>
                  <a:cubicBezTo>
                    <a:pt x="90" y="4"/>
                    <a:pt x="89" y="6"/>
                    <a:pt x="8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" name="Freeform 286">
              <a:extLst>
                <a:ext uri="{FF2B5EF4-FFF2-40B4-BE49-F238E27FC236}">
                  <a16:creationId xmlns:a16="http://schemas.microsoft.com/office/drawing/2014/main" id="{073D92E2-B831-42F8-B836-AFDB17A11DF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0389" y="1681163"/>
              <a:ext cx="69850" cy="14288"/>
            </a:xfrm>
            <a:custGeom>
              <a:avLst/>
              <a:gdLst>
                <a:gd name="T0" fmla="*/ 27 w 30"/>
                <a:gd name="T1" fmla="*/ 6 h 6"/>
                <a:gd name="T2" fmla="*/ 3 w 30"/>
                <a:gd name="T3" fmla="*/ 6 h 6"/>
                <a:gd name="T4" fmla="*/ 0 w 30"/>
                <a:gd name="T5" fmla="*/ 3 h 6"/>
                <a:gd name="T6" fmla="*/ 3 w 30"/>
                <a:gd name="T7" fmla="*/ 0 h 6"/>
                <a:gd name="T8" fmla="*/ 27 w 30"/>
                <a:gd name="T9" fmla="*/ 0 h 6"/>
                <a:gd name="T10" fmla="*/ 30 w 30"/>
                <a:gd name="T11" fmla="*/ 3 h 6"/>
                <a:gd name="T12" fmla="*/ 27 w 3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6">
                  <a:moveTo>
                    <a:pt x="2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9" y="0"/>
                    <a:pt x="30" y="1"/>
                    <a:pt x="30" y="3"/>
                  </a:cubicBezTo>
                  <a:cubicBezTo>
                    <a:pt x="30" y="4"/>
                    <a:pt x="29" y="6"/>
                    <a:pt x="2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" name="Freeform 287">
              <a:extLst>
                <a:ext uri="{FF2B5EF4-FFF2-40B4-BE49-F238E27FC236}">
                  <a16:creationId xmlns:a16="http://schemas.microsoft.com/office/drawing/2014/main" id="{C02F5FF0-FF5B-4265-A78F-CD5D277C1A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73589" y="1439863"/>
              <a:ext cx="107950" cy="106363"/>
            </a:xfrm>
            <a:custGeom>
              <a:avLst/>
              <a:gdLst>
                <a:gd name="T0" fmla="*/ 37 w 46"/>
                <a:gd name="T1" fmla="*/ 46 h 46"/>
                <a:gd name="T2" fmla="*/ 9 w 46"/>
                <a:gd name="T3" fmla="*/ 46 h 46"/>
                <a:gd name="T4" fmla="*/ 0 w 46"/>
                <a:gd name="T5" fmla="*/ 37 h 46"/>
                <a:gd name="T6" fmla="*/ 0 w 46"/>
                <a:gd name="T7" fmla="*/ 8 h 46"/>
                <a:gd name="T8" fmla="*/ 9 w 46"/>
                <a:gd name="T9" fmla="*/ 0 h 46"/>
                <a:gd name="T10" fmla="*/ 37 w 46"/>
                <a:gd name="T11" fmla="*/ 0 h 46"/>
                <a:gd name="T12" fmla="*/ 46 w 46"/>
                <a:gd name="T13" fmla="*/ 8 h 46"/>
                <a:gd name="T14" fmla="*/ 46 w 46"/>
                <a:gd name="T15" fmla="*/ 37 h 46"/>
                <a:gd name="T16" fmla="*/ 37 w 46"/>
                <a:gd name="T17" fmla="*/ 46 h 46"/>
                <a:gd name="T18" fmla="*/ 9 w 46"/>
                <a:gd name="T19" fmla="*/ 6 h 46"/>
                <a:gd name="T20" fmla="*/ 6 w 46"/>
                <a:gd name="T21" fmla="*/ 8 h 46"/>
                <a:gd name="T22" fmla="*/ 6 w 46"/>
                <a:gd name="T23" fmla="*/ 37 h 46"/>
                <a:gd name="T24" fmla="*/ 9 w 46"/>
                <a:gd name="T25" fmla="*/ 40 h 46"/>
                <a:gd name="T26" fmla="*/ 37 w 46"/>
                <a:gd name="T27" fmla="*/ 40 h 46"/>
                <a:gd name="T28" fmla="*/ 40 w 46"/>
                <a:gd name="T29" fmla="*/ 37 h 46"/>
                <a:gd name="T30" fmla="*/ 40 w 46"/>
                <a:gd name="T31" fmla="*/ 8 h 46"/>
                <a:gd name="T32" fmla="*/ 37 w 46"/>
                <a:gd name="T33" fmla="*/ 6 h 46"/>
                <a:gd name="T34" fmla="*/ 9 w 46"/>
                <a:gd name="T35" fmla="*/ 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46">
                  <a:moveTo>
                    <a:pt x="37" y="46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4" y="46"/>
                    <a:pt x="0" y="42"/>
                    <a:pt x="0" y="3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2" y="0"/>
                    <a:pt x="46" y="4"/>
                    <a:pt x="46" y="8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42"/>
                    <a:pt x="42" y="46"/>
                    <a:pt x="37" y="46"/>
                  </a:cubicBezTo>
                  <a:close/>
                  <a:moveTo>
                    <a:pt x="9" y="6"/>
                  </a:moveTo>
                  <a:cubicBezTo>
                    <a:pt x="7" y="6"/>
                    <a:pt x="6" y="7"/>
                    <a:pt x="6" y="8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39"/>
                    <a:pt x="7" y="40"/>
                    <a:pt x="9" y="40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9" y="40"/>
                    <a:pt x="40" y="39"/>
                    <a:pt x="40" y="37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7"/>
                    <a:pt x="39" y="6"/>
                    <a:pt x="37" y="6"/>
                  </a:cubicBezTo>
                  <a:lnTo>
                    <a:pt x="9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" name="Freeform 288">
              <a:extLst>
                <a:ext uri="{FF2B5EF4-FFF2-40B4-BE49-F238E27FC236}">
                  <a16:creationId xmlns:a16="http://schemas.microsoft.com/office/drawing/2014/main" id="{2C74562A-E875-426A-8528-49C4D32A4A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5951" y="1635126"/>
              <a:ext cx="106363" cy="106363"/>
            </a:xfrm>
            <a:custGeom>
              <a:avLst/>
              <a:gdLst>
                <a:gd name="T0" fmla="*/ 37 w 46"/>
                <a:gd name="T1" fmla="*/ 46 h 46"/>
                <a:gd name="T2" fmla="*/ 9 w 46"/>
                <a:gd name="T3" fmla="*/ 46 h 46"/>
                <a:gd name="T4" fmla="*/ 0 w 46"/>
                <a:gd name="T5" fmla="*/ 37 h 46"/>
                <a:gd name="T6" fmla="*/ 0 w 46"/>
                <a:gd name="T7" fmla="*/ 8 h 46"/>
                <a:gd name="T8" fmla="*/ 9 w 46"/>
                <a:gd name="T9" fmla="*/ 0 h 46"/>
                <a:gd name="T10" fmla="*/ 37 w 46"/>
                <a:gd name="T11" fmla="*/ 0 h 46"/>
                <a:gd name="T12" fmla="*/ 46 w 46"/>
                <a:gd name="T13" fmla="*/ 8 h 46"/>
                <a:gd name="T14" fmla="*/ 46 w 46"/>
                <a:gd name="T15" fmla="*/ 37 h 46"/>
                <a:gd name="T16" fmla="*/ 37 w 46"/>
                <a:gd name="T17" fmla="*/ 46 h 46"/>
                <a:gd name="T18" fmla="*/ 9 w 46"/>
                <a:gd name="T19" fmla="*/ 6 h 46"/>
                <a:gd name="T20" fmla="*/ 6 w 46"/>
                <a:gd name="T21" fmla="*/ 8 h 46"/>
                <a:gd name="T22" fmla="*/ 6 w 46"/>
                <a:gd name="T23" fmla="*/ 37 h 46"/>
                <a:gd name="T24" fmla="*/ 9 w 46"/>
                <a:gd name="T25" fmla="*/ 40 h 46"/>
                <a:gd name="T26" fmla="*/ 37 w 46"/>
                <a:gd name="T27" fmla="*/ 40 h 46"/>
                <a:gd name="T28" fmla="*/ 40 w 46"/>
                <a:gd name="T29" fmla="*/ 37 h 46"/>
                <a:gd name="T30" fmla="*/ 40 w 46"/>
                <a:gd name="T31" fmla="*/ 8 h 46"/>
                <a:gd name="T32" fmla="*/ 37 w 46"/>
                <a:gd name="T33" fmla="*/ 6 h 46"/>
                <a:gd name="T34" fmla="*/ 9 w 46"/>
                <a:gd name="T35" fmla="*/ 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46">
                  <a:moveTo>
                    <a:pt x="37" y="46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4" y="46"/>
                    <a:pt x="0" y="42"/>
                    <a:pt x="0" y="3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2" y="0"/>
                    <a:pt x="46" y="4"/>
                    <a:pt x="46" y="8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42"/>
                    <a:pt x="42" y="46"/>
                    <a:pt x="37" y="46"/>
                  </a:cubicBezTo>
                  <a:close/>
                  <a:moveTo>
                    <a:pt x="9" y="6"/>
                  </a:moveTo>
                  <a:cubicBezTo>
                    <a:pt x="7" y="6"/>
                    <a:pt x="6" y="7"/>
                    <a:pt x="6" y="8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39"/>
                    <a:pt x="7" y="40"/>
                    <a:pt x="9" y="40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9" y="40"/>
                    <a:pt x="40" y="39"/>
                    <a:pt x="40" y="37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7"/>
                    <a:pt x="39" y="6"/>
                    <a:pt x="37" y="6"/>
                  </a:cubicBezTo>
                  <a:lnTo>
                    <a:pt x="9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" name="Freeform 289">
              <a:extLst>
                <a:ext uri="{FF2B5EF4-FFF2-40B4-BE49-F238E27FC236}">
                  <a16:creationId xmlns:a16="http://schemas.microsoft.com/office/drawing/2014/main" id="{1851EE84-A286-402B-B17B-87D55A49D8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59264" y="1830388"/>
              <a:ext cx="106363" cy="106363"/>
            </a:xfrm>
            <a:custGeom>
              <a:avLst/>
              <a:gdLst>
                <a:gd name="T0" fmla="*/ 37 w 46"/>
                <a:gd name="T1" fmla="*/ 46 h 46"/>
                <a:gd name="T2" fmla="*/ 9 w 46"/>
                <a:gd name="T3" fmla="*/ 46 h 46"/>
                <a:gd name="T4" fmla="*/ 0 w 46"/>
                <a:gd name="T5" fmla="*/ 37 h 46"/>
                <a:gd name="T6" fmla="*/ 0 w 46"/>
                <a:gd name="T7" fmla="*/ 8 h 46"/>
                <a:gd name="T8" fmla="*/ 9 w 46"/>
                <a:gd name="T9" fmla="*/ 0 h 46"/>
                <a:gd name="T10" fmla="*/ 37 w 46"/>
                <a:gd name="T11" fmla="*/ 0 h 46"/>
                <a:gd name="T12" fmla="*/ 46 w 46"/>
                <a:gd name="T13" fmla="*/ 8 h 46"/>
                <a:gd name="T14" fmla="*/ 46 w 46"/>
                <a:gd name="T15" fmla="*/ 37 h 46"/>
                <a:gd name="T16" fmla="*/ 37 w 46"/>
                <a:gd name="T17" fmla="*/ 46 h 46"/>
                <a:gd name="T18" fmla="*/ 9 w 46"/>
                <a:gd name="T19" fmla="*/ 6 h 46"/>
                <a:gd name="T20" fmla="*/ 6 w 46"/>
                <a:gd name="T21" fmla="*/ 8 h 46"/>
                <a:gd name="T22" fmla="*/ 6 w 46"/>
                <a:gd name="T23" fmla="*/ 37 h 46"/>
                <a:gd name="T24" fmla="*/ 9 w 46"/>
                <a:gd name="T25" fmla="*/ 40 h 46"/>
                <a:gd name="T26" fmla="*/ 37 w 46"/>
                <a:gd name="T27" fmla="*/ 40 h 46"/>
                <a:gd name="T28" fmla="*/ 40 w 46"/>
                <a:gd name="T29" fmla="*/ 37 h 46"/>
                <a:gd name="T30" fmla="*/ 40 w 46"/>
                <a:gd name="T31" fmla="*/ 8 h 46"/>
                <a:gd name="T32" fmla="*/ 37 w 46"/>
                <a:gd name="T33" fmla="*/ 6 h 46"/>
                <a:gd name="T34" fmla="*/ 9 w 46"/>
                <a:gd name="T35" fmla="*/ 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46">
                  <a:moveTo>
                    <a:pt x="37" y="46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4" y="46"/>
                    <a:pt x="0" y="42"/>
                    <a:pt x="0" y="3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2" y="0"/>
                    <a:pt x="46" y="4"/>
                    <a:pt x="46" y="8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42"/>
                    <a:pt x="42" y="46"/>
                    <a:pt x="37" y="46"/>
                  </a:cubicBezTo>
                  <a:close/>
                  <a:moveTo>
                    <a:pt x="9" y="6"/>
                  </a:moveTo>
                  <a:cubicBezTo>
                    <a:pt x="7" y="6"/>
                    <a:pt x="6" y="7"/>
                    <a:pt x="6" y="8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39"/>
                    <a:pt x="7" y="40"/>
                    <a:pt x="9" y="40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9" y="40"/>
                    <a:pt x="40" y="39"/>
                    <a:pt x="40" y="37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7"/>
                    <a:pt x="39" y="6"/>
                    <a:pt x="37" y="6"/>
                  </a:cubicBezTo>
                  <a:lnTo>
                    <a:pt x="9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6389759" y="4353643"/>
            <a:ext cx="651410" cy="365135"/>
            <a:chOff x="3870326" y="2459038"/>
            <a:chExt cx="957263" cy="536575"/>
          </a:xfrm>
          <a:solidFill>
            <a:schemeClr val="bg2"/>
          </a:solidFill>
        </p:grpSpPr>
        <p:sp>
          <p:nvSpPr>
            <p:cNvPr id="51" name="Freeform 282"/>
            <p:cNvSpPr>
              <a:spLocks/>
            </p:cNvSpPr>
            <p:nvPr/>
          </p:nvSpPr>
          <p:spPr bwMode="auto">
            <a:xfrm>
              <a:off x="4602164" y="2660651"/>
              <a:ext cx="14288" cy="52388"/>
            </a:xfrm>
            <a:custGeom>
              <a:avLst/>
              <a:gdLst>
                <a:gd name="T0" fmla="*/ 3 w 6"/>
                <a:gd name="T1" fmla="*/ 22 h 22"/>
                <a:gd name="T2" fmla="*/ 0 w 6"/>
                <a:gd name="T3" fmla="*/ 19 h 22"/>
                <a:gd name="T4" fmla="*/ 0 w 6"/>
                <a:gd name="T5" fmla="*/ 3 h 22"/>
                <a:gd name="T6" fmla="*/ 3 w 6"/>
                <a:gd name="T7" fmla="*/ 0 h 22"/>
                <a:gd name="T8" fmla="*/ 6 w 6"/>
                <a:gd name="T9" fmla="*/ 3 h 22"/>
                <a:gd name="T10" fmla="*/ 6 w 6"/>
                <a:gd name="T11" fmla="*/ 19 h 22"/>
                <a:gd name="T12" fmla="*/ 3 w 6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2">
                  <a:moveTo>
                    <a:pt x="3" y="22"/>
                  </a:moveTo>
                  <a:cubicBezTo>
                    <a:pt x="2" y="22"/>
                    <a:pt x="0" y="21"/>
                    <a:pt x="0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1"/>
                    <a:pt x="5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" name="Freeform 283"/>
            <p:cNvSpPr>
              <a:spLocks/>
            </p:cNvSpPr>
            <p:nvPr/>
          </p:nvSpPr>
          <p:spPr bwMode="auto">
            <a:xfrm>
              <a:off x="4565651" y="2587626"/>
              <a:ext cx="90488" cy="125413"/>
            </a:xfrm>
            <a:custGeom>
              <a:avLst/>
              <a:gdLst>
                <a:gd name="T0" fmla="*/ 3 w 39"/>
                <a:gd name="T1" fmla="*/ 54 h 54"/>
                <a:gd name="T2" fmla="*/ 0 w 39"/>
                <a:gd name="T3" fmla="*/ 51 h 54"/>
                <a:gd name="T4" fmla="*/ 0 w 39"/>
                <a:gd name="T5" fmla="*/ 20 h 54"/>
                <a:gd name="T6" fmla="*/ 18 w 39"/>
                <a:gd name="T7" fmla="*/ 4 h 54"/>
                <a:gd name="T8" fmla="*/ 31 w 39"/>
                <a:gd name="T9" fmla="*/ 4 h 54"/>
                <a:gd name="T10" fmla="*/ 33 w 39"/>
                <a:gd name="T11" fmla="*/ 3 h 54"/>
                <a:gd name="T12" fmla="*/ 36 w 39"/>
                <a:gd name="T13" fmla="*/ 0 h 54"/>
                <a:gd name="T14" fmla="*/ 39 w 39"/>
                <a:gd name="T15" fmla="*/ 3 h 54"/>
                <a:gd name="T16" fmla="*/ 31 w 39"/>
                <a:gd name="T17" fmla="*/ 10 h 54"/>
                <a:gd name="T18" fmla="*/ 18 w 39"/>
                <a:gd name="T19" fmla="*/ 10 h 54"/>
                <a:gd name="T20" fmla="*/ 6 w 39"/>
                <a:gd name="T21" fmla="*/ 20 h 54"/>
                <a:gd name="T22" fmla="*/ 6 w 39"/>
                <a:gd name="T23" fmla="*/ 51 h 54"/>
                <a:gd name="T24" fmla="*/ 3 w 39"/>
                <a:gd name="T2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54">
                  <a:moveTo>
                    <a:pt x="3" y="54"/>
                  </a:moveTo>
                  <a:cubicBezTo>
                    <a:pt x="2" y="54"/>
                    <a:pt x="0" y="53"/>
                    <a:pt x="0" y="51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7"/>
                    <a:pt x="12" y="4"/>
                    <a:pt x="1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3" y="4"/>
                    <a:pt x="33" y="3"/>
                  </a:cubicBezTo>
                  <a:cubicBezTo>
                    <a:pt x="33" y="1"/>
                    <a:pt x="34" y="0"/>
                    <a:pt x="36" y="0"/>
                  </a:cubicBezTo>
                  <a:cubicBezTo>
                    <a:pt x="37" y="0"/>
                    <a:pt x="39" y="1"/>
                    <a:pt x="39" y="3"/>
                  </a:cubicBezTo>
                  <a:cubicBezTo>
                    <a:pt x="39" y="7"/>
                    <a:pt x="35" y="10"/>
                    <a:pt x="31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0"/>
                    <a:pt x="6" y="10"/>
                    <a:pt x="6" y="20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6" y="53"/>
                    <a:pt x="5" y="54"/>
                    <a:pt x="3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" name="Freeform 284"/>
            <p:cNvSpPr>
              <a:spLocks/>
            </p:cNvSpPr>
            <p:nvPr/>
          </p:nvSpPr>
          <p:spPr bwMode="auto">
            <a:xfrm>
              <a:off x="4722814" y="2663826"/>
              <a:ext cx="14288" cy="46038"/>
            </a:xfrm>
            <a:custGeom>
              <a:avLst/>
              <a:gdLst>
                <a:gd name="T0" fmla="*/ 3 w 6"/>
                <a:gd name="T1" fmla="*/ 20 h 20"/>
                <a:gd name="T2" fmla="*/ 0 w 6"/>
                <a:gd name="T3" fmla="*/ 17 h 20"/>
                <a:gd name="T4" fmla="*/ 0 w 6"/>
                <a:gd name="T5" fmla="*/ 3 h 20"/>
                <a:gd name="T6" fmla="*/ 3 w 6"/>
                <a:gd name="T7" fmla="*/ 0 h 20"/>
                <a:gd name="T8" fmla="*/ 6 w 6"/>
                <a:gd name="T9" fmla="*/ 3 h 20"/>
                <a:gd name="T10" fmla="*/ 6 w 6"/>
                <a:gd name="T11" fmla="*/ 17 h 20"/>
                <a:gd name="T12" fmla="*/ 3 w 6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0">
                  <a:moveTo>
                    <a:pt x="3" y="20"/>
                  </a:moveTo>
                  <a:cubicBezTo>
                    <a:pt x="2" y="20"/>
                    <a:pt x="0" y="19"/>
                    <a:pt x="0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9"/>
                    <a:pt x="5" y="20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" name="Freeform 285"/>
            <p:cNvSpPr>
              <a:spLocks/>
            </p:cNvSpPr>
            <p:nvPr/>
          </p:nvSpPr>
          <p:spPr bwMode="auto">
            <a:xfrm>
              <a:off x="4687889" y="2587626"/>
              <a:ext cx="88900" cy="122238"/>
            </a:xfrm>
            <a:custGeom>
              <a:avLst/>
              <a:gdLst>
                <a:gd name="T0" fmla="*/ 35 w 38"/>
                <a:gd name="T1" fmla="*/ 53 h 53"/>
                <a:gd name="T2" fmla="*/ 32 w 38"/>
                <a:gd name="T3" fmla="*/ 50 h 53"/>
                <a:gd name="T4" fmla="*/ 32 w 38"/>
                <a:gd name="T5" fmla="*/ 20 h 53"/>
                <a:gd name="T6" fmla="*/ 20 w 38"/>
                <a:gd name="T7" fmla="*/ 10 h 53"/>
                <a:gd name="T8" fmla="*/ 7 w 38"/>
                <a:gd name="T9" fmla="*/ 10 h 53"/>
                <a:gd name="T10" fmla="*/ 2 w 38"/>
                <a:gd name="T11" fmla="*/ 8 h 53"/>
                <a:gd name="T12" fmla="*/ 0 w 38"/>
                <a:gd name="T13" fmla="*/ 3 h 53"/>
                <a:gd name="T14" fmla="*/ 3 w 38"/>
                <a:gd name="T15" fmla="*/ 0 h 53"/>
                <a:gd name="T16" fmla="*/ 3 w 38"/>
                <a:gd name="T17" fmla="*/ 0 h 53"/>
                <a:gd name="T18" fmla="*/ 6 w 38"/>
                <a:gd name="T19" fmla="*/ 3 h 53"/>
                <a:gd name="T20" fmla="*/ 7 w 38"/>
                <a:gd name="T21" fmla="*/ 4 h 53"/>
                <a:gd name="T22" fmla="*/ 7 w 38"/>
                <a:gd name="T23" fmla="*/ 4 h 53"/>
                <a:gd name="T24" fmla="*/ 20 w 38"/>
                <a:gd name="T25" fmla="*/ 4 h 53"/>
                <a:gd name="T26" fmla="*/ 38 w 38"/>
                <a:gd name="T27" fmla="*/ 20 h 53"/>
                <a:gd name="T28" fmla="*/ 38 w 38"/>
                <a:gd name="T29" fmla="*/ 50 h 53"/>
                <a:gd name="T30" fmla="*/ 35 w 38"/>
                <a:gd name="T3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8" h="53">
                  <a:moveTo>
                    <a:pt x="35" y="53"/>
                  </a:moveTo>
                  <a:cubicBezTo>
                    <a:pt x="33" y="53"/>
                    <a:pt x="32" y="52"/>
                    <a:pt x="32" y="50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10"/>
                    <a:pt x="21" y="10"/>
                    <a:pt x="20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4" y="10"/>
                    <a:pt x="2" y="8"/>
                  </a:cubicBezTo>
                  <a:cubicBezTo>
                    <a:pt x="1" y="7"/>
                    <a:pt x="0" y="6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4"/>
                    <a:pt x="6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6" y="4"/>
                    <a:pt x="38" y="7"/>
                    <a:pt x="38" y="2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2"/>
                    <a:pt x="36" y="53"/>
                    <a:pt x="35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" name="Freeform 286"/>
            <p:cNvSpPr>
              <a:spLocks noEditPoints="1"/>
            </p:cNvSpPr>
            <p:nvPr/>
          </p:nvSpPr>
          <p:spPr bwMode="auto">
            <a:xfrm>
              <a:off x="4613276" y="2459038"/>
              <a:ext cx="114300" cy="125413"/>
            </a:xfrm>
            <a:custGeom>
              <a:avLst/>
              <a:gdLst>
                <a:gd name="T0" fmla="*/ 24 w 49"/>
                <a:gd name="T1" fmla="*/ 54 h 54"/>
                <a:gd name="T2" fmla="*/ 0 w 49"/>
                <a:gd name="T3" fmla="*/ 27 h 54"/>
                <a:gd name="T4" fmla="*/ 24 w 49"/>
                <a:gd name="T5" fmla="*/ 0 h 54"/>
                <a:gd name="T6" fmla="*/ 49 w 49"/>
                <a:gd name="T7" fmla="*/ 27 h 54"/>
                <a:gd name="T8" fmla="*/ 24 w 49"/>
                <a:gd name="T9" fmla="*/ 54 h 54"/>
                <a:gd name="T10" fmla="*/ 24 w 49"/>
                <a:gd name="T11" fmla="*/ 6 h 54"/>
                <a:gd name="T12" fmla="*/ 6 w 49"/>
                <a:gd name="T13" fmla="*/ 27 h 54"/>
                <a:gd name="T14" fmla="*/ 24 w 49"/>
                <a:gd name="T15" fmla="*/ 48 h 54"/>
                <a:gd name="T16" fmla="*/ 43 w 49"/>
                <a:gd name="T17" fmla="*/ 27 h 54"/>
                <a:gd name="T18" fmla="*/ 24 w 49"/>
                <a:gd name="T19" fmla="*/ 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54">
                  <a:moveTo>
                    <a:pt x="24" y="54"/>
                  </a:moveTo>
                  <a:cubicBezTo>
                    <a:pt x="11" y="54"/>
                    <a:pt x="0" y="42"/>
                    <a:pt x="0" y="27"/>
                  </a:cubicBezTo>
                  <a:cubicBezTo>
                    <a:pt x="0" y="12"/>
                    <a:pt x="11" y="0"/>
                    <a:pt x="24" y="0"/>
                  </a:cubicBezTo>
                  <a:cubicBezTo>
                    <a:pt x="38" y="0"/>
                    <a:pt x="49" y="12"/>
                    <a:pt x="49" y="27"/>
                  </a:cubicBezTo>
                  <a:cubicBezTo>
                    <a:pt x="49" y="42"/>
                    <a:pt x="38" y="54"/>
                    <a:pt x="24" y="54"/>
                  </a:cubicBezTo>
                  <a:close/>
                  <a:moveTo>
                    <a:pt x="24" y="6"/>
                  </a:moveTo>
                  <a:cubicBezTo>
                    <a:pt x="14" y="6"/>
                    <a:pt x="6" y="15"/>
                    <a:pt x="6" y="27"/>
                  </a:cubicBezTo>
                  <a:cubicBezTo>
                    <a:pt x="6" y="38"/>
                    <a:pt x="14" y="48"/>
                    <a:pt x="24" y="48"/>
                  </a:cubicBezTo>
                  <a:cubicBezTo>
                    <a:pt x="35" y="48"/>
                    <a:pt x="43" y="38"/>
                    <a:pt x="43" y="27"/>
                  </a:cubicBezTo>
                  <a:cubicBezTo>
                    <a:pt x="43" y="15"/>
                    <a:pt x="35" y="6"/>
                    <a:pt x="2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" name="Freeform 287"/>
            <p:cNvSpPr>
              <a:spLocks/>
            </p:cNvSpPr>
            <p:nvPr/>
          </p:nvSpPr>
          <p:spPr bwMode="auto">
            <a:xfrm>
              <a:off x="3960814" y="2660651"/>
              <a:ext cx="14288" cy="52388"/>
            </a:xfrm>
            <a:custGeom>
              <a:avLst/>
              <a:gdLst>
                <a:gd name="T0" fmla="*/ 3 w 6"/>
                <a:gd name="T1" fmla="*/ 22 h 22"/>
                <a:gd name="T2" fmla="*/ 0 w 6"/>
                <a:gd name="T3" fmla="*/ 19 h 22"/>
                <a:gd name="T4" fmla="*/ 0 w 6"/>
                <a:gd name="T5" fmla="*/ 3 h 22"/>
                <a:gd name="T6" fmla="*/ 3 w 6"/>
                <a:gd name="T7" fmla="*/ 0 h 22"/>
                <a:gd name="T8" fmla="*/ 6 w 6"/>
                <a:gd name="T9" fmla="*/ 3 h 22"/>
                <a:gd name="T10" fmla="*/ 6 w 6"/>
                <a:gd name="T11" fmla="*/ 19 h 22"/>
                <a:gd name="T12" fmla="*/ 3 w 6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2">
                  <a:moveTo>
                    <a:pt x="3" y="22"/>
                  </a:moveTo>
                  <a:cubicBezTo>
                    <a:pt x="1" y="22"/>
                    <a:pt x="0" y="21"/>
                    <a:pt x="0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1"/>
                    <a:pt x="5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" name="Freeform 288"/>
            <p:cNvSpPr>
              <a:spLocks/>
            </p:cNvSpPr>
            <p:nvPr/>
          </p:nvSpPr>
          <p:spPr bwMode="auto">
            <a:xfrm>
              <a:off x="3924301" y="2587626"/>
              <a:ext cx="88900" cy="125413"/>
            </a:xfrm>
            <a:custGeom>
              <a:avLst/>
              <a:gdLst>
                <a:gd name="T0" fmla="*/ 3 w 38"/>
                <a:gd name="T1" fmla="*/ 54 h 54"/>
                <a:gd name="T2" fmla="*/ 0 w 38"/>
                <a:gd name="T3" fmla="*/ 51 h 54"/>
                <a:gd name="T4" fmla="*/ 0 w 38"/>
                <a:gd name="T5" fmla="*/ 20 h 54"/>
                <a:gd name="T6" fmla="*/ 18 w 38"/>
                <a:gd name="T7" fmla="*/ 4 h 54"/>
                <a:gd name="T8" fmla="*/ 30 w 38"/>
                <a:gd name="T9" fmla="*/ 4 h 54"/>
                <a:gd name="T10" fmla="*/ 32 w 38"/>
                <a:gd name="T11" fmla="*/ 3 h 54"/>
                <a:gd name="T12" fmla="*/ 35 w 38"/>
                <a:gd name="T13" fmla="*/ 0 h 54"/>
                <a:gd name="T14" fmla="*/ 38 w 38"/>
                <a:gd name="T15" fmla="*/ 3 h 54"/>
                <a:gd name="T16" fmla="*/ 31 w 38"/>
                <a:gd name="T17" fmla="*/ 10 h 54"/>
                <a:gd name="T18" fmla="*/ 18 w 38"/>
                <a:gd name="T19" fmla="*/ 10 h 54"/>
                <a:gd name="T20" fmla="*/ 6 w 38"/>
                <a:gd name="T21" fmla="*/ 20 h 54"/>
                <a:gd name="T22" fmla="*/ 6 w 38"/>
                <a:gd name="T23" fmla="*/ 51 h 54"/>
                <a:gd name="T24" fmla="*/ 3 w 38"/>
                <a:gd name="T2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54">
                  <a:moveTo>
                    <a:pt x="3" y="54"/>
                  </a:moveTo>
                  <a:cubicBezTo>
                    <a:pt x="1" y="54"/>
                    <a:pt x="0" y="53"/>
                    <a:pt x="0" y="51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7"/>
                    <a:pt x="12" y="4"/>
                    <a:pt x="18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1" y="4"/>
                    <a:pt x="32" y="4"/>
                    <a:pt x="32" y="3"/>
                  </a:cubicBezTo>
                  <a:cubicBezTo>
                    <a:pt x="32" y="1"/>
                    <a:pt x="34" y="0"/>
                    <a:pt x="35" y="0"/>
                  </a:cubicBezTo>
                  <a:cubicBezTo>
                    <a:pt x="37" y="0"/>
                    <a:pt x="38" y="1"/>
                    <a:pt x="38" y="3"/>
                  </a:cubicBezTo>
                  <a:cubicBezTo>
                    <a:pt x="38" y="7"/>
                    <a:pt x="34" y="10"/>
                    <a:pt x="31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0"/>
                    <a:pt x="6" y="10"/>
                    <a:pt x="6" y="20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6" y="53"/>
                    <a:pt x="4" y="54"/>
                    <a:pt x="3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" name="Freeform 289"/>
            <p:cNvSpPr>
              <a:spLocks/>
            </p:cNvSpPr>
            <p:nvPr/>
          </p:nvSpPr>
          <p:spPr bwMode="auto">
            <a:xfrm>
              <a:off x="4081464" y="2663826"/>
              <a:ext cx="14288" cy="46038"/>
            </a:xfrm>
            <a:custGeom>
              <a:avLst/>
              <a:gdLst>
                <a:gd name="T0" fmla="*/ 3 w 6"/>
                <a:gd name="T1" fmla="*/ 20 h 20"/>
                <a:gd name="T2" fmla="*/ 0 w 6"/>
                <a:gd name="T3" fmla="*/ 17 h 20"/>
                <a:gd name="T4" fmla="*/ 0 w 6"/>
                <a:gd name="T5" fmla="*/ 3 h 20"/>
                <a:gd name="T6" fmla="*/ 3 w 6"/>
                <a:gd name="T7" fmla="*/ 0 h 20"/>
                <a:gd name="T8" fmla="*/ 6 w 6"/>
                <a:gd name="T9" fmla="*/ 3 h 20"/>
                <a:gd name="T10" fmla="*/ 6 w 6"/>
                <a:gd name="T11" fmla="*/ 17 h 20"/>
                <a:gd name="T12" fmla="*/ 3 w 6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0">
                  <a:moveTo>
                    <a:pt x="3" y="20"/>
                  </a:moveTo>
                  <a:cubicBezTo>
                    <a:pt x="1" y="20"/>
                    <a:pt x="0" y="19"/>
                    <a:pt x="0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9"/>
                    <a:pt x="5" y="20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" name="Freeform 290"/>
            <p:cNvSpPr>
              <a:spLocks/>
            </p:cNvSpPr>
            <p:nvPr/>
          </p:nvSpPr>
          <p:spPr bwMode="auto">
            <a:xfrm>
              <a:off x="4048126" y="2587626"/>
              <a:ext cx="85725" cy="122238"/>
            </a:xfrm>
            <a:custGeom>
              <a:avLst/>
              <a:gdLst>
                <a:gd name="T0" fmla="*/ 34 w 37"/>
                <a:gd name="T1" fmla="*/ 53 h 53"/>
                <a:gd name="T2" fmla="*/ 31 w 37"/>
                <a:gd name="T3" fmla="*/ 50 h 53"/>
                <a:gd name="T4" fmla="*/ 31 w 37"/>
                <a:gd name="T5" fmla="*/ 20 h 53"/>
                <a:gd name="T6" fmla="*/ 19 w 37"/>
                <a:gd name="T7" fmla="*/ 10 h 53"/>
                <a:gd name="T8" fmla="*/ 7 w 37"/>
                <a:gd name="T9" fmla="*/ 10 h 53"/>
                <a:gd name="T10" fmla="*/ 2 w 37"/>
                <a:gd name="T11" fmla="*/ 8 h 53"/>
                <a:gd name="T12" fmla="*/ 0 w 37"/>
                <a:gd name="T13" fmla="*/ 3 h 53"/>
                <a:gd name="T14" fmla="*/ 3 w 37"/>
                <a:gd name="T15" fmla="*/ 0 h 53"/>
                <a:gd name="T16" fmla="*/ 3 w 37"/>
                <a:gd name="T17" fmla="*/ 0 h 53"/>
                <a:gd name="T18" fmla="*/ 6 w 37"/>
                <a:gd name="T19" fmla="*/ 3 h 53"/>
                <a:gd name="T20" fmla="*/ 6 w 37"/>
                <a:gd name="T21" fmla="*/ 4 h 53"/>
                <a:gd name="T22" fmla="*/ 7 w 37"/>
                <a:gd name="T23" fmla="*/ 4 h 53"/>
                <a:gd name="T24" fmla="*/ 19 w 37"/>
                <a:gd name="T25" fmla="*/ 4 h 53"/>
                <a:gd name="T26" fmla="*/ 37 w 37"/>
                <a:gd name="T27" fmla="*/ 20 h 53"/>
                <a:gd name="T28" fmla="*/ 37 w 37"/>
                <a:gd name="T29" fmla="*/ 50 h 53"/>
                <a:gd name="T30" fmla="*/ 34 w 37"/>
                <a:gd name="T3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" h="53">
                  <a:moveTo>
                    <a:pt x="34" y="53"/>
                  </a:moveTo>
                  <a:cubicBezTo>
                    <a:pt x="33" y="53"/>
                    <a:pt x="31" y="52"/>
                    <a:pt x="31" y="50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1" y="10"/>
                    <a:pt x="20" y="10"/>
                    <a:pt x="19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6" y="10"/>
                    <a:pt x="4" y="10"/>
                    <a:pt x="2" y="8"/>
                  </a:cubicBezTo>
                  <a:cubicBezTo>
                    <a:pt x="1" y="7"/>
                    <a:pt x="0" y="6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7" y="4"/>
                    <a:pt x="7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25" y="4"/>
                    <a:pt x="37" y="7"/>
                    <a:pt x="37" y="2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2"/>
                    <a:pt x="36" y="53"/>
                    <a:pt x="34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" name="Freeform 291"/>
            <p:cNvSpPr>
              <a:spLocks noEditPoints="1"/>
            </p:cNvSpPr>
            <p:nvPr/>
          </p:nvSpPr>
          <p:spPr bwMode="auto">
            <a:xfrm>
              <a:off x="3973514" y="2459038"/>
              <a:ext cx="111125" cy="125413"/>
            </a:xfrm>
            <a:custGeom>
              <a:avLst/>
              <a:gdLst>
                <a:gd name="T0" fmla="*/ 24 w 48"/>
                <a:gd name="T1" fmla="*/ 54 h 54"/>
                <a:gd name="T2" fmla="*/ 0 w 48"/>
                <a:gd name="T3" fmla="*/ 27 h 54"/>
                <a:gd name="T4" fmla="*/ 24 w 48"/>
                <a:gd name="T5" fmla="*/ 0 h 54"/>
                <a:gd name="T6" fmla="*/ 48 w 48"/>
                <a:gd name="T7" fmla="*/ 27 h 54"/>
                <a:gd name="T8" fmla="*/ 24 w 48"/>
                <a:gd name="T9" fmla="*/ 54 h 54"/>
                <a:gd name="T10" fmla="*/ 24 w 48"/>
                <a:gd name="T11" fmla="*/ 6 h 54"/>
                <a:gd name="T12" fmla="*/ 6 w 48"/>
                <a:gd name="T13" fmla="*/ 27 h 54"/>
                <a:gd name="T14" fmla="*/ 24 w 48"/>
                <a:gd name="T15" fmla="*/ 48 h 54"/>
                <a:gd name="T16" fmla="*/ 42 w 48"/>
                <a:gd name="T17" fmla="*/ 27 h 54"/>
                <a:gd name="T18" fmla="*/ 24 w 48"/>
                <a:gd name="T19" fmla="*/ 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54">
                  <a:moveTo>
                    <a:pt x="24" y="54"/>
                  </a:moveTo>
                  <a:cubicBezTo>
                    <a:pt x="11" y="54"/>
                    <a:pt x="0" y="42"/>
                    <a:pt x="0" y="27"/>
                  </a:cubicBezTo>
                  <a:cubicBezTo>
                    <a:pt x="0" y="12"/>
                    <a:pt x="11" y="0"/>
                    <a:pt x="24" y="0"/>
                  </a:cubicBezTo>
                  <a:cubicBezTo>
                    <a:pt x="37" y="0"/>
                    <a:pt x="48" y="12"/>
                    <a:pt x="48" y="27"/>
                  </a:cubicBezTo>
                  <a:cubicBezTo>
                    <a:pt x="48" y="42"/>
                    <a:pt x="37" y="54"/>
                    <a:pt x="24" y="54"/>
                  </a:cubicBezTo>
                  <a:close/>
                  <a:moveTo>
                    <a:pt x="24" y="6"/>
                  </a:moveTo>
                  <a:cubicBezTo>
                    <a:pt x="14" y="6"/>
                    <a:pt x="6" y="15"/>
                    <a:pt x="6" y="27"/>
                  </a:cubicBezTo>
                  <a:cubicBezTo>
                    <a:pt x="6" y="38"/>
                    <a:pt x="14" y="48"/>
                    <a:pt x="24" y="48"/>
                  </a:cubicBezTo>
                  <a:cubicBezTo>
                    <a:pt x="34" y="48"/>
                    <a:pt x="42" y="38"/>
                    <a:pt x="42" y="27"/>
                  </a:cubicBezTo>
                  <a:cubicBezTo>
                    <a:pt x="42" y="15"/>
                    <a:pt x="34" y="6"/>
                    <a:pt x="2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" name="Freeform 292"/>
            <p:cNvSpPr>
              <a:spLocks/>
            </p:cNvSpPr>
            <p:nvPr/>
          </p:nvSpPr>
          <p:spPr bwMode="auto">
            <a:xfrm>
              <a:off x="4044951" y="2754313"/>
              <a:ext cx="169863" cy="120650"/>
            </a:xfrm>
            <a:custGeom>
              <a:avLst/>
              <a:gdLst>
                <a:gd name="T0" fmla="*/ 70 w 73"/>
                <a:gd name="T1" fmla="*/ 52 h 52"/>
                <a:gd name="T2" fmla="*/ 68 w 73"/>
                <a:gd name="T3" fmla="*/ 51 h 52"/>
                <a:gd name="T4" fmla="*/ 1 w 73"/>
                <a:gd name="T5" fmla="*/ 6 h 52"/>
                <a:gd name="T6" fmla="*/ 1 w 73"/>
                <a:gd name="T7" fmla="*/ 2 h 52"/>
                <a:gd name="T8" fmla="*/ 5 w 73"/>
                <a:gd name="T9" fmla="*/ 1 h 52"/>
                <a:gd name="T10" fmla="*/ 71 w 73"/>
                <a:gd name="T11" fmla="*/ 46 h 52"/>
                <a:gd name="T12" fmla="*/ 72 w 73"/>
                <a:gd name="T13" fmla="*/ 50 h 52"/>
                <a:gd name="T14" fmla="*/ 70 w 73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52">
                  <a:moveTo>
                    <a:pt x="70" y="52"/>
                  </a:moveTo>
                  <a:cubicBezTo>
                    <a:pt x="69" y="52"/>
                    <a:pt x="68" y="51"/>
                    <a:pt x="68" y="51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1"/>
                    <a:pt x="3" y="0"/>
                    <a:pt x="5" y="1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3" y="47"/>
                    <a:pt x="73" y="49"/>
                    <a:pt x="72" y="50"/>
                  </a:cubicBezTo>
                  <a:cubicBezTo>
                    <a:pt x="71" y="51"/>
                    <a:pt x="71" y="52"/>
                    <a:pt x="70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" name="Freeform 293"/>
            <p:cNvSpPr>
              <a:spLocks/>
            </p:cNvSpPr>
            <p:nvPr/>
          </p:nvSpPr>
          <p:spPr bwMode="auto">
            <a:xfrm>
              <a:off x="4481514" y="2751138"/>
              <a:ext cx="187325" cy="123825"/>
            </a:xfrm>
            <a:custGeom>
              <a:avLst/>
              <a:gdLst>
                <a:gd name="T0" fmla="*/ 4 w 81"/>
                <a:gd name="T1" fmla="*/ 53 h 53"/>
                <a:gd name="T2" fmla="*/ 1 w 81"/>
                <a:gd name="T3" fmla="*/ 51 h 53"/>
                <a:gd name="T4" fmla="*/ 2 w 81"/>
                <a:gd name="T5" fmla="*/ 47 h 53"/>
                <a:gd name="T6" fmla="*/ 76 w 81"/>
                <a:gd name="T7" fmla="*/ 1 h 53"/>
                <a:gd name="T8" fmla="*/ 80 w 81"/>
                <a:gd name="T9" fmla="*/ 2 h 53"/>
                <a:gd name="T10" fmla="*/ 79 w 81"/>
                <a:gd name="T11" fmla="*/ 6 h 53"/>
                <a:gd name="T12" fmla="*/ 5 w 81"/>
                <a:gd name="T13" fmla="*/ 52 h 53"/>
                <a:gd name="T14" fmla="*/ 4 w 81"/>
                <a:gd name="T1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53">
                  <a:moveTo>
                    <a:pt x="4" y="53"/>
                  </a:moveTo>
                  <a:cubicBezTo>
                    <a:pt x="3" y="53"/>
                    <a:pt x="2" y="52"/>
                    <a:pt x="1" y="51"/>
                  </a:cubicBezTo>
                  <a:cubicBezTo>
                    <a:pt x="0" y="50"/>
                    <a:pt x="1" y="48"/>
                    <a:pt x="2" y="47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8" y="0"/>
                    <a:pt x="79" y="0"/>
                    <a:pt x="80" y="2"/>
                  </a:cubicBezTo>
                  <a:cubicBezTo>
                    <a:pt x="81" y="3"/>
                    <a:pt x="81" y="5"/>
                    <a:pt x="79" y="6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5" y="52"/>
                    <a:pt x="4" y="53"/>
                    <a:pt x="4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" name="Freeform 294"/>
            <p:cNvSpPr>
              <a:spLocks/>
            </p:cNvSpPr>
            <p:nvPr/>
          </p:nvSpPr>
          <p:spPr bwMode="auto">
            <a:xfrm>
              <a:off x="4511676" y="2670176"/>
              <a:ext cx="315913" cy="95250"/>
            </a:xfrm>
            <a:custGeom>
              <a:avLst/>
              <a:gdLst>
                <a:gd name="T0" fmla="*/ 68 w 136"/>
                <a:gd name="T1" fmla="*/ 41 h 41"/>
                <a:gd name="T2" fmla="*/ 0 w 136"/>
                <a:gd name="T3" fmla="*/ 16 h 41"/>
                <a:gd name="T4" fmla="*/ 14 w 136"/>
                <a:gd name="T5" fmla="*/ 1 h 41"/>
                <a:gd name="T6" fmla="*/ 18 w 136"/>
                <a:gd name="T7" fmla="*/ 3 h 41"/>
                <a:gd name="T8" fmla="*/ 16 w 136"/>
                <a:gd name="T9" fmla="*/ 7 h 41"/>
                <a:gd name="T10" fmla="*/ 6 w 136"/>
                <a:gd name="T11" fmla="*/ 16 h 41"/>
                <a:gd name="T12" fmla="*/ 68 w 136"/>
                <a:gd name="T13" fmla="*/ 35 h 41"/>
                <a:gd name="T14" fmla="*/ 130 w 136"/>
                <a:gd name="T15" fmla="*/ 16 h 41"/>
                <a:gd name="T16" fmla="*/ 121 w 136"/>
                <a:gd name="T17" fmla="*/ 7 h 41"/>
                <a:gd name="T18" fmla="*/ 120 w 136"/>
                <a:gd name="T19" fmla="*/ 3 h 41"/>
                <a:gd name="T20" fmla="*/ 124 w 136"/>
                <a:gd name="T21" fmla="*/ 1 h 41"/>
                <a:gd name="T22" fmla="*/ 136 w 136"/>
                <a:gd name="T23" fmla="*/ 16 h 41"/>
                <a:gd name="T24" fmla="*/ 68 w 136"/>
                <a:gd name="T2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6" h="41">
                  <a:moveTo>
                    <a:pt x="68" y="41"/>
                  </a:moveTo>
                  <a:cubicBezTo>
                    <a:pt x="35" y="41"/>
                    <a:pt x="0" y="32"/>
                    <a:pt x="0" y="16"/>
                  </a:cubicBezTo>
                  <a:cubicBezTo>
                    <a:pt x="0" y="12"/>
                    <a:pt x="3" y="6"/>
                    <a:pt x="14" y="1"/>
                  </a:cubicBezTo>
                  <a:cubicBezTo>
                    <a:pt x="15" y="0"/>
                    <a:pt x="17" y="1"/>
                    <a:pt x="18" y="3"/>
                  </a:cubicBezTo>
                  <a:cubicBezTo>
                    <a:pt x="18" y="4"/>
                    <a:pt x="18" y="6"/>
                    <a:pt x="16" y="7"/>
                  </a:cubicBezTo>
                  <a:cubicBezTo>
                    <a:pt x="10" y="10"/>
                    <a:pt x="6" y="13"/>
                    <a:pt x="6" y="16"/>
                  </a:cubicBezTo>
                  <a:cubicBezTo>
                    <a:pt x="6" y="25"/>
                    <a:pt x="33" y="35"/>
                    <a:pt x="68" y="35"/>
                  </a:cubicBezTo>
                  <a:cubicBezTo>
                    <a:pt x="104" y="35"/>
                    <a:pt x="130" y="25"/>
                    <a:pt x="130" y="16"/>
                  </a:cubicBezTo>
                  <a:cubicBezTo>
                    <a:pt x="130" y="13"/>
                    <a:pt x="127" y="10"/>
                    <a:pt x="121" y="7"/>
                  </a:cubicBezTo>
                  <a:cubicBezTo>
                    <a:pt x="120" y="6"/>
                    <a:pt x="119" y="4"/>
                    <a:pt x="120" y="3"/>
                  </a:cubicBezTo>
                  <a:cubicBezTo>
                    <a:pt x="120" y="1"/>
                    <a:pt x="122" y="1"/>
                    <a:pt x="124" y="1"/>
                  </a:cubicBezTo>
                  <a:cubicBezTo>
                    <a:pt x="134" y="7"/>
                    <a:pt x="136" y="12"/>
                    <a:pt x="136" y="16"/>
                  </a:cubicBezTo>
                  <a:cubicBezTo>
                    <a:pt x="136" y="32"/>
                    <a:pt x="101" y="41"/>
                    <a:pt x="68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" name="Freeform 295"/>
            <p:cNvSpPr>
              <a:spLocks/>
            </p:cNvSpPr>
            <p:nvPr/>
          </p:nvSpPr>
          <p:spPr bwMode="auto">
            <a:xfrm>
              <a:off x="3870326" y="2673351"/>
              <a:ext cx="315913" cy="92075"/>
            </a:xfrm>
            <a:custGeom>
              <a:avLst/>
              <a:gdLst>
                <a:gd name="T0" fmla="*/ 68 w 136"/>
                <a:gd name="T1" fmla="*/ 40 h 40"/>
                <a:gd name="T2" fmla="*/ 0 w 136"/>
                <a:gd name="T3" fmla="*/ 16 h 40"/>
                <a:gd name="T4" fmla="*/ 13 w 136"/>
                <a:gd name="T5" fmla="*/ 1 h 40"/>
                <a:gd name="T6" fmla="*/ 17 w 136"/>
                <a:gd name="T7" fmla="*/ 2 h 40"/>
                <a:gd name="T8" fmla="*/ 16 w 136"/>
                <a:gd name="T9" fmla="*/ 6 h 40"/>
                <a:gd name="T10" fmla="*/ 6 w 136"/>
                <a:gd name="T11" fmla="*/ 16 h 40"/>
                <a:gd name="T12" fmla="*/ 68 w 136"/>
                <a:gd name="T13" fmla="*/ 34 h 40"/>
                <a:gd name="T14" fmla="*/ 130 w 136"/>
                <a:gd name="T15" fmla="*/ 16 h 40"/>
                <a:gd name="T16" fmla="*/ 121 w 136"/>
                <a:gd name="T17" fmla="*/ 6 h 40"/>
                <a:gd name="T18" fmla="*/ 119 w 136"/>
                <a:gd name="T19" fmla="*/ 2 h 40"/>
                <a:gd name="T20" fmla="*/ 123 w 136"/>
                <a:gd name="T21" fmla="*/ 1 h 40"/>
                <a:gd name="T22" fmla="*/ 136 w 136"/>
                <a:gd name="T23" fmla="*/ 16 h 40"/>
                <a:gd name="T24" fmla="*/ 68 w 136"/>
                <a:gd name="T2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6" h="40">
                  <a:moveTo>
                    <a:pt x="68" y="40"/>
                  </a:moveTo>
                  <a:cubicBezTo>
                    <a:pt x="35" y="40"/>
                    <a:pt x="0" y="32"/>
                    <a:pt x="0" y="16"/>
                  </a:cubicBezTo>
                  <a:cubicBezTo>
                    <a:pt x="0" y="12"/>
                    <a:pt x="2" y="6"/>
                    <a:pt x="13" y="1"/>
                  </a:cubicBezTo>
                  <a:cubicBezTo>
                    <a:pt x="15" y="0"/>
                    <a:pt x="16" y="1"/>
                    <a:pt x="17" y="2"/>
                  </a:cubicBezTo>
                  <a:cubicBezTo>
                    <a:pt x="18" y="4"/>
                    <a:pt x="17" y="6"/>
                    <a:pt x="16" y="6"/>
                  </a:cubicBezTo>
                  <a:cubicBezTo>
                    <a:pt x="10" y="9"/>
                    <a:pt x="6" y="13"/>
                    <a:pt x="6" y="16"/>
                  </a:cubicBezTo>
                  <a:cubicBezTo>
                    <a:pt x="6" y="24"/>
                    <a:pt x="33" y="34"/>
                    <a:pt x="68" y="34"/>
                  </a:cubicBezTo>
                  <a:cubicBezTo>
                    <a:pt x="104" y="34"/>
                    <a:pt x="130" y="24"/>
                    <a:pt x="130" y="16"/>
                  </a:cubicBezTo>
                  <a:cubicBezTo>
                    <a:pt x="130" y="13"/>
                    <a:pt x="127" y="9"/>
                    <a:pt x="121" y="6"/>
                  </a:cubicBezTo>
                  <a:cubicBezTo>
                    <a:pt x="119" y="6"/>
                    <a:pt x="119" y="4"/>
                    <a:pt x="119" y="2"/>
                  </a:cubicBezTo>
                  <a:cubicBezTo>
                    <a:pt x="120" y="1"/>
                    <a:pt x="122" y="0"/>
                    <a:pt x="123" y="1"/>
                  </a:cubicBezTo>
                  <a:cubicBezTo>
                    <a:pt x="134" y="6"/>
                    <a:pt x="136" y="12"/>
                    <a:pt x="136" y="16"/>
                  </a:cubicBezTo>
                  <a:cubicBezTo>
                    <a:pt x="136" y="32"/>
                    <a:pt x="101" y="40"/>
                    <a:pt x="68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" name="Freeform 296"/>
            <p:cNvSpPr>
              <a:spLocks/>
            </p:cNvSpPr>
            <p:nvPr/>
          </p:nvSpPr>
          <p:spPr bwMode="auto">
            <a:xfrm>
              <a:off x="4271964" y="2873376"/>
              <a:ext cx="14288" cy="52388"/>
            </a:xfrm>
            <a:custGeom>
              <a:avLst/>
              <a:gdLst>
                <a:gd name="T0" fmla="*/ 3 w 6"/>
                <a:gd name="T1" fmla="*/ 23 h 23"/>
                <a:gd name="T2" fmla="*/ 0 w 6"/>
                <a:gd name="T3" fmla="*/ 20 h 23"/>
                <a:gd name="T4" fmla="*/ 0 w 6"/>
                <a:gd name="T5" fmla="*/ 3 h 23"/>
                <a:gd name="T6" fmla="*/ 3 w 6"/>
                <a:gd name="T7" fmla="*/ 0 h 23"/>
                <a:gd name="T8" fmla="*/ 6 w 6"/>
                <a:gd name="T9" fmla="*/ 3 h 23"/>
                <a:gd name="T10" fmla="*/ 6 w 6"/>
                <a:gd name="T11" fmla="*/ 20 h 23"/>
                <a:gd name="T12" fmla="*/ 3 w 6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3">
                  <a:moveTo>
                    <a:pt x="3" y="23"/>
                  </a:moveTo>
                  <a:cubicBezTo>
                    <a:pt x="1" y="23"/>
                    <a:pt x="0" y="22"/>
                    <a:pt x="0" y="2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2"/>
                    <a:pt x="4" y="23"/>
                    <a:pt x="3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" name="Freeform 297"/>
            <p:cNvSpPr>
              <a:spLocks/>
            </p:cNvSpPr>
            <p:nvPr/>
          </p:nvSpPr>
          <p:spPr bwMode="auto">
            <a:xfrm>
              <a:off x="4229101" y="2786063"/>
              <a:ext cx="98425" cy="139700"/>
            </a:xfrm>
            <a:custGeom>
              <a:avLst/>
              <a:gdLst>
                <a:gd name="T0" fmla="*/ 3 w 43"/>
                <a:gd name="T1" fmla="*/ 60 h 60"/>
                <a:gd name="T2" fmla="*/ 0 w 43"/>
                <a:gd name="T3" fmla="*/ 57 h 60"/>
                <a:gd name="T4" fmla="*/ 0 w 43"/>
                <a:gd name="T5" fmla="*/ 22 h 60"/>
                <a:gd name="T6" fmla="*/ 20 w 43"/>
                <a:gd name="T7" fmla="*/ 4 h 60"/>
                <a:gd name="T8" fmla="*/ 35 w 43"/>
                <a:gd name="T9" fmla="*/ 4 h 60"/>
                <a:gd name="T10" fmla="*/ 37 w 43"/>
                <a:gd name="T11" fmla="*/ 3 h 60"/>
                <a:gd name="T12" fmla="*/ 40 w 43"/>
                <a:gd name="T13" fmla="*/ 0 h 60"/>
                <a:gd name="T14" fmla="*/ 43 w 43"/>
                <a:gd name="T15" fmla="*/ 3 h 60"/>
                <a:gd name="T16" fmla="*/ 35 w 43"/>
                <a:gd name="T17" fmla="*/ 10 h 60"/>
                <a:gd name="T18" fmla="*/ 20 w 43"/>
                <a:gd name="T19" fmla="*/ 10 h 60"/>
                <a:gd name="T20" fmla="*/ 6 w 43"/>
                <a:gd name="T21" fmla="*/ 22 h 60"/>
                <a:gd name="T22" fmla="*/ 6 w 43"/>
                <a:gd name="T23" fmla="*/ 57 h 60"/>
                <a:gd name="T24" fmla="*/ 3 w 43"/>
                <a:gd name="T2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60">
                  <a:moveTo>
                    <a:pt x="3" y="60"/>
                  </a:moveTo>
                  <a:cubicBezTo>
                    <a:pt x="2" y="60"/>
                    <a:pt x="0" y="59"/>
                    <a:pt x="0" y="57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8"/>
                    <a:pt x="13" y="4"/>
                    <a:pt x="20" y="4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4"/>
                    <a:pt x="37" y="4"/>
                    <a:pt x="37" y="3"/>
                  </a:cubicBezTo>
                  <a:cubicBezTo>
                    <a:pt x="37" y="1"/>
                    <a:pt x="39" y="0"/>
                    <a:pt x="40" y="0"/>
                  </a:cubicBezTo>
                  <a:cubicBezTo>
                    <a:pt x="42" y="0"/>
                    <a:pt x="43" y="1"/>
                    <a:pt x="43" y="3"/>
                  </a:cubicBezTo>
                  <a:cubicBezTo>
                    <a:pt x="43" y="7"/>
                    <a:pt x="39" y="10"/>
                    <a:pt x="35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6" y="11"/>
                    <a:pt x="6" y="22"/>
                  </a:cubicBezTo>
                  <a:cubicBezTo>
                    <a:pt x="6" y="57"/>
                    <a:pt x="6" y="57"/>
                    <a:pt x="6" y="57"/>
                  </a:cubicBezTo>
                  <a:cubicBezTo>
                    <a:pt x="6" y="59"/>
                    <a:pt x="5" y="60"/>
                    <a:pt x="3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" name="Freeform 298"/>
            <p:cNvSpPr>
              <a:spLocks/>
            </p:cNvSpPr>
            <p:nvPr/>
          </p:nvSpPr>
          <p:spPr bwMode="auto">
            <a:xfrm>
              <a:off x="4410076" y="2873376"/>
              <a:ext cx="12700" cy="50800"/>
            </a:xfrm>
            <a:custGeom>
              <a:avLst/>
              <a:gdLst>
                <a:gd name="T0" fmla="*/ 3 w 6"/>
                <a:gd name="T1" fmla="*/ 22 h 22"/>
                <a:gd name="T2" fmla="*/ 0 w 6"/>
                <a:gd name="T3" fmla="*/ 19 h 22"/>
                <a:gd name="T4" fmla="*/ 0 w 6"/>
                <a:gd name="T5" fmla="*/ 3 h 22"/>
                <a:gd name="T6" fmla="*/ 3 w 6"/>
                <a:gd name="T7" fmla="*/ 0 h 22"/>
                <a:gd name="T8" fmla="*/ 6 w 6"/>
                <a:gd name="T9" fmla="*/ 3 h 22"/>
                <a:gd name="T10" fmla="*/ 6 w 6"/>
                <a:gd name="T11" fmla="*/ 19 h 22"/>
                <a:gd name="T12" fmla="*/ 3 w 6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2">
                  <a:moveTo>
                    <a:pt x="3" y="22"/>
                  </a:moveTo>
                  <a:cubicBezTo>
                    <a:pt x="1" y="22"/>
                    <a:pt x="0" y="21"/>
                    <a:pt x="0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1"/>
                    <a:pt x="5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" name="Freeform 299"/>
            <p:cNvSpPr>
              <a:spLocks/>
            </p:cNvSpPr>
            <p:nvPr/>
          </p:nvSpPr>
          <p:spPr bwMode="auto">
            <a:xfrm>
              <a:off x="4370389" y="2786063"/>
              <a:ext cx="95250" cy="139700"/>
            </a:xfrm>
            <a:custGeom>
              <a:avLst/>
              <a:gdLst>
                <a:gd name="T0" fmla="*/ 38 w 41"/>
                <a:gd name="T1" fmla="*/ 60 h 60"/>
                <a:gd name="T2" fmla="*/ 35 w 41"/>
                <a:gd name="T3" fmla="*/ 57 h 60"/>
                <a:gd name="T4" fmla="*/ 35 w 41"/>
                <a:gd name="T5" fmla="*/ 22 h 60"/>
                <a:gd name="T6" fmla="*/ 21 w 41"/>
                <a:gd name="T7" fmla="*/ 10 h 60"/>
                <a:gd name="T8" fmla="*/ 7 w 41"/>
                <a:gd name="T9" fmla="*/ 10 h 60"/>
                <a:gd name="T10" fmla="*/ 2 w 41"/>
                <a:gd name="T11" fmla="*/ 8 h 60"/>
                <a:gd name="T12" fmla="*/ 0 w 41"/>
                <a:gd name="T13" fmla="*/ 3 h 60"/>
                <a:gd name="T14" fmla="*/ 3 w 41"/>
                <a:gd name="T15" fmla="*/ 0 h 60"/>
                <a:gd name="T16" fmla="*/ 3 w 41"/>
                <a:gd name="T17" fmla="*/ 0 h 60"/>
                <a:gd name="T18" fmla="*/ 6 w 41"/>
                <a:gd name="T19" fmla="*/ 3 h 60"/>
                <a:gd name="T20" fmla="*/ 6 w 41"/>
                <a:gd name="T21" fmla="*/ 4 h 60"/>
                <a:gd name="T22" fmla="*/ 7 w 41"/>
                <a:gd name="T23" fmla="*/ 4 h 60"/>
                <a:gd name="T24" fmla="*/ 7 w 41"/>
                <a:gd name="T25" fmla="*/ 4 h 60"/>
                <a:gd name="T26" fmla="*/ 21 w 41"/>
                <a:gd name="T27" fmla="*/ 4 h 60"/>
                <a:gd name="T28" fmla="*/ 41 w 41"/>
                <a:gd name="T29" fmla="*/ 22 h 60"/>
                <a:gd name="T30" fmla="*/ 41 w 41"/>
                <a:gd name="T31" fmla="*/ 57 h 60"/>
                <a:gd name="T32" fmla="*/ 38 w 41"/>
                <a:gd name="T3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60">
                  <a:moveTo>
                    <a:pt x="38" y="60"/>
                  </a:moveTo>
                  <a:cubicBezTo>
                    <a:pt x="37" y="60"/>
                    <a:pt x="35" y="58"/>
                    <a:pt x="35" y="57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11"/>
                    <a:pt x="23" y="10"/>
                    <a:pt x="21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4" y="10"/>
                    <a:pt x="2" y="8"/>
                  </a:cubicBezTo>
                  <a:cubicBezTo>
                    <a:pt x="1" y="7"/>
                    <a:pt x="0" y="6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3"/>
                    <a:pt x="6" y="4"/>
                    <a:pt x="6" y="4"/>
                  </a:cubicBezTo>
                  <a:cubicBezTo>
                    <a:pt x="6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8" y="4"/>
                    <a:pt x="41" y="8"/>
                    <a:pt x="41" y="22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8"/>
                    <a:pt x="40" y="60"/>
                    <a:pt x="38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" name="Freeform 300"/>
            <p:cNvSpPr>
              <a:spLocks noEditPoints="1"/>
            </p:cNvSpPr>
            <p:nvPr/>
          </p:nvSpPr>
          <p:spPr bwMode="auto">
            <a:xfrm>
              <a:off x="4284664" y="2640013"/>
              <a:ext cx="127000" cy="141288"/>
            </a:xfrm>
            <a:custGeom>
              <a:avLst/>
              <a:gdLst>
                <a:gd name="T0" fmla="*/ 27 w 55"/>
                <a:gd name="T1" fmla="*/ 61 h 61"/>
                <a:gd name="T2" fmla="*/ 0 w 55"/>
                <a:gd name="T3" fmla="*/ 30 h 61"/>
                <a:gd name="T4" fmla="*/ 27 w 55"/>
                <a:gd name="T5" fmla="*/ 0 h 61"/>
                <a:gd name="T6" fmla="*/ 55 w 55"/>
                <a:gd name="T7" fmla="*/ 30 h 61"/>
                <a:gd name="T8" fmla="*/ 27 w 55"/>
                <a:gd name="T9" fmla="*/ 61 h 61"/>
                <a:gd name="T10" fmla="*/ 27 w 55"/>
                <a:gd name="T11" fmla="*/ 6 h 61"/>
                <a:gd name="T12" fmla="*/ 6 w 55"/>
                <a:gd name="T13" fmla="*/ 30 h 61"/>
                <a:gd name="T14" fmla="*/ 27 w 55"/>
                <a:gd name="T15" fmla="*/ 55 h 61"/>
                <a:gd name="T16" fmla="*/ 49 w 55"/>
                <a:gd name="T17" fmla="*/ 30 h 61"/>
                <a:gd name="T18" fmla="*/ 27 w 55"/>
                <a:gd name="T19" fmla="*/ 6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61">
                  <a:moveTo>
                    <a:pt x="27" y="61"/>
                  </a:moveTo>
                  <a:cubicBezTo>
                    <a:pt x="12" y="61"/>
                    <a:pt x="0" y="47"/>
                    <a:pt x="0" y="30"/>
                  </a:cubicBezTo>
                  <a:cubicBezTo>
                    <a:pt x="0" y="13"/>
                    <a:pt x="12" y="0"/>
                    <a:pt x="27" y="0"/>
                  </a:cubicBezTo>
                  <a:cubicBezTo>
                    <a:pt x="42" y="0"/>
                    <a:pt x="55" y="13"/>
                    <a:pt x="55" y="30"/>
                  </a:cubicBezTo>
                  <a:cubicBezTo>
                    <a:pt x="55" y="47"/>
                    <a:pt x="42" y="61"/>
                    <a:pt x="27" y="61"/>
                  </a:cubicBezTo>
                  <a:close/>
                  <a:moveTo>
                    <a:pt x="27" y="6"/>
                  </a:moveTo>
                  <a:cubicBezTo>
                    <a:pt x="16" y="6"/>
                    <a:pt x="6" y="17"/>
                    <a:pt x="6" y="30"/>
                  </a:cubicBezTo>
                  <a:cubicBezTo>
                    <a:pt x="6" y="44"/>
                    <a:pt x="16" y="55"/>
                    <a:pt x="27" y="55"/>
                  </a:cubicBezTo>
                  <a:cubicBezTo>
                    <a:pt x="39" y="55"/>
                    <a:pt x="49" y="44"/>
                    <a:pt x="49" y="30"/>
                  </a:cubicBezTo>
                  <a:cubicBezTo>
                    <a:pt x="49" y="17"/>
                    <a:pt x="39" y="6"/>
                    <a:pt x="2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" name="Freeform 301"/>
            <p:cNvSpPr>
              <a:spLocks/>
            </p:cNvSpPr>
            <p:nvPr/>
          </p:nvSpPr>
          <p:spPr bwMode="auto">
            <a:xfrm>
              <a:off x="4173539" y="2894013"/>
              <a:ext cx="349250" cy="101600"/>
            </a:xfrm>
            <a:custGeom>
              <a:avLst/>
              <a:gdLst>
                <a:gd name="T0" fmla="*/ 75 w 151"/>
                <a:gd name="T1" fmla="*/ 44 h 44"/>
                <a:gd name="T2" fmla="*/ 0 w 151"/>
                <a:gd name="T3" fmla="*/ 17 h 44"/>
                <a:gd name="T4" fmla="*/ 14 w 151"/>
                <a:gd name="T5" fmla="*/ 1 h 44"/>
                <a:gd name="T6" fmla="*/ 18 w 151"/>
                <a:gd name="T7" fmla="*/ 2 h 44"/>
                <a:gd name="T8" fmla="*/ 17 w 151"/>
                <a:gd name="T9" fmla="*/ 6 h 44"/>
                <a:gd name="T10" fmla="*/ 6 w 151"/>
                <a:gd name="T11" fmla="*/ 17 h 44"/>
                <a:gd name="T12" fmla="*/ 75 w 151"/>
                <a:gd name="T13" fmla="*/ 38 h 44"/>
                <a:gd name="T14" fmla="*/ 145 w 151"/>
                <a:gd name="T15" fmla="*/ 17 h 44"/>
                <a:gd name="T16" fmla="*/ 134 w 151"/>
                <a:gd name="T17" fmla="*/ 6 h 44"/>
                <a:gd name="T18" fmla="*/ 133 w 151"/>
                <a:gd name="T19" fmla="*/ 2 h 44"/>
                <a:gd name="T20" fmla="*/ 137 w 151"/>
                <a:gd name="T21" fmla="*/ 1 h 44"/>
                <a:gd name="T22" fmla="*/ 151 w 151"/>
                <a:gd name="T23" fmla="*/ 17 h 44"/>
                <a:gd name="T24" fmla="*/ 75 w 151"/>
                <a:gd name="T25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1" h="44">
                  <a:moveTo>
                    <a:pt x="75" y="44"/>
                  </a:moveTo>
                  <a:cubicBezTo>
                    <a:pt x="39" y="44"/>
                    <a:pt x="0" y="34"/>
                    <a:pt x="0" y="17"/>
                  </a:cubicBezTo>
                  <a:cubicBezTo>
                    <a:pt x="0" y="13"/>
                    <a:pt x="2" y="6"/>
                    <a:pt x="14" y="1"/>
                  </a:cubicBezTo>
                  <a:cubicBezTo>
                    <a:pt x="16" y="0"/>
                    <a:pt x="18" y="0"/>
                    <a:pt x="18" y="2"/>
                  </a:cubicBezTo>
                  <a:cubicBezTo>
                    <a:pt x="19" y="3"/>
                    <a:pt x="18" y="5"/>
                    <a:pt x="17" y="6"/>
                  </a:cubicBezTo>
                  <a:cubicBezTo>
                    <a:pt x="10" y="9"/>
                    <a:pt x="6" y="13"/>
                    <a:pt x="6" y="17"/>
                  </a:cubicBezTo>
                  <a:cubicBezTo>
                    <a:pt x="6" y="27"/>
                    <a:pt x="34" y="38"/>
                    <a:pt x="75" y="38"/>
                  </a:cubicBezTo>
                  <a:cubicBezTo>
                    <a:pt x="116" y="38"/>
                    <a:pt x="145" y="27"/>
                    <a:pt x="145" y="17"/>
                  </a:cubicBezTo>
                  <a:cubicBezTo>
                    <a:pt x="145" y="13"/>
                    <a:pt x="141" y="9"/>
                    <a:pt x="134" y="6"/>
                  </a:cubicBezTo>
                  <a:cubicBezTo>
                    <a:pt x="133" y="5"/>
                    <a:pt x="132" y="4"/>
                    <a:pt x="133" y="2"/>
                  </a:cubicBezTo>
                  <a:cubicBezTo>
                    <a:pt x="133" y="1"/>
                    <a:pt x="135" y="0"/>
                    <a:pt x="137" y="1"/>
                  </a:cubicBezTo>
                  <a:cubicBezTo>
                    <a:pt x="148" y="6"/>
                    <a:pt x="151" y="13"/>
                    <a:pt x="151" y="17"/>
                  </a:cubicBezTo>
                  <a:cubicBezTo>
                    <a:pt x="151" y="34"/>
                    <a:pt x="112" y="44"/>
                    <a:pt x="75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78" name="Группа 77"/>
          <p:cNvGrpSpPr/>
          <p:nvPr/>
        </p:nvGrpSpPr>
        <p:grpSpPr>
          <a:xfrm>
            <a:off x="6640334" y="2158654"/>
            <a:ext cx="225289" cy="419946"/>
            <a:chOff x="5370513" y="3535363"/>
            <a:chExt cx="361951" cy="674687"/>
          </a:xfrm>
          <a:solidFill>
            <a:schemeClr val="bg2"/>
          </a:solidFill>
        </p:grpSpPr>
        <p:sp>
          <p:nvSpPr>
            <p:cNvPr id="79" name="Freeform 431">
              <a:extLst>
                <a:ext uri="{FF2B5EF4-FFF2-40B4-BE49-F238E27FC236}">
                  <a16:creationId xmlns:a16="http://schemas.microsoft.com/office/drawing/2014/main" id="{77D0E063-2350-42DF-9346-FBC1A20EE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0513" y="3752850"/>
              <a:ext cx="14288" cy="411163"/>
            </a:xfrm>
            <a:custGeom>
              <a:avLst/>
              <a:gdLst>
                <a:gd name="T0" fmla="*/ 3 w 6"/>
                <a:gd name="T1" fmla="*/ 177 h 177"/>
                <a:gd name="T2" fmla="*/ 0 w 6"/>
                <a:gd name="T3" fmla="*/ 174 h 177"/>
                <a:gd name="T4" fmla="*/ 0 w 6"/>
                <a:gd name="T5" fmla="*/ 3 h 177"/>
                <a:gd name="T6" fmla="*/ 3 w 6"/>
                <a:gd name="T7" fmla="*/ 0 h 177"/>
                <a:gd name="T8" fmla="*/ 6 w 6"/>
                <a:gd name="T9" fmla="*/ 3 h 177"/>
                <a:gd name="T10" fmla="*/ 6 w 6"/>
                <a:gd name="T11" fmla="*/ 174 h 177"/>
                <a:gd name="T12" fmla="*/ 3 w 6"/>
                <a:gd name="T13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77">
                  <a:moveTo>
                    <a:pt x="3" y="177"/>
                  </a:moveTo>
                  <a:cubicBezTo>
                    <a:pt x="1" y="177"/>
                    <a:pt x="0" y="175"/>
                    <a:pt x="0" y="17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4" y="0"/>
                    <a:pt x="6" y="2"/>
                    <a:pt x="6" y="3"/>
                  </a:cubicBezTo>
                  <a:cubicBezTo>
                    <a:pt x="6" y="174"/>
                    <a:pt x="6" y="174"/>
                    <a:pt x="6" y="174"/>
                  </a:cubicBezTo>
                  <a:cubicBezTo>
                    <a:pt x="6" y="175"/>
                    <a:pt x="4" y="177"/>
                    <a:pt x="3" y="1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" name="Freeform 432">
              <a:extLst>
                <a:ext uri="{FF2B5EF4-FFF2-40B4-BE49-F238E27FC236}">
                  <a16:creationId xmlns:a16="http://schemas.microsoft.com/office/drawing/2014/main" id="{03F3F011-7098-4170-9610-52218CED9E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8176" y="3752850"/>
              <a:ext cx="14288" cy="411163"/>
            </a:xfrm>
            <a:custGeom>
              <a:avLst/>
              <a:gdLst>
                <a:gd name="T0" fmla="*/ 3 w 6"/>
                <a:gd name="T1" fmla="*/ 177 h 177"/>
                <a:gd name="T2" fmla="*/ 0 w 6"/>
                <a:gd name="T3" fmla="*/ 174 h 177"/>
                <a:gd name="T4" fmla="*/ 0 w 6"/>
                <a:gd name="T5" fmla="*/ 3 h 177"/>
                <a:gd name="T6" fmla="*/ 3 w 6"/>
                <a:gd name="T7" fmla="*/ 0 h 177"/>
                <a:gd name="T8" fmla="*/ 6 w 6"/>
                <a:gd name="T9" fmla="*/ 3 h 177"/>
                <a:gd name="T10" fmla="*/ 6 w 6"/>
                <a:gd name="T11" fmla="*/ 174 h 177"/>
                <a:gd name="T12" fmla="*/ 3 w 6"/>
                <a:gd name="T13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77">
                  <a:moveTo>
                    <a:pt x="3" y="177"/>
                  </a:moveTo>
                  <a:cubicBezTo>
                    <a:pt x="1" y="177"/>
                    <a:pt x="0" y="175"/>
                    <a:pt x="0" y="17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4" y="0"/>
                    <a:pt x="6" y="2"/>
                    <a:pt x="6" y="3"/>
                  </a:cubicBezTo>
                  <a:cubicBezTo>
                    <a:pt x="6" y="174"/>
                    <a:pt x="6" y="174"/>
                    <a:pt x="6" y="174"/>
                  </a:cubicBezTo>
                  <a:cubicBezTo>
                    <a:pt x="6" y="175"/>
                    <a:pt x="4" y="177"/>
                    <a:pt x="3" y="1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" name="Freeform 433">
              <a:extLst>
                <a:ext uri="{FF2B5EF4-FFF2-40B4-BE49-F238E27FC236}">
                  <a16:creationId xmlns:a16="http://schemas.microsoft.com/office/drawing/2014/main" id="{0BF5987D-7C17-4F98-A65E-0C93018A8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0513" y="3716338"/>
              <a:ext cx="361950" cy="100013"/>
            </a:xfrm>
            <a:custGeom>
              <a:avLst/>
              <a:gdLst>
                <a:gd name="T0" fmla="*/ 78 w 156"/>
                <a:gd name="T1" fmla="*/ 43 h 43"/>
                <a:gd name="T2" fmla="*/ 0 w 156"/>
                <a:gd name="T3" fmla="*/ 19 h 43"/>
                <a:gd name="T4" fmla="*/ 31 w 156"/>
                <a:gd name="T5" fmla="*/ 1 h 43"/>
                <a:gd name="T6" fmla="*/ 34 w 156"/>
                <a:gd name="T7" fmla="*/ 3 h 43"/>
                <a:gd name="T8" fmla="*/ 32 w 156"/>
                <a:gd name="T9" fmla="*/ 7 h 43"/>
                <a:gd name="T10" fmla="*/ 6 w 156"/>
                <a:gd name="T11" fmla="*/ 19 h 43"/>
                <a:gd name="T12" fmla="*/ 78 w 156"/>
                <a:gd name="T13" fmla="*/ 37 h 43"/>
                <a:gd name="T14" fmla="*/ 150 w 156"/>
                <a:gd name="T15" fmla="*/ 19 h 43"/>
                <a:gd name="T16" fmla="*/ 122 w 156"/>
                <a:gd name="T17" fmla="*/ 7 h 43"/>
                <a:gd name="T18" fmla="*/ 120 w 156"/>
                <a:gd name="T19" fmla="*/ 3 h 43"/>
                <a:gd name="T20" fmla="*/ 124 w 156"/>
                <a:gd name="T21" fmla="*/ 1 h 43"/>
                <a:gd name="T22" fmla="*/ 156 w 156"/>
                <a:gd name="T23" fmla="*/ 19 h 43"/>
                <a:gd name="T24" fmla="*/ 78 w 156"/>
                <a:gd name="T2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6" h="43">
                  <a:moveTo>
                    <a:pt x="78" y="43"/>
                  </a:moveTo>
                  <a:cubicBezTo>
                    <a:pt x="41" y="43"/>
                    <a:pt x="0" y="33"/>
                    <a:pt x="0" y="19"/>
                  </a:cubicBezTo>
                  <a:cubicBezTo>
                    <a:pt x="0" y="10"/>
                    <a:pt x="19" y="4"/>
                    <a:pt x="31" y="1"/>
                  </a:cubicBezTo>
                  <a:cubicBezTo>
                    <a:pt x="32" y="1"/>
                    <a:pt x="34" y="2"/>
                    <a:pt x="34" y="3"/>
                  </a:cubicBezTo>
                  <a:cubicBezTo>
                    <a:pt x="35" y="5"/>
                    <a:pt x="34" y="6"/>
                    <a:pt x="32" y="7"/>
                  </a:cubicBezTo>
                  <a:cubicBezTo>
                    <a:pt x="12" y="11"/>
                    <a:pt x="6" y="17"/>
                    <a:pt x="6" y="19"/>
                  </a:cubicBezTo>
                  <a:cubicBezTo>
                    <a:pt x="6" y="25"/>
                    <a:pt x="33" y="37"/>
                    <a:pt x="78" y="37"/>
                  </a:cubicBezTo>
                  <a:cubicBezTo>
                    <a:pt x="122" y="37"/>
                    <a:pt x="150" y="25"/>
                    <a:pt x="150" y="19"/>
                  </a:cubicBezTo>
                  <a:cubicBezTo>
                    <a:pt x="150" y="17"/>
                    <a:pt x="143" y="11"/>
                    <a:pt x="122" y="7"/>
                  </a:cubicBezTo>
                  <a:cubicBezTo>
                    <a:pt x="121" y="6"/>
                    <a:pt x="120" y="5"/>
                    <a:pt x="120" y="3"/>
                  </a:cubicBezTo>
                  <a:cubicBezTo>
                    <a:pt x="120" y="1"/>
                    <a:pt x="122" y="0"/>
                    <a:pt x="124" y="1"/>
                  </a:cubicBezTo>
                  <a:cubicBezTo>
                    <a:pt x="133" y="3"/>
                    <a:pt x="156" y="9"/>
                    <a:pt x="156" y="19"/>
                  </a:cubicBezTo>
                  <a:cubicBezTo>
                    <a:pt x="156" y="33"/>
                    <a:pt x="115" y="43"/>
                    <a:pt x="7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" name="Freeform 434">
              <a:extLst>
                <a:ext uri="{FF2B5EF4-FFF2-40B4-BE49-F238E27FC236}">
                  <a16:creationId xmlns:a16="http://schemas.microsoft.com/office/drawing/2014/main" id="{E61C98B1-A1DB-4B5F-BD48-B52CED6E34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0513" y="4149725"/>
              <a:ext cx="361950" cy="60325"/>
            </a:xfrm>
            <a:custGeom>
              <a:avLst/>
              <a:gdLst>
                <a:gd name="T0" fmla="*/ 78 w 156"/>
                <a:gd name="T1" fmla="*/ 26 h 26"/>
                <a:gd name="T2" fmla="*/ 0 w 156"/>
                <a:gd name="T3" fmla="*/ 3 h 26"/>
                <a:gd name="T4" fmla="*/ 3 w 156"/>
                <a:gd name="T5" fmla="*/ 0 h 26"/>
                <a:gd name="T6" fmla="*/ 6 w 156"/>
                <a:gd name="T7" fmla="*/ 3 h 26"/>
                <a:gd name="T8" fmla="*/ 78 w 156"/>
                <a:gd name="T9" fmla="*/ 20 h 26"/>
                <a:gd name="T10" fmla="*/ 150 w 156"/>
                <a:gd name="T11" fmla="*/ 3 h 26"/>
                <a:gd name="T12" fmla="*/ 153 w 156"/>
                <a:gd name="T13" fmla="*/ 0 h 26"/>
                <a:gd name="T14" fmla="*/ 156 w 156"/>
                <a:gd name="T15" fmla="*/ 3 h 26"/>
                <a:gd name="T16" fmla="*/ 78 w 156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26">
                  <a:moveTo>
                    <a:pt x="78" y="26"/>
                  </a:moveTo>
                  <a:cubicBezTo>
                    <a:pt x="41" y="26"/>
                    <a:pt x="0" y="16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8"/>
                    <a:pt x="33" y="20"/>
                    <a:pt x="78" y="20"/>
                  </a:cubicBezTo>
                  <a:cubicBezTo>
                    <a:pt x="122" y="20"/>
                    <a:pt x="150" y="8"/>
                    <a:pt x="150" y="3"/>
                  </a:cubicBezTo>
                  <a:cubicBezTo>
                    <a:pt x="150" y="1"/>
                    <a:pt x="151" y="0"/>
                    <a:pt x="153" y="0"/>
                  </a:cubicBezTo>
                  <a:cubicBezTo>
                    <a:pt x="154" y="0"/>
                    <a:pt x="156" y="1"/>
                    <a:pt x="156" y="3"/>
                  </a:cubicBezTo>
                  <a:cubicBezTo>
                    <a:pt x="156" y="16"/>
                    <a:pt x="115" y="26"/>
                    <a:pt x="78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" name="Freeform 435">
              <a:extLst>
                <a:ext uri="{FF2B5EF4-FFF2-40B4-BE49-F238E27FC236}">
                  <a16:creationId xmlns:a16="http://schemas.microsoft.com/office/drawing/2014/main" id="{5E684C70-FA8C-4DED-9FB3-D5BAD3B43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0513" y="4022725"/>
              <a:ext cx="361950" cy="61913"/>
            </a:xfrm>
            <a:custGeom>
              <a:avLst/>
              <a:gdLst>
                <a:gd name="T0" fmla="*/ 78 w 156"/>
                <a:gd name="T1" fmla="*/ 27 h 27"/>
                <a:gd name="T2" fmla="*/ 0 w 156"/>
                <a:gd name="T3" fmla="*/ 3 h 27"/>
                <a:gd name="T4" fmla="*/ 3 w 156"/>
                <a:gd name="T5" fmla="*/ 0 h 27"/>
                <a:gd name="T6" fmla="*/ 6 w 156"/>
                <a:gd name="T7" fmla="*/ 3 h 27"/>
                <a:gd name="T8" fmla="*/ 78 w 156"/>
                <a:gd name="T9" fmla="*/ 21 h 27"/>
                <a:gd name="T10" fmla="*/ 150 w 156"/>
                <a:gd name="T11" fmla="*/ 3 h 27"/>
                <a:gd name="T12" fmla="*/ 153 w 156"/>
                <a:gd name="T13" fmla="*/ 0 h 27"/>
                <a:gd name="T14" fmla="*/ 156 w 156"/>
                <a:gd name="T15" fmla="*/ 3 h 27"/>
                <a:gd name="T16" fmla="*/ 78 w 156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27">
                  <a:moveTo>
                    <a:pt x="78" y="27"/>
                  </a:moveTo>
                  <a:cubicBezTo>
                    <a:pt x="41" y="27"/>
                    <a:pt x="0" y="17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8"/>
                    <a:pt x="33" y="21"/>
                    <a:pt x="78" y="21"/>
                  </a:cubicBezTo>
                  <a:cubicBezTo>
                    <a:pt x="122" y="21"/>
                    <a:pt x="150" y="8"/>
                    <a:pt x="150" y="3"/>
                  </a:cubicBezTo>
                  <a:cubicBezTo>
                    <a:pt x="150" y="1"/>
                    <a:pt x="151" y="0"/>
                    <a:pt x="153" y="0"/>
                  </a:cubicBezTo>
                  <a:cubicBezTo>
                    <a:pt x="154" y="0"/>
                    <a:pt x="156" y="1"/>
                    <a:pt x="156" y="3"/>
                  </a:cubicBezTo>
                  <a:cubicBezTo>
                    <a:pt x="156" y="17"/>
                    <a:pt x="115" y="27"/>
                    <a:pt x="78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" name="Freeform 436">
              <a:extLst>
                <a:ext uri="{FF2B5EF4-FFF2-40B4-BE49-F238E27FC236}">
                  <a16:creationId xmlns:a16="http://schemas.microsoft.com/office/drawing/2014/main" id="{7E6DE776-27C2-461E-8D96-5474D9F27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0513" y="3887788"/>
              <a:ext cx="361950" cy="61913"/>
            </a:xfrm>
            <a:custGeom>
              <a:avLst/>
              <a:gdLst>
                <a:gd name="T0" fmla="*/ 78 w 156"/>
                <a:gd name="T1" fmla="*/ 27 h 27"/>
                <a:gd name="T2" fmla="*/ 0 w 156"/>
                <a:gd name="T3" fmla="*/ 3 h 27"/>
                <a:gd name="T4" fmla="*/ 3 w 156"/>
                <a:gd name="T5" fmla="*/ 0 h 27"/>
                <a:gd name="T6" fmla="*/ 6 w 156"/>
                <a:gd name="T7" fmla="*/ 3 h 27"/>
                <a:gd name="T8" fmla="*/ 78 w 156"/>
                <a:gd name="T9" fmla="*/ 21 h 27"/>
                <a:gd name="T10" fmla="*/ 150 w 156"/>
                <a:gd name="T11" fmla="*/ 3 h 27"/>
                <a:gd name="T12" fmla="*/ 153 w 156"/>
                <a:gd name="T13" fmla="*/ 0 h 27"/>
                <a:gd name="T14" fmla="*/ 156 w 156"/>
                <a:gd name="T15" fmla="*/ 3 h 27"/>
                <a:gd name="T16" fmla="*/ 78 w 156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27">
                  <a:moveTo>
                    <a:pt x="78" y="27"/>
                  </a:moveTo>
                  <a:cubicBezTo>
                    <a:pt x="41" y="27"/>
                    <a:pt x="0" y="17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4" y="0"/>
                    <a:pt x="6" y="2"/>
                    <a:pt x="6" y="3"/>
                  </a:cubicBezTo>
                  <a:cubicBezTo>
                    <a:pt x="6" y="9"/>
                    <a:pt x="33" y="21"/>
                    <a:pt x="78" y="21"/>
                  </a:cubicBezTo>
                  <a:cubicBezTo>
                    <a:pt x="122" y="21"/>
                    <a:pt x="150" y="9"/>
                    <a:pt x="150" y="3"/>
                  </a:cubicBezTo>
                  <a:cubicBezTo>
                    <a:pt x="150" y="2"/>
                    <a:pt x="151" y="0"/>
                    <a:pt x="153" y="0"/>
                  </a:cubicBezTo>
                  <a:cubicBezTo>
                    <a:pt x="154" y="0"/>
                    <a:pt x="156" y="2"/>
                    <a:pt x="156" y="3"/>
                  </a:cubicBezTo>
                  <a:cubicBezTo>
                    <a:pt x="156" y="17"/>
                    <a:pt x="115" y="27"/>
                    <a:pt x="78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" name="Freeform 437">
              <a:extLst>
                <a:ext uri="{FF2B5EF4-FFF2-40B4-BE49-F238E27FC236}">
                  <a16:creationId xmlns:a16="http://schemas.microsoft.com/office/drawing/2014/main" id="{F56559BE-2B4E-46C2-A5E8-5091DBEE49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7188" y="3535363"/>
              <a:ext cx="225425" cy="242888"/>
            </a:xfrm>
            <a:custGeom>
              <a:avLst/>
              <a:gdLst>
                <a:gd name="T0" fmla="*/ 94 w 97"/>
                <a:gd name="T1" fmla="*/ 105 h 105"/>
                <a:gd name="T2" fmla="*/ 91 w 97"/>
                <a:gd name="T3" fmla="*/ 102 h 105"/>
                <a:gd name="T4" fmla="*/ 91 w 97"/>
                <a:gd name="T5" fmla="*/ 31 h 105"/>
                <a:gd name="T6" fmla="*/ 66 w 97"/>
                <a:gd name="T7" fmla="*/ 6 h 105"/>
                <a:gd name="T8" fmla="*/ 6 w 97"/>
                <a:gd name="T9" fmla="*/ 6 h 105"/>
                <a:gd name="T10" fmla="*/ 6 w 97"/>
                <a:gd name="T11" fmla="*/ 102 h 105"/>
                <a:gd name="T12" fmla="*/ 3 w 97"/>
                <a:gd name="T13" fmla="*/ 105 h 105"/>
                <a:gd name="T14" fmla="*/ 0 w 97"/>
                <a:gd name="T15" fmla="*/ 102 h 105"/>
                <a:gd name="T16" fmla="*/ 0 w 97"/>
                <a:gd name="T17" fmla="*/ 3 h 105"/>
                <a:gd name="T18" fmla="*/ 3 w 97"/>
                <a:gd name="T19" fmla="*/ 0 h 105"/>
                <a:gd name="T20" fmla="*/ 68 w 97"/>
                <a:gd name="T21" fmla="*/ 0 h 105"/>
                <a:gd name="T22" fmla="*/ 70 w 97"/>
                <a:gd name="T23" fmla="*/ 1 h 105"/>
                <a:gd name="T24" fmla="*/ 96 w 97"/>
                <a:gd name="T25" fmla="*/ 28 h 105"/>
                <a:gd name="T26" fmla="*/ 97 w 97"/>
                <a:gd name="T27" fmla="*/ 30 h 105"/>
                <a:gd name="T28" fmla="*/ 97 w 97"/>
                <a:gd name="T29" fmla="*/ 102 h 105"/>
                <a:gd name="T30" fmla="*/ 94 w 97"/>
                <a:gd name="T31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5">
                  <a:moveTo>
                    <a:pt x="94" y="105"/>
                  </a:moveTo>
                  <a:cubicBezTo>
                    <a:pt x="92" y="105"/>
                    <a:pt x="91" y="103"/>
                    <a:pt x="91" y="102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6" y="103"/>
                    <a:pt x="5" y="105"/>
                    <a:pt x="3" y="105"/>
                  </a:cubicBezTo>
                  <a:cubicBezTo>
                    <a:pt x="2" y="105"/>
                    <a:pt x="0" y="103"/>
                    <a:pt x="0" y="10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0"/>
                    <a:pt x="69" y="1"/>
                    <a:pt x="70" y="1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7" y="28"/>
                    <a:pt x="97" y="29"/>
                    <a:pt x="97" y="30"/>
                  </a:cubicBezTo>
                  <a:cubicBezTo>
                    <a:pt x="97" y="102"/>
                    <a:pt x="97" y="102"/>
                    <a:pt x="97" y="102"/>
                  </a:cubicBezTo>
                  <a:cubicBezTo>
                    <a:pt x="97" y="103"/>
                    <a:pt x="96" y="105"/>
                    <a:pt x="94" y="1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" name="Freeform 438">
              <a:extLst>
                <a:ext uri="{FF2B5EF4-FFF2-40B4-BE49-F238E27FC236}">
                  <a16:creationId xmlns:a16="http://schemas.microsoft.com/office/drawing/2014/main" id="{3D92396B-124E-480B-89CD-0DE410274E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88001" y="3535363"/>
              <a:ext cx="74613" cy="76200"/>
            </a:xfrm>
            <a:custGeom>
              <a:avLst/>
              <a:gdLst>
                <a:gd name="T0" fmla="*/ 29 w 32"/>
                <a:gd name="T1" fmla="*/ 33 h 33"/>
                <a:gd name="T2" fmla="*/ 3 w 32"/>
                <a:gd name="T3" fmla="*/ 33 h 33"/>
                <a:gd name="T4" fmla="*/ 0 w 32"/>
                <a:gd name="T5" fmla="*/ 30 h 33"/>
                <a:gd name="T6" fmla="*/ 0 w 32"/>
                <a:gd name="T7" fmla="*/ 3 h 33"/>
                <a:gd name="T8" fmla="*/ 1 w 32"/>
                <a:gd name="T9" fmla="*/ 1 h 33"/>
                <a:gd name="T10" fmla="*/ 5 w 32"/>
                <a:gd name="T11" fmla="*/ 1 h 33"/>
                <a:gd name="T12" fmla="*/ 31 w 32"/>
                <a:gd name="T13" fmla="*/ 28 h 33"/>
                <a:gd name="T14" fmla="*/ 32 w 32"/>
                <a:gd name="T15" fmla="*/ 31 h 33"/>
                <a:gd name="T16" fmla="*/ 29 w 32"/>
                <a:gd name="T17" fmla="*/ 33 h 33"/>
                <a:gd name="T18" fmla="*/ 6 w 32"/>
                <a:gd name="T19" fmla="*/ 27 h 33"/>
                <a:gd name="T20" fmla="*/ 22 w 32"/>
                <a:gd name="T21" fmla="*/ 27 h 33"/>
                <a:gd name="T22" fmla="*/ 6 w 32"/>
                <a:gd name="T23" fmla="*/ 11 h 33"/>
                <a:gd name="T24" fmla="*/ 6 w 32"/>
                <a:gd name="T25" fmla="*/ 2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33">
                  <a:moveTo>
                    <a:pt x="29" y="33"/>
                  </a:moveTo>
                  <a:cubicBezTo>
                    <a:pt x="3" y="33"/>
                    <a:pt x="3" y="33"/>
                    <a:pt x="3" y="33"/>
                  </a:cubicBezTo>
                  <a:cubicBezTo>
                    <a:pt x="1" y="33"/>
                    <a:pt x="0" y="31"/>
                    <a:pt x="0" y="3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3" y="0"/>
                    <a:pt x="4" y="0"/>
                    <a:pt x="5" y="1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2" y="28"/>
                    <a:pt x="32" y="30"/>
                    <a:pt x="32" y="31"/>
                  </a:cubicBezTo>
                  <a:cubicBezTo>
                    <a:pt x="31" y="32"/>
                    <a:pt x="30" y="33"/>
                    <a:pt x="29" y="33"/>
                  </a:cubicBezTo>
                  <a:close/>
                  <a:moveTo>
                    <a:pt x="6" y="27"/>
                  </a:moveTo>
                  <a:cubicBezTo>
                    <a:pt x="22" y="27"/>
                    <a:pt x="22" y="27"/>
                    <a:pt x="22" y="27"/>
                  </a:cubicBezTo>
                  <a:cubicBezTo>
                    <a:pt x="6" y="11"/>
                    <a:pt x="6" y="11"/>
                    <a:pt x="6" y="11"/>
                  </a:cubicBezTo>
                  <a:lnTo>
                    <a:pt x="6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7" name="Freeform 439">
              <a:extLst>
                <a:ext uri="{FF2B5EF4-FFF2-40B4-BE49-F238E27FC236}">
                  <a16:creationId xmlns:a16="http://schemas.microsoft.com/office/drawing/2014/main" id="{64E1E349-FBA0-477A-9655-E9FA048B04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0688" y="3632200"/>
              <a:ext cx="101600" cy="14288"/>
            </a:xfrm>
            <a:custGeom>
              <a:avLst/>
              <a:gdLst>
                <a:gd name="T0" fmla="*/ 41 w 44"/>
                <a:gd name="T1" fmla="*/ 6 h 6"/>
                <a:gd name="T2" fmla="*/ 3 w 44"/>
                <a:gd name="T3" fmla="*/ 6 h 6"/>
                <a:gd name="T4" fmla="*/ 0 w 44"/>
                <a:gd name="T5" fmla="*/ 3 h 6"/>
                <a:gd name="T6" fmla="*/ 3 w 44"/>
                <a:gd name="T7" fmla="*/ 0 h 6"/>
                <a:gd name="T8" fmla="*/ 41 w 44"/>
                <a:gd name="T9" fmla="*/ 0 h 6"/>
                <a:gd name="T10" fmla="*/ 44 w 44"/>
                <a:gd name="T11" fmla="*/ 3 h 6"/>
                <a:gd name="T12" fmla="*/ 41 w 44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6">
                  <a:moveTo>
                    <a:pt x="41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3" y="0"/>
                    <a:pt x="44" y="1"/>
                    <a:pt x="44" y="3"/>
                  </a:cubicBezTo>
                  <a:cubicBezTo>
                    <a:pt x="44" y="5"/>
                    <a:pt x="43" y="6"/>
                    <a:pt x="4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8" name="Freeform 440">
              <a:extLst>
                <a:ext uri="{FF2B5EF4-FFF2-40B4-BE49-F238E27FC236}">
                  <a16:creationId xmlns:a16="http://schemas.microsoft.com/office/drawing/2014/main" id="{1A0EDAFB-32C9-4E8B-B5E9-38FBA3FA4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3690938"/>
              <a:ext cx="139700" cy="12700"/>
            </a:xfrm>
            <a:custGeom>
              <a:avLst/>
              <a:gdLst>
                <a:gd name="T0" fmla="*/ 57 w 60"/>
                <a:gd name="T1" fmla="*/ 6 h 6"/>
                <a:gd name="T2" fmla="*/ 3 w 60"/>
                <a:gd name="T3" fmla="*/ 6 h 6"/>
                <a:gd name="T4" fmla="*/ 0 w 60"/>
                <a:gd name="T5" fmla="*/ 3 h 6"/>
                <a:gd name="T6" fmla="*/ 3 w 60"/>
                <a:gd name="T7" fmla="*/ 0 h 6"/>
                <a:gd name="T8" fmla="*/ 57 w 60"/>
                <a:gd name="T9" fmla="*/ 0 h 6"/>
                <a:gd name="T10" fmla="*/ 60 w 60"/>
                <a:gd name="T11" fmla="*/ 3 h 6"/>
                <a:gd name="T12" fmla="*/ 57 w 6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6">
                  <a:moveTo>
                    <a:pt x="5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9" y="0"/>
                    <a:pt x="60" y="2"/>
                    <a:pt x="60" y="3"/>
                  </a:cubicBezTo>
                  <a:cubicBezTo>
                    <a:pt x="60" y="5"/>
                    <a:pt x="59" y="6"/>
                    <a:pt x="5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9" name="Freeform 441">
              <a:extLst>
                <a:ext uri="{FF2B5EF4-FFF2-40B4-BE49-F238E27FC236}">
                  <a16:creationId xmlns:a16="http://schemas.microsoft.com/office/drawing/2014/main" id="{B6A2080B-A276-4682-849E-3FF9DAC9A0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3729038"/>
              <a:ext cx="139700" cy="14288"/>
            </a:xfrm>
            <a:custGeom>
              <a:avLst/>
              <a:gdLst>
                <a:gd name="T0" fmla="*/ 57 w 60"/>
                <a:gd name="T1" fmla="*/ 6 h 6"/>
                <a:gd name="T2" fmla="*/ 3 w 60"/>
                <a:gd name="T3" fmla="*/ 6 h 6"/>
                <a:gd name="T4" fmla="*/ 0 w 60"/>
                <a:gd name="T5" fmla="*/ 3 h 6"/>
                <a:gd name="T6" fmla="*/ 3 w 60"/>
                <a:gd name="T7" fmla="*/ 0 h 6"/>
                <a:gd name="T8" fmla="*/ 57 w 60"/>
                <a:gd name="T9" fmla="*/ 0 h 6"/>
                <a:gd name="T10" fmla="*/ 60 w 60"/>
                <a:gd name="T11" fmla="*/ 3 h 6"/>
                <a:gd name="T12" fmla="*/ 57 w 6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6">
                  <a:moveTo>
                    <a:pt x="5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9" y="0"/>
                    <a:pt x="60" y="2"/>
                    <a:pt x="60" y="3"/>
                  </a:cubicBezTo>
                  <a:cubicBezTo>
                    <a:pt x="60" y="5"/>
                    <a:pt x="59" y="6"/>
                    <a:pt x="5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90" name="Группа 89"/>
          <p:cNvGrpSpPr/>
          <p:nvPr/>
        </p:nvGrpSpPr>
        <p:grpSpPr>
          <a:xfrm>
            <a:off x="5017361" y="2195416"/>
            <a:ext cx="491095" cy="398394"/>
            <a:chOff x="3975100" y="4972050"/>
            <a:chExt cx="706438" cy="573088"/>
          </a:xfrm>
          <a:solidFill>
            <a:schemeClr val="bg2"/>
          </a:solidFill>
        </p:grpSpPr>
        <p:sp>
          <p:nvSpPr>
            <p:cNvPr id="91" name="Freeform 309">
              <a:extLst>
                <a:ext uri="{FF2B5EF4-FFF2-40B4-BE49-F238E27FC236}">
                  <a16:creationId xmlns:a16="http://schemas.microsoft.com/office/drawing/2014/main" id="{9C2BE221-9AD6-4C2B-B03F-F052DEA000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1475" y="4972050"/>
              <a:ext cx="500063" cy="334963"/>
            </a:xfrm>
            <a:custGeom>
              <a:avLst/>
              <a:gdLst>
                <a:gd name="T0" fmla="*/ 181 w 219"/>
                <a:gd name="T1" fmla="*/ 145 h 145"/>
                <a:gd name="T2" fmla="*/ 181 w 219"/>
                <a:gd name="T3" fmla="*/ 145 h 145"/>
                <a:gd name="T4" fmla="*/ 140 w 219"/>
                <a:gd name="T5" fmla="*/ 145 h 145"/>
                <a:gd name="T6" fmla="*/ 137 w 219"/>
                <a:gd name="T7" fmla="*/ 142 h 145"/>
                <a:gd name="T8" fmla="*/ 140 w 219"/>
                <a:gd name="T9" fmla="*/ 139 h 145"/>
                <a:gd name="T10" fmla="*/ 140 w 219"/>
                <a:gd name="T11" fmla="*/ 139 h 145"/>
                <a:gd name="T12" fmla="*/ 181 w 219"/>
                <a:gd name="T13" fmla="*/ 139 h 145"/>
                <a:gd name="T14" fmla="*/ 181 w 219"/>
                <a:gd name="T15" fmla="*/ 139 h 145"/>
                <a:gd name="T16" fmla="*/ 213 w 219"/>
                <a:gd name="T17" fmla="*/ 106 h 145"/>
                <a:gd name="T18" fmla="*/ 181 w 219"/>
                <a:gd name="T19" fmla="*/ 73 h 145"/>
                <a:gd name="T20" fmla="*/ 179 w 219"/>
                <a:gd name="T21" fmla="*/ 72 h 145"/>
                <a:gd name="T22" fmla="*/ 178 w 219"/>
                <a:gd name="T23" fmla="*/ 69 h 145"/>
                <a:gd name="T24" fmla="*/ 183 w 219"/>
                <a:gd name="T25" fmla="*/ 49 h 145"/>
                <a:gd name="T26" fmla="*/ 140 w 219"/>
                <a:gd name="T27" fmla="*/ 6 h 145"/>
                <a:gd name="T28" fmla="*/ 101 w 219"/>
                <a:gd name="T29" fmla="*/ 29 h 145"/>
                <a:gd name="T30" fmla="*/ 99 w 219"/>
                <a:gd name="T31" fmla="*/ 30 h 145"/>
                <a:gd name="T32" fmla="*/ 97 w 219"/>
                <a:gd name="T33" fmla="*/ 30 h 145"/>
                <a:gd name="T34" fmla="*/ 71 w 219"/>
                <a:gd name="T35" fmla="*/ 20 h 145"/>
                <a:gd name="T36" fmla="*/ 31 w 219"/>
                <a:gd name="T37" fmla="*/ 60 h 145"/>
                <a:gd name="T38" fmla="*/ 29 w 219"/>
                <a:gd name="T39" fmla="*/ 63 h 145"/>
                <a:gd name="T40" fmla="*/ 6 w 219"/>
                <a:gd name="T41" fmla="*/ 99 h 145"/>
                <a:gd name="T42" fmla="*/ 3 w 219"/>
                <a:gd name="T43" fmla="*/ 102 h 145"/>
                <a:gd name="T44" fmla="*/ 0 w 219"/>
                <a:gd name="T45" fmla="*/ 99 h 145"/>
                <a:gd name="T46" fmla="*/ 25 w 219"/>
                <a:gd name="T47" fmla="*/ 58 h 145"/>
                <a:gd name="T48" fmla="*/ 71 w 219"/>
                <a:gd name="T49" fmla="*/ 14 h 145"/>
                <a:gd name="T50" fmla="*/ 98 w 219"/>
                <a:gd name="T51" fmla="*/ 23 h 145"/>
                <a:gd name="T52" fmla="*/ 140 w 219"/>
                <a:gd name="T53" fmla="*/ 0 h 145"/>
                <a:gd name="T54" fmla="*/ 189 w 219"/>
                <a:gd name="T55" fmla="*/ 49 h 145"/>
                <a:gd name="T56" fmla="*/ 186 w 219"/>
                <a:gd name="T57" fmla="*/ 68 h 145"/>
                <a:gd name="T58" fmla="*/ 219 w 219"/>
                <a:gd name="T59" fmla="*/ 106 h 145"/>
                <a:gd name="T60" fmla="*/ 181 w 219"/>
                <a:gd name="T61" fmla="*/ 145 h 145"/>
                <a:gd name="T62" fmla="*/ 181 w 219"/>
                <a:gd name="T6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9" h="145">
                  <a:moveTo>
                    <a:pt x="181" y="145"/>
                  </a:moveTo>
                  <a:cubicBezTo>
                    <a:pt x="181" y="145"/>
                    <a:pt x="181" y="145"/>
                    <a:pt x="181" y="145"/>
                  </a:cubicBezTo>
                  <a:cubicBezTo>
                    <a:pt x="140" y="145"/>
                    <a:pt x="140" y="145"/>
                    <a:pt x="140" y="145"/>
                  </a:cubicBezTo>
                  <a:cubicBezTo>
                    <a:pt x="138" y="145"/>
                    <a:pt x="137" y="144"/>
                    <a:pt x="137" y="142"/>
                  </a:cubicBezTo>
                  <a:cubicBezTo>
                    <a:pt x="137" y="141"/>
                    <a:pt x="138" y="139"/>
                    <a:pt x="140" y="139"/>
                  </a:cubicBezTo>
                  <a:cubicBezTo>
                    <a:pt x="140" y="139"/>
                    <a:pt x="140" y="139"/>
                    <a:pt x="140" y="139"/>
                  </a:cubicBezTo>
                  <a:cubicBezTo>
                    <a:pt x="181" y="139"/>
                    <a:pt x="181" y="139"/>
                    <a:pt x="181" y="139"/>
                  </a:cubicBezTo>
                  <a:cubicBezTo>
                    <a:pt x="181" y="139"/>
                    <a:pt x="181" y="139"/>
                    <a:pt x="181" y="139"/>
                  </a:cubicBezTo>
                  <a:cubicBezTo>
                    <a:pt x="199" y="139"/>
                    <a:pt x="213" y="124"/>
                    <a:pt x="213" y="106"/>
                  </a:cubicBezTo>
                  <a:cubicBezTo>
                    <a:pt x="213" y="88"/>
                    <a:pt x="199" y="74"/>
                    <a:pt x="181" y="73"/>
                  </a:cubicBezTo>
                  <a:cubicBezTo>
                    <a:pt x="180" y="73"/>
                    <a:pt x="179" y="73"/>
                    <a:pt x="179" y="72"/>
                  </a:cubicBezTo>
                  <a:cubicBezTo>
                    <a:pt x="178" y="71"/>
                    <a:pt x="178" y="70"/>
                    <a:pt x="178" y="69"/>
                  </a:cubicBezTo>
                  <a:cubicBezTo>
                    <a:pt x="182" y="63"/>
                    <a:pt x="183" y="56"/>
                    <a:pt x="183" y="49"/>
                  </a:cubicBezTo>
                  <a:cubicBezTo>
                    <a:pt x="183" y="25"/>
                    <a:pt x="164" y="6"/>
                    <a:pt x="140" y="6"/>
                  </a:cubicBezTo>
                  <a:cubicBezTo>
                    <a:pt x="124" y="6"/>
                    <a:pt x="109" y="14"/>
                    <a:pt x="101" y="29"/>
                  </a:cubicBezTo>
                  <a:cubicBezTo>
                    <a:pt x="101" y="29"/>
                    <a:pt x="100" y="30"/>
                    <a:pt x="99" y="30"/>
                  </a:cubicBezTo>
                  <a:cubicBezTo>
                    <a:pt x="98" y="30"/>
                    <a:pt x="98" y="30"/>
                    <a:pt x="97" y="30"/>
                  </a:cubicBezTo>
                  <a:cubicBezTo>
                    <a:pt x="90" y="23"/>
                    <a:pt x="81" y="20"/>
                    <a:pt x="71" y="20"/>
                  </a:cubicBezTo>
                  <a:cubicBezTo>
                    <a:pt x="49" y="20"/>
                    <a:pt x="31" y="38"/>
                    <a:pt x="31" y="60"/>
                  </a:cubicBezTo>
                  <a:cubicBezTo>
                    <a:pt x="31" y="61"/>
                    <a:pt x="30" y="62"/>
                    <a:pt x="29" y="63"/>
                  </a:cubicBezTo>
                  <a:cubicBezTo>
                    <a:pt x="15" y="69"/>
                    <a:pt x="6" y="84"/>
                    <a:pt x="6" y="99"/>
                  </a:cubicBezTo>
                  <a:cubicBezTo>
                    <a:pt x="6" y="101"/>
                    <a:pt x="4" y="102"/>
                    <a:pt x="3" y="102"/>
                  </a:cubicBezTo>
                  <a:cubicBezTo>
                    <a:pt x="1" y="102"/>
                    <a:pt x="0" y="101"/>
                    <a:pt x="0" y="99"/>
                  </a:cubicBezTo>
                  <a:cubicBezTo>
                    <a:pt x="0" y="82"/>
                    <a:pt x="10" y="66"/>
                    <a:pt x="25" y="58"/>
                  </a:cubicBezTo>
                  <a:cubicBezTo>
                    <a:pt x="26" y="34"/>
                    <a:pt x="46" y="14"/>
                    <a:pt x="71" y="14"/>
                  </a:cubicBezTo>
                  <a:cubicBezTo>
                    <a:pt x="81" y="14"/>
                    <a:pt x="90" y="17"/>
                    <a:pt x="98" y="23"/>
                  </a:cubicBezTo>
                  <a:cubicBezTo>
                    <a:pt x="107" y="8"/>
                    <a:pt x="123" y="0"/>
                    <a:pt x="140" y="0"/>
                  </a:cubicBezTo>
                  <a:cubicBezTo>
                    <a:pt x="167" y="0"/>
                    <a:pt x="189" y="22"/>
                    <a:pt x="189" y="49"/>
                  </a:cubicBezTo>
                  <a:cubicBezTo>
                    <a:pt x="189" y="55"/>
                    <a:pt x="188" y="62"/>
                    <a:pt x="186" y="68"/>
                  </a:cubicBezTo>
                  <a:cubicBezTo>
                    <a:pt x="205" y="70"/>
                    <a:pt x="219" y="86"/>
                    <a:pt x="219" y="106"/>
                  </a:cubicBezTo>
                  <a:cubicBezTo>
                    <a:pt x="219" y="127"/>
                    <a:pt x="202" y="145"/>
                    <a:pt x="181" y="145"/>
                  </a:cubicBezTo>
                  <a:cubicBezTo>
                    <a:pt x="181" y="145"/>
                    <a:pt x="181" y="145"/>
                    <a:pt x="181" y="1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2" name="Freeform 310">
              <a:extLst>
                <a:ext uri="{FF2B5EF4-FFF2-40B4-BE49-F238E27FC236}">
                  <a16:creationId xmlns:a16="http://schemas.microsoft.com/office/drawing/2014/main" id="{6F3DC16D-2B2E-4637-BB55-263DED0339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0500" y="5486400"/>
              <a:ext cx="547688" cy="58738"/>
            </a:xfrm>
            <a:custGeom>
              <a:avLst/>
              <a:gdLst>
                <a:gd name="T0" fmla="*/ 219 w 240"/>
                <a:gd name="T1" fmla="*/ 25 h 25"/>
                <a:gd name="T2" fmla="*/ 17 w 240"/>
                <a:gd name="T3" fmla="*/ 25 h 25"/>
                <a:gd name="T4" fmla="*/ 0 w 240"/>
                <a:gd name="T5" fmla="*/ 7 h 25"/>
                <a:gd name="T6" fmla="*/ 0 w 240"/>
                <a:gd name="T7" fmla="*/ 3 h 25"/>
                <a:gd name="T8" fmla="*/ 1 w 240"/>
                <a:gd name="T9" fmla="*/ 1 h 25"/>
                <a:gd name="T10" fmla="*/ 3 w 240"/>
                <a:gd name="T11" fmla="*/ 0 h 25"/>
                <a:gd name="T12" fmla="*/ 3 w 240"/>
                <a:gd name="T13" fmla="*/ 0 h 25"/>
                <a:gd name="T14" fmla="*/ 237 w 240"/>
                <a:gd name="T15" fmla="*/ 0 h 25"/>
                <a:gd name="T16" fmla="*/ 239 w 240"/>
                <a:gd name="T17" fmla="*/ 1 h 25"/>
                <a:gd name="T18" fmla="*/ 240 w 240"/>
                <a:gd name="T19" fmla="*/ 3 h 25"/>
                <a:gd name="T20" fmla="*/ 240 w 240"/>
                <a:gd name="T21" fmla="*/ 8 h 25"/>
                <a:gd name="T22" fmla="*/ 223 w 240"/>
                <a:gd name="T23" fmla="*/ 25 h 25"/>
                <a:gd name="T24" fmla="*/ 219 w 240"/>
                <a:gd name="T25" fmla="*/ 25 h 25"/>
                <a:gd name="T26" fmla="*/ 6 w 240"/>
                <a:gd name="T27" fmla="*/ 6 h 25"/>
                <a:gd name="T28" fmla="*/ 6 w 240"/>
                <a:gd name="T29" fmla="*/ 7 h 25"/>
                <a:gd name="T30" fmla="*/ 17 w 240"/>
                <a:gd name="T31" fmla="*/ 19 h 25"/>
                <a:gd name="T32" fmla="*/ 223 w 240"/>
                <a:gd name="T33" fmla="*/ 19 h 25"/>
                <a:gd name="T34" fmla="*/ 234 w 240"/>
                <a:gd name="T35" fmla="*/ 8 h 25"/>
                <a:gd name="T36" fmla="*/ 234 w 240"/>
                <a:gd name="T37" fmla="*/ 6 h 25"/>
                <a:gd name="T38" fmla="*/ 6 w 240"/>
                <a:gd name="T39" fmla="*/ 6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0" h="25">
                  <a:moveTo>
                    <a:pt x="219" y="25"/>
                  </a:moveTo>
                  <a:cubicBezTo>
                    <a:pt x="189" y="25"/>
                    <a:pt x="19" y="25"/>
                    <a:pt x="17" y="25"/>
                  </a:cubicBezTo>
                  <a:cubicBezTo>
                    <a:pt x="2" y="25"/>
                    <a:pt x="0" y="17"/>
                    <a:pt x="0" y="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37" y="0"/>
                    <a:pt x="237" y="0"/>
                    <a:pt x="237" y="0"/>
                  </a:cubicBezTo>
                  <a:cubicBezTo>
                    <a:pt x="238" y="0"/>
                    <a:pt x="239" y="1"/>
                    <a:pt x="239" y="1"/>
                  </a:cubicBezTo>
                  <a:cubicBezTo>
                    <a:pt x="240" y="2"/>
                    <a:pt x="240" y="3"/>
                    <a:pt x="240" y="3"/>
                  </a:cubicBezTo>
                  <a:cubicBezTo>
                    <a:pt x="240" y="8"/>
                    <a:pt x="240" y="8"/>
                    <a:pt x="240" y="8"/>
                  </a:cubicBezTo>
                  <a:cubicBezTo>
                    <a:pt x="240" y="17"/>
                    <a:pt x="239" y="25"/>
                    <a:pt x="223" y="25"/>
                  </a:cubicBezTo>
                  <a:cubicBezTo>
                    <a:pt x="223" y="25"/>
                    <a:pt x="222" y="25"/>
                    <a:pt x="219" y="25"/>
                  </a:cubicBezTo>
                  <a:close/>
                  <a:moveTo>
                    <a:pt x="6" y="6"/>
                  </a:moveTo>
                  <a:cubicBezTo>
                    <a:pt x="6" y="7"/>
                    <a:pt x="6" y="7"/>
                    <a:pt x="6" y="7"/>
                  </a:cubicBezTo>
                  <a:cubicBezTo>
                    <a:pt x="6" y="16"/>
                    <a:pt x="7" y="19"/>
                    <a:pt x="17" y="19"/>
                  </a:cubicBezTo>
                  <a:cubicBezTo>
                    <a:pt x="19" y="19"/>
                    <a:pt x="220" y="19"/>
                    <a:pt x="223" y="19"/>
                  </a:cubicBezTo>
                  <a:cubicBezTo>
                    <a:pt x="234" y="19"/>
                    <a:pt x="234" y="16"/>
                    <a:pt x="234" y="8"/>
                  </a:cubicBezTo>
                  <a:cubicBezTo>
                    <a:pt x="234" y="6"/>
                    <a:pt x="234" y="6"/>
                    <a:pt x="234" y="6"/>
                  </a:cubicBez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3" name="Freeform 311">
              <a:extLst>
                <a:ext uri="{FF2B5EF4-FFF2-40B4-BE49-F238E27FC236}">
                  <a16:creationId xmlns:a16="http://schemas.microsoft.com/office/drawing/2014/main" id="{9C38B617-A091-4D7C-946E-307ED7478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7175" y="5221288"/>
              <a:ext cx="417513" cy="279400"/>
            </a:xfrm>
            <a:custGeom>
              <a:avLst/>
              <a:gdLst>
                <a:gd name="T0" fmla="*/ 180 w 183"/>
                <a:gd name="T1" fmla="*/ 121 h 121"/>
                <a:gd name="T2" fmla="*/ 177 w 183"/>
                <a:gd name="T3" fmla="*/ 118 h 121"/>
                <a:gd name="T4" fmla="*/ 177 w 183"/>
                <a:gd name="T5" fmla="*/ 9 h 121"/>
                <a:gd name="T6" fmla="*/ 173 w 183"/>
                <a:gd name="T7" fmla="*/ 6 h 121"/>
                <a:gd name="T8" fmla="*/ 9 w 183"/>
                <a:gd name="T9" fmla="*/ 6 h 121"/>
                <a:gd name="T10" fmla="*/ 6 w 183"/>
                <a:gd name="T11" fmla="*/ 9 h 121"/>
                <a:gd name="T12" fmla="*/ 6 w 183"/>
                <a:gd name="T13" fmla="*/ 116 h 121"/>
                <a:gd name="T14" fmla="*/ 3 w 183"/>
                <a:gd name="T15" fmla="*/ 119 h 121"/>
                <a:gd name="T16" fmla="*/ 0 w 183"/>
                <a:gd name="T17" fmla="*/ 116 h 121"/>
                <a:gd name="T18" fmla="*/ 0 w 183"/>
                <a:gd name="T19" fmla="*/ 9 h 121"/>
                <a:gd name="T20" fmla="*/ 9 w 183"/>
                <a:gd name="T21" fmla="*/ 0 h 121"/>
                <a:gd name="T22" fmla="*/ 173 w 183"/>
                <a:gd name="T23" fmla="*/ 0 h 121"/>
                <a:gd name="T24" fmla="*/ 183 w 183"/>
                <a:gd name="T25" fmla="*/ 9 h 121"/>
                <a:gd name="T26" fmla="*/ 183 w 183"/>
                <a:gd name="T27" fmla="*/ 118 h 121"/>
                <a:gd name="T28" fmla="*/ 180 w 183"/>
                <a:gd name="T2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3" h="121">
                  <a:moveTo>
                    <a:pt x="180" y="121"/>
                  </a:moveTo>
                  <a:cubicBezTo>
                    <a:pt x="178" y="121"/>
                    <a:pt x="177" y="120"/>
                    <a:pt x="177" y="118"/>
                  </a:cubicBezTo>
                  <a:cubicBezTo>
                    <a:pt x="177" y="9"/>
                    <a:pt x="177" y="9"/>
                    <a:pt x="177" y="9"/>
                  </a:cubicBezTo>
                  <a:cubicBezTo>
                    <a:pt x="177" y="6"/>
                    <a:pt x="174" y="6"/>
                    <a:pt x="17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8" y="6"/>
                    <a:pt x="6" y="7"/>
                    <a:pt x="6" y="9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6" y="118"/>
                    <a:pt x="4" y="119"/>
                    <a:pt x="3" y="119"/>
                  </a:cubicBezTo>
                  <a:cubicBezTo>
                    <a:pt x="1" y="119"/>
                    <a:pt x="0" y="118"/>
                    <a:pt x="0" y="11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3"/>
                    <a:pt x="5" y="0"/>
                    <a:pt x="9" y="0"/>
                  </a:cubicBezTo>
                  <a:cubicBezTo>
                    <a:pt x="173" y="0"/>
                    <a:pt x="173" y="0"/>
                    <a:pt x="173" y="0"/>
                  </a:cubicBezTo>
                  <a:cubicBezTo>
                    <a:pt x="177" y="0"/>
                    <a:pt x="183" y="3"/>
                    <a:pt x="183" y="9"/>
                  </a:cubicBezTo>
                  <a:cubicBezTo>
                    <a:pt x="183" y="118"/>
                    <a:pt x="183" y="118"/>
                    <a:pt x="183" y="118"/>
                  </a:cubicBezTo>
                  <a:cubicBezTo>
                    <a:pt x="183" y="120"/>
                    <a:pt x="181" y="121"/>
                    <a:pt x="180" y="1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4" name="Freeform 312">
              <a:extLst>
                <a:ext uri="{FF2B5EF4-FFF2-40B4-BE49-F238E27FC236}">
                  <a16:creationId xmlns:a16="http://schemas.microsoft.com/office/drawing/2014/main" id="{7BDD312E-C084-403A-899B-1F52C6203F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925" y="5253038"/>
              <a:ext cx="355600" cy="228600"/>
            </a:xfrm>
            <a:custGeom>
              <a:avLst/>
              <a:gdLst>
                <a:gd name="T0" fmla="*/ 153 w 156"/>
                <a:gd name="T1" fmla="*/ 99 h 99"/>
                <a:gd name="T2" fmla="*/ 150 w 156"/>
                <a:gd name="T3" fmla="*/ 96 h 99"/>
                <a:gd name="T4" fmla="*/ 150 w 156"/>
                <a:gd name="T5" fmla="*/ 6 h 99"/>
                <a:gd name="T6" fmla="*/ 6 w 156"/>
                <a:gd name="T7" fmla="*/ 6 h 99"/>
                <a:gd name="T8" fmla="*/ 6 w 156"/>
                <a:gd name="T9" fmla="*/ 94 h 99"/>
                <a:gd name="T10" fmla="*/ 3 w 156"/>
                <a:gd name="T11" fmla="*/ 97 h 99"/>
                <a:gd name="T12" fmla="*/ 0 w 156"/>
                <a:gd name="T13" fmla="*/ 94 h 99"/>
                <a:gd name="T14" fmla="*/ 0 w 156"/>
                <a:gd name="T15" fmla="*/ 3 h 99"/>
                <a:gd name="T16" fmla="*/ 3 w 156"/>
                <a:gd name="T17" fmla="*/ 0 h 99"/>
                <a:gd name="T18" fmla="*/ 153 w 156"/>
                <a:gd name="T19" fmla="*/ 0 h 99"/>
                <a:gd name="T20" fmla="*/ 156 w 156"/>
                <a:gd name="T21" fmla="*/ 3 h 99"/>
                <a:gd name="T22" fmla="*/ 156 w 156"/>
                <a:gd name="T23" fmla="*/ 96 h 99"/>
                <a:gd name="T24" fmla="*/ 153 w 156"/>
                <a:gd name="T2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6" h="99">
                  <a:moveTo>
                    <a:pt x="153" y="99"/>
                  </a:moveTo>
                  <a:cubicBezTo>
                    <a:pt x="151" y="99"/>
                    <a:pt x="150" y="97"/>
                    <a:pt x="150" y="96"/>
                  </a:cubicBezTo>
                  <a:cubicBezTo>
                    <a:pt x="150" y="6"/>
                    <a:pt x="150" y="6"/>
                    <a:pt x="150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94"/>
                    <a:pt x="6" y="94"/>
                    <a:pt x="6" y="94"/>
                  </a:cubicBezTo>
                  <a:cubicBezTo>
                    <a:pt x="6" y="95"/>
                    <a:pt x="4" y="97"/>
                    <a:pt x="3" y="97"/>
                  </a:cubicBezTo>
                  <a:cubicBezTo>
                    <a:pt x="1" y="97"/>
                    <a:pt x="0" y="95"/>
                    <a:pt x="0" y="9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4" y="0"/>
                    <a:pt x="156" y="1"/>
                    <a:pt x="156" y="3"/>
                  </a:cubicBezTo>
                  <a:cubicBezTo>
                    <a:pt x="156" y="96"/>
                    <a:pt x="156" y="96"/>
                    <a:pt x="156" y="96"/>
                  </a:cubicBezTo>
                  <a:cubicBezTo>
                    <a:pt x="156" y="97"/>
                    <a:pt x="154" y="99"/>
                    <a:pt x="153" y="9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5" name="Freeform 313">
              <a:extLst>
                <a:ext uri="{FF2B5EF4-FFF2-40B4-BE49-F238E27FC236}">
                  <a16:creationId xmlns:a16="http://schemas.microsoft.com/office/drawing/2014/main" id="{C0A4C8A0-A6F6-4638-9082-4AC765CEA1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100" y="5094288"/>
              <a:ext cx="169863" cy="327025"/>
            </a:xfrm>
            <a:custGeom>
              <a:avLst/>
              <a:gdLst>
                <a:gd name="T0" fmla="*/ 3 w 74"/>
                <a:gd name="T1" fmla="*/ 142 h 142"/>
                <a:gd name="T2" fmla="*/ 0 w 74"/>
                <a:gd name="T3" fmla="*/ 139 h 142"/>
                <a:gd name="T4" fmla="*/ 0 w 74"/>
                <a:gd name="T5" fmla="*/ 3 h 142"/>
                <a:gd name="T6" fmla="*/ 3 w 74"/>
                <a:gd name="T7" fmla="*/ 0 h 142"/>
                <a:gd name="T8" fmla="*/ 71 w 74"/>
                <a:gd name="T9" fmla="*/ 0 h 142"/>
                <a:gd name="T10" fmla="*/ 74 w 74"/>
                <a:gd name="T11" fmla="*/ 3 h 142"/>
                <a:gd name="T12" fmla="*/ 71 w 74"/>
                <a:gd name="T13" fmla="*/ 6 h 142"/>
                <a:gd name="T14" fmla="*/ 6 w 74"/>
                <a:gd name="T15" fmla="*/ 6 h 142"/>
                <a:gd name="T16" fmla="*/ 6 w 74"/>
                <a:gd name="T17" fmla="*/ 139 h 142"/>
                <a:gd name="T18" fmla="*/ 3 w 74"/>
                <a:gd name="T1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142">
                  <a:moveTo>
                    <a:pt x="3" y="142"/>
                  </a:moveTo>
                  <a:cubicBezTo>
                    <a:pt x="1" y="142"/>
                    <a:pt x="0" y="141"/>
                    <a:pt x="0" y="13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2" y="0"/>
                    <a:pt x="74" y="1"/>
                    <a:pt x="74" y="3"/>
                  </a:cubicBezTo>
                  <a:cubicBezTo>
                    <a:pt x="74" y="5"/>
                    <a:pt x="72" y="6"/>
                    <a:pt x="71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139"/>
                    <a:pt x="6" y="139"/>
                    <a:pt x="6" y="139"/>
                  </a:cubicBezTo>
                  <a:cubicBezTo>
                    <a:pt x="6" y="141"/>
                    <a:pt x="4" y="142"/>
                    <a:pt x="3" y="1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6" name="Freeform 314">
              <a:extLst>
                <a:ext uri="{FF2B5EF4-FFF2-40B4-BE49-F238E27FC236}">
                  <a16:creationId xmlns:a16="http://schemas.microsoft.com/office/drawing/2014/main" id="{C77B44B1-701B-41B9-BABD-A0BEA98B5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1838" y="5343525"/>
              <a:ext cx="41275" cy="96838"/>
            </a:xfrm>
            <a:custGeom>
              <a:avLst/>
              <a:gdLst>
                <a:gd name="T0" fmla="*/ 15 w 18"/>
                <a:gd name="T1" fmla="*/ 42 h 42"/>
                <a:gd name="T2" fmla="*/ 3 w 18"/>
                <a:gd name="T3" fmla="*/ 42 h 42"/>
                <a:gd name="T4" fmla="*/ 0 w 18"/>
                <a:gd name="T5" fmla="*/ 39 h 42"/>
                <a:gd name="T6" fmla="*/ 3 w 18"/>
                <a:gd name="T7" fmla="*/ 36 h 42"/>
                <a:gd name="T8" fmla="*/ 12 w 18"/>
                <a:gd name="T9" fmla="*/ 36 h 42"/>
                <a:gd name="T10" fmla="*/ 12 w 18"/>
                <a:gd name="T11" fmla="*/ 3 h 42"/>
                <a:gd name="T12" fmla="*/ 15 w 18"/>
                <a:gd name="T13" fmla="*/ 0 h 42"/>
                <a:gd name="T14" fmla="*/ 18 w 18"/>
                <a:gd name="T15" fmla="*/ 3 h 42"/>
                <a:gd name="T16" fmla="*/ 18 w 18"/>
                <a:gd name="T17" fmla="*/ 39 h 42"/>
                <a:gd name="T18" fmla="*/ 15 w 18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42">
                  <a:moveTo>
                    <a:pt x="15" y="42"/>
                  </a:moveTo>
                  <a:cubicBezTo>
                    <a:pt x="3" y="42"/>
                    <a:pt x="3" y="42"/>
                    <a:pt x="3" y="42"/>
                  </a:cubicBezTo>
                  <a:cubicBezTo>
                    <a:pt x="1" y="42"/>
                    <a:pt x="0" y="41"/>
                    <a:pt x="0" y="39"/>
                  </a:cubicBezTo>
                  <a:cubicBezTo>
                    <a:pt x="0" y="37"/>
                    <a:pt x="1" y="36"/>
                    <a:pt x="3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1"/>
                    <a:pt x="13" y="0"/>
                    <a:pt x="15" y="0"/>
                  </a:cubicBezTo>
                  <a:cubicBezTo>
                    <a:pt x="16" y="0"/>
                    <a:pt x="18" y="1"/>
                    <a:pt x="18" y="3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41"/>
                    <a:pt x="16" y="42"/>
                    <a:pt x="15" y="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7" name="Freeform 315">
              <a:extLst>
                <a:ext uri="{FF2B5EF4-FFF2-40B4-BE49-F238E27FC236}">
                  <a16:creationId xmlns:a16="http://schemas.microsoft.com/office/drawing/2014/main" id="{3C4B7BB0-259A-42AF-8CBD-278101762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5800" y="5426075"/>
              <a:ext cx="23813" cy="14288"/>
            </a:xfrm>
            <a:custGeom>
              <a:avLst/>
              <a:gdLst>
                <a:gd name="T0" fmla="*/ 7 w 10"/>
                <a:gd name="T1" fmla="*/ 6 h 6"/>
                <a:gd name="T2" fmla="*/ 3 w 10"/>
                <a:gd name="T3" fmla="*/ 6 h 6"/>
                <a:gd name="T4" fmla="*/ 0 w 10"/>
                <a:gd name="T5" fmla="*/ 3 h 6"/>
                <a:gd name="T6" fmla="*/ 3 w 10"/>
                <a:gd name="T7" fmla="*/ 0 h 6"/>
                <a:gd name="T8" fmla="*/ 7 w 10"/>
                <a:gd name="T9" fmla="*/ 0 h 6"/>
                <a:gd name="T10" fmla="*/ 10 w 10"/>
                <a:gd name="T11" fmla="*/ 3 h 6"/>
                <a:gd name="T12" fmla="*/ 7 w 1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6">
                  <a:moveTo>
                    <a:pt x="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10" y="1"/>
                    <a:pt x="10" y="3"/>
                  </a:cubicBezTo>
                  <a:cubicBezTo>
                    <a:pt x="10" y="5"/>
                    <a:pt x="8" y="6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8" name="Freeform 316">
              <a:extLst>
                <a:ext uri="{FF2B5EF4-FFF2-40B4-BE49-F238E27FC236}">
                  <a16:creationId xmlns:a16="http://schemas.microsoft.com/office/drawing/2014/main" id="{4EAE1E90-89B1-4155-98CB-9C055CECD7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7188" y="5094288"/>
              <a:ext cx="22225" cy="14288"/>
            </a:xfrm>
            <a:custGeom>
              <a:avLst/>
              <a:gdLst>
                <a:gd name="T0" fmla="*/ 7 w 10"/>
                <a:gd name="T1" fmla="*/ 6 h 6"/>
                <a:gd name="T2" fmla="*/ 3 w 10"/>
                <a:gd name="T3" fmla="*/ 6 h 6"/>
                <a:gd name="T4" fmla="*/ 0 w 10"/>
                <a:gd name="T5" fmla="*/ 3 h 6"/>
                <a:gd name="T6" fmla="*/ 3 w 10"/>
                <a:gd name="T7" fmla="*/ 0 h 6"/>
                <a:gd name="T8" fmla="*/ 7 w 10"/>
                <a:gd name="T9" fmla="*/ 0 h 6"/>
                <a:gd name="T10" fmla="*/ 10 w 10"/>
                <a:gd name="T11" fmla="*/ 3 h 6"/>
                <a:gd name="T12" fmla="*/ 7 w 1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6">
                  <a:moveTo>
                    <a:pt x="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10" y="1"/>
                    <a:pt x="10" y="3"/>
                  </a:cubicBezTo>
                  <a:cubicBezTo>
                    <a:pt x="10" y="5"/>
                    <a:pt x="8" y="6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cxnSp>
        <p:nvCxnSpPr>
          <p:cNvPr id="105" name="Прямая соединительная линия 104"/>
          <p:cNvCxnSpPr/>
          <p:nvPr/>
        </p:nvCxnSpPr>
        <p:spPr>
          <a:xfrm>
            <a:off x="7904182" y="3448563"/>
            <a:ext cx="3803021" cy="0"/>
          </a:xfrm>
          <a:prstGeom prst="line">
            <a:avLst/>
          </a:prstGeom>
          <a:ln w="6350">
            <a:solidFill>
              <a:srgbClr val="FE575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Box 107"/>
          <p:cNvSpPr txBox="1"/>
          <p:nvPr/>
        </p:nvSpPr>
        <p:spPr>
          <a:xfrm>
            <a:off x="8574422" y="1754413"/>
            <a:ext cx="3263300" cy="12157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Единая CIM-модель</a:t>
            </a:r>
          </a:p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Единые нотации</a:t>
            </a:r>
          </a:p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Единые модели</a:t>
            </a:r>
          </a:p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Единые справочники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8574422" y="3801414"/>
            <a:ext cx="3263300" cy="11387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Единый профиль компетенций</a:t>
            </a:r>
          </a:p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Единые требования к подготовке </a:t>
            </a:r>
            <a:r>
              <a:rPr lang="ru-RU" sz="1600" dirty="0" smtClean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(ВУЗы, </a:t>
            </a:r>
            <a:r>
              <a:rPr lang="ru-RU" sz="1600" dirty="0" err="1" smtClean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СУЗы</a:t>
            </a:r>
            <a:r>
              <a:rPr lang="ru-RU" sz="1600" dirty="0" smtClean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)</a:t>
            </a:r>
            <a:endParaRPr lang="ru-RU" sz="1600" dirty="0">
              <a:solidFill>
                <a:schemeClr val="bg2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Общая площадка обмена знаниями</a:t>
            </a:r>
          </a:p>
        </p:txBody>
      </p:sp>
      <p:sp>
        <p:nvSpPr>
          <p:cNvPr id="111" name="Овал 110"/>
          <p:cNvSpPr/>
          <p:nvPr/>
        </p:nvSpPr>
        <p:spPr>
          <a:xfrm>
            <a:off x="8350306" y="1830335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олилиния 16"/>
          <p:cNvSpPr/>
          <p:nvPr/>
        </p:nvSpPr>
        <p:spPr>
          <a:xfrm>
            <a:off x="6096978" y="1417862"/>
            <a:ext cx="5781675" cy="161925"/>
          </a:xfrm>
          <a:custGeom>
            <a:avLst/>
            <a:gdLst>
              <a:gd name="connsiteX0" fmla="*/ 0 w 5781675"/>
              <a:gd name="connsiteY0" fmla="*/ 161925 h 161925"/>
              <a:gd name="connsiteX1" fmla="*/ 0 w 5781675"/>
              <a:gd name="connsiteY1" fmla="*/ 0 h 161925"/>
              <a:gd name="connsiteX2" fmla="*/ 5781675 w 5781675"/>
              <a:gd name="connsiteY2" fmla="*/ 0 h 16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81675" h="161925">
                <a:moveTo>
                  <a:pt x="0" y="161925"/>
                </a:moveTo>
                <a:lnTo>
                  <a:pt x="0" y="0"/>
                </a:lnTo>
                <a:lnTo>
                  <a:pt x="5781675" y="0"/>
                </a:lnTo>
              </a:path>
            </a:pathLst>
          </a:custGeom>
          <a:noFill/>
          <a:ln w="6350">
            <a:solidFill>
              <a:srgbClr val="FE5757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9" name="TextBox 98"/>
          <p:cNvSpPr txBox="1"/>
          <p:nvPr/>
        </p:nvSpPr>
        <p:spPr>
          <a:xfrm>
            <a:off x="524110" y="282355"/>
            <a:ext cx="1120697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600" dirty="0">
                <a:latin typeface="+mn-lt"/>
              </a:rPr>
              <a:t>НАПРАВЛЕНИЯ КООПЕРАЦИИ</a:t>
            </a:r>
          </a:p>
        </p:txBody>
      </p:sp>
      <p:cxnSp>
        <p:nvCxnSpPr>
          <p:cNvPr id="100" name="Прямая соединительная линия 99"/>
          <p:cNvCxnSpPr/>
          <p:nvPr/>
        </p:nvCxnSpPr>
        <p:spPr>
          <a:xfrm>
            <a:off x="774441" y="3448563"/>
            <a:ext cx="3383871" cy="0"/>
          </a:xfrm>
          <a:prstGeom prst="line">
            <a:avLst/>
          </a:prstGeom>
          <a:ln w="6350">
            <a:solidFill>
              <a:srgbClr val="FE575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Box 101"/>
          <p:cNvSpPr txBox="1"/>
          <p:nvPr/>
        </p:nvSpPr>
        <p:spPr>
          <a:xfrm>
            <a:off x="1016314" y="3801414"/>
            <a:ext cx="3263300" cy="569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Единые нотации описания</a:t>
            </a:r>
          </a:p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Типовые библиотеки процессов</a:t>
            </a:r>
          </a:p>
        </p:txBody>
      </p:sp>
      <p:sp>
        <p:nvSpPr>
          <p:cNvPr id="106" name="Овал 105"/>
          <p:cNvSpPr/>
          <p:nvPr/>
        </p:nvSpPr>
        <p:spPr>
          <a:xfrm>
            <a:off x="8350306" y="2127920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9" name="Овал 108"/>
          <p:cNvSpPr/>
          <p:nvPr/>
        </p:nvSpPr>
        <p:spPr>
          <a:xfrm>
            <a:off x="8350306" y="2445560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2" name="Овал 111"/>
          <p:cNvSpPr/>
          <p:nvPr/>
        </p:nvSpPr>
        <p:spPr>
          <a:xfrm>
            <a:off x="8350306" y="2772466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3" name="Овал 112"/>
          <p:cNvSpPr/>
          <p:nvPr/>
        </p:nvSpPr>
        <p:spPr>
          <a:xfrm>
            <a:off x="8350306" y="3835700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4" name="Овал 113"/>
          <p:cNvSpPr/>
          <p:nvPr/>
        </p:nvSpPr>
        <p:spPr>
          <a:xfrm>
            <a:off x="8350306" y="4171785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5" name="Овал 114"/>
          <p:cNvSpPr/>
          <p:nvPr/>
        </p:nvSpPr>
        <p:spPr>
          <a:xfrm>
            <a:off x="8350306" y="4751201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6" name="Овал 135"/>
          <p:cNvSpPr/>
          <p:nvPr/>
        </p:nvSpPr>
        <p:spPr>
          <a:xfrm>
            <a:off x="792818" y="3853923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rgbClr val="FE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7" name="Овал 136"/>
          <p:cNvSpPr/>
          <p:nvPr/>
        </p:nvSpPr>
        <p:spPr>
          <a:xfrm>
            <a:off x="792818" y="4171784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rgbClr val="FE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5282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3">
            <a:extLst>
              <a:ext uri="{FF2B5EF4-FFF2-40B4-BE49-F238E27FC236}">
                <a16:creationId xmlns:a16="http://schemas.microsoft.com/office/drawing/2014/main" id="{AB4CCE72-D79B-49AD-9FAB-B8EBC4DF35E8}"/>
              </a:ext>
            </a:extLst>
          </p:cNvPr>
          <p:cNvSpPr/>
          <p:nvPr/>
        </p:nvSpPr>
        <p:spPr>
          <a:xfrm>
            <a:off x="6087653" y="1603200"/>
            <a:ext cx="1768763" cy="1768763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1905000 h 1905000"/>
              <a:gd name="connsiteX2" fmla="*/ 0 w 1905000"/>
              <a:gd name="connsiteY2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cubicBezTo>
                  <a:pt x="1052102" y="0"/>
                  <a:pt x="1905000" y="852898"/>
                  <a:pt x="1905000" y="1905000"/>
                </a:cubicBezTo>
                <a:lnTo>
                  <a:pt x="0" y="19050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4000" bIns="381000" rtlCol="0" anchor="b"/>
          <a:lstStyle/>
          <a:p>
            <a:r>
              <a:rPr lang="ru-RU" b="1" dirty="0">
                <a:solidFill>
                  <a:schemeClr val="bg2"/>
                </a:solidFill>
                <a:ea typeface="Roboto Light" charset="0"/>
                <a:cs typeface="Roboto Light" charset="0"/>
              </a:rPr>
              <a:t>ДАННЫЕ</a:t>
            </a:r>
            <a:endParaRPr lang="en-US" b="1" dirty="0">
              <a:solidFill>
                <a:schemeClr val="bg2"/>
              </a:solidFill>
              <a:ea typeface="Roboto Light" charset="0"/>
              <a:cs typeface="Roboto Light" charset="0"/>
            </a:endParaRPr>
          </a:p>
        </p:txBody>
      </p:sp>
      <p:sp>
        <p:nvSpPr>
          <p:cNvPr id="25" name="Freeform 4">
            <a:extLst>
              <a:ext uri="{FF2B5EF4-FFF2-40B4-BE49-F238E27FC236}">
                <a16:creationId xmlns:a16="http://schemas.microsoft.com/office/drawing/2014/main" id="{2BFD0D33-0296-4056-BCAD-B6CC527B68CE}"/>
              </a:ext>
            </a:extLst>
          </p:cNvPr>
          <p:cNvSpPr/>
          <p:nvPr/>
        </p:nvSpPr>
        <p:spPr>
          <a:xfrm>
            <a:off x="4242290" y="3448563"/>
            <a:ext cx="1768763" cy="1768763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1905000 w 1905000"/>
              <a:gd name="connsiteY2" fmla="*/ 1905000 h 1905000"/>
              <a:gd name="connsiteX3" fmla="*/ 0 w 1905000"/>
              <a:gd name="connsiteY3" fmla="*/ 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lnTo>
                  <a:pt x="1905000" y="1905000"/>
                </a:lnTo>
                <a:cubicBezTo>
                  <a:pt x="852898" y="1905000"/>
                  <a:pt x="0" y="1052102"/>
                  <a:pt x="0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381000" rIns="254000" rtlCol="0" anchor="t"/>
          <a:lstStyle/>
          <a:p>
            <a:pPr algn="r"/>
            <a:r>
              <a:rPr lang="ru-RU" b="1" dirty="0">
                <a:solidFill>
                  <a:schemeClr val="bg2"/>
                </a:solidFill>
                <a:ea typeface="Roboto Light" charset="0"/>
                <a:cs typeface="Roboto Light" charset="0"/>
              </a:rPr>
              <a:t>ПРОЦЕССЫ</a:t>
            </a:r>
            <a:endParaRPr lang="en-US" b="1" dirty="0">
              <a:solidFill>
                <a:schemeClr val="bg2"/>
              </a:solidFill>
              <a:ea typeface="Roboto Light" charset="0"/>
              <a:cs typeface="Roboto Light" charset="0"/>
            </a:endParaRPr>
          </a:p>
        </p:txBody>
      </p:sp>
      <p:sp>
        <p:nvSpPr>
          <p:cNvPr id="26" name="Freeform 5">
            <a:extLst>
              <a:ext uri="{FF2B5EF4-FFF2-40B4-BE49-F238E27FC236}">
                <a16:creationId xmlns:a16="http://schemas.microsoft.com/office/drawing/2014/main" id="{471E4F6C-4A00-45D5-91C5-4D951E1E69A0}"/>
              </a:ext>
            </a:extLst>
          </p:cNvPr>
          <p:cNvSpPr/>
          <p:nvPr/>
        </p:nvSpPr>
        <p:spPr>
          <a:xfrm>
            <a:off x="6087653" y="3448563"/>
            <a:ext cx="1768763" cy="1768763"/>
          </a:xfrm>
          <a:custGeom>
            <a:avLst/>
            <a:gdLst>
              <a:gd name="connsiteX0" fmla="*/ 0 w 1905000"/>
              <a:gd name="connsiteY0" fmla="*/ 0 h 1905000"/>
              <a:gd name="connsiteX1" fmla="*/ 1905000 w 1905000"/>
              <a:gd name="connsiteY1" fmla="*/ 0 h 1905000"/>
              <a:gd name="connsiteX2" fmla="*/ 0 w 1905000"/>
              <a:gd name="connsiteY2" fmla="*/ 190500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05000" h="1905000">
                <a:moveTo>
                  <a:pt x="0" y="0"/>
                </a:moveTo>
                <a:lnTo>
                  <a:pt x="1905000" y="0"/>
                </a:lnTo>
                <a:cubicBezTo>
                  <a:pt x="1905000" y="1052102"/>
                  <a:pt x="1052102" y="1905000"/>
                  <a:pt x="0" y="190500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54000" tIns="381000" bIns="381000" rtlCol="0" anchor="t"/>
          <a:lstStyle/>
          <a:p>
            <a:r>
              <a:rPr lang="ru-RU" b="1" dirty="0">
                <a:solidFill>
                  <a:schemeClr val="bg2"/>
                </a:solidFill>
                <a:ea typeface="Roboto Light" charset="0"/>
                <a:cs typeface="Roboto Light" charset="0"/>
              </a:rPr>
              <a:t>КАДРЫ, КУЛЬТУРА</a:t>
            </a:r>
            <a:endParaRPr lang="en-US" b="1" dirty="0">
              <a:solidFill>
                <a:schemeClr val="bg2"/>
              </a:solidFill>
              <a:ea typeface="Roboto Light" charset="0"/>
              <a:cs typeface="Roboto Light" charset="0"/>
            </a:endParaRPr>
          </a:p>
        </p:txBody>
      </p:sp>
      <p:sp>
        <p:nvSpPr>
          <p:cNvPr id="27" name="Freeform 2">
            <a:extLst>
              <a:ext uri="{FF2B5EF4-FFF2-40B4-BE49-F238E27FC236}">
                <a16:creationId xmlns:a16="http://schemas.microsoft.com/office/drawing/2014/main" id="{9F8BEA46-D0C7-4BA6-88E2-80A0B610E7CA}"/>
              </a:ext>
            </a:extLst>
          </p:cNvPr>
          <p:cNvSpPr>
            <a:spLocks/>
          </p:cNvSpPr>
          <p:nvPr/>
        </p:nvSpPr>
        <p:spPr>
          <a:xfrm>
            <a:off x="4242290" y="1603200"/>
            <a:ext cx="1768763" cy="1768763"/>
          </a:xfrm>
          <a:custGeom>
            <a:avLst/>
            <a:gdLst>
              <a:gd name="connsiteX0" fmla="*/ 1905000 w 1905000"/>
              <a:gd name="connsiteY0" fmla="*/ 0 h 1905000"/>
              <a:gd name="connsiteX1" fmla="*/ 1905000 w 1905000"/>
              <a:gd name="connsiteY1" fmla="*/ 1905000 h 1905000"/>
              <a:gd name="connsiteX2" fmla="*/ 0 w 1905000"/>
              <a:gd name="connsiteY2" fmla="*/ 1905000 h 1905000"/>
              <a:gd name="connsiteX3" fmla="*/ 1905000 w 1905000"/>
              <a:gd name="connsiteY3" fmla="*/ 0 h 190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000" h="1905000">
                <a:moveTo>
                  <a:pt x="1905000" y="0"/>
                </a:moveTo>
                <a:lnTo>
                  <a:pt x="1905000" y="1905000"/>
                </a:lnTo>
                <a:lnTo>
                  <a:pt x="0" y="1905000"/>
                </a:lnTo>
                <a:cubicBezTo>
                  <a:pt x="0" y="852898"/>
                  <a:pt x="852898" y="0"/>
                  <a:pt x="1905000" y="0"/>
                </a:cubicBezTo>
                <a:close/>
              </a:path>
            </a:pathLst>
          </a:custGeom>
          <a:solidFill>
            <a:srgbClr val="FF2649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254000" bIns="381000" rtlCol="0" anchor="b"/>
          <a:lstStyle/>
          <a:p>
            <a:pPr algn="r"/>
            <a:r>
              <a:rPr lang="ru-RU" b="1" dirty="0">
                <a:solidFill>
                  <a:schemeClr val="bg1"/>
                </a:solidFill>
                <a:ea typeface="Roboto Light" charset="0"/>
                <a:cs typeface="Roboto Light" charset="0"/>
              </a:rPr>
              <a:t>ТЕХНОЛОГИИ</a:t>
            </a:r>
            <a:endParaRPr lang="en-US" b="1" dirty="0">
              <a:solidFill>
                <a:schemeClr val="bg1"/>
              </a:solidFill>
              <a:ea typeface="Roboto Light" charset="0"/>
              <a:cs typeface="Roboto Light" charset="0"/>
            </a:endParaRPr>
          </a:p>
        </p:txBody>
      </p: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2F25CFDF-790E-46D8-AF04-BA70097308DA}"/>
              </a:ext>
            </a:extLst>
          </p:cNvPr>
          <p:cNvGrpSpPr/>
          <p:nvPr/>
        </p:nvGrpSpPr>
        <p:grpSpPr>
          <a:xfrm>
            <a:off x="5042286" y="4370166"/>
            <a:ext cx="483785" cy="332089"/>
            <a:chOff x="3978276" y="1422401"/>
            <a:chExt cx="749301" cy="514350"/>
          </a:xfrm>
          <a:solidFill>
            <a:schemeClr val="bg2"/>
          </a:solidFill>
        </p:grpSpPr>
        <p:sp>
          <p:nvSpPr>
            <p:cNvPr id="29" name="Freeform 280">
              <a:extLst>
                <a:ext uri="{FF2B5EF4-FFF2-40B4-BE49-F238E27FC236}">
                  <a16:creationId xmlns:a16="http://schemas.microsoft.com/office/drawing/2014/main" id="{7CE0D451-532B-4D95-830A-90B8361DCF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78276" y="1422401"/>
              <a:ext cx="349250" cy="346075"/>
            </a:xfrm>
            <a:custGeom>
              <a:avLst/>
              <a:gdLst>
                <a:gd name="T0" fmla="*/ 92 w 151"/>
                <a:gd name="T1" fmla="*/ 147 h 149"/>
                <a:gd name="T2" fmla="*/ 63 w 151"/>
                <a:gd name="T3" fmla="*/ 131 h 149"/>
                <a:gd name="T4" fmla="*/ 52 w 151"/>
                <a:gd name="T5" fmla="*/ 148 h 149"/>
                <a:gd name="T6" fmla="*/ 34 w 151"/>
                <a:gd name="T7" fmla="*/ 140 h 149"/>
                <a:gd name="T8" fmla="*/ 41 w 151"/>
                <a:gd name="T9" fmla="*/ 122 h 149"/>
                <a:gd name="T10" fmla="*/ 10 w 151"/>
                <a:gd name="T11" fmla="*/ 111 h 149"/>
                <a:gd name="T12" fmla="*/ 0 w 151"/>
                <a:gd name="T13" fmla="*/ 92 h 149"/>
                <a:gd name="T14" fmla="*/ 2 w 151"/>
                <a:gd name="T15" fmla="*/ 89 h 149"/>
                <a:gd name="T16" fmla="*/ 18 w 151"/>
                <a:gd name="T17" fmla="*/ 62 h 149"/>
                <a:gd name="T18" fmla="*/ 1 w 151"/>
                <a:gd name="T19" fmla="*/ 51 h 149"/>
                <a:gd name="T20" fmla="*/ 10 w 151"/>
                <a:gd name="T21" fmla="*/ 34 h 149"/>
                <a:gd name="T22" fmla="*/ 28 w 151"/>
                <a:gd name="T23" fmla="*/ 41 h 149"/>
                <a:gd name="T24" fmla="*/ 36 w 151"/>
                <a:gd name="T25" fmla="*/ 11 h 149"/>
                <a:gd name="T26" fmla="*/ 38 w 151"/>
                <a:gd name="T27" fmla="*/ 7 h 149"/>
                <a:gd name="T28" fmla="*/ 58 w 151"/>
                <a:gd name="T29" fmla="*/ 2 h 149"/>
                <a:gd name="T30" fmla="*/ 88 w 151"/>
                <a:gd name="T31" fmla="*/ 18 h 149"/>
                <a:gd name="T32" fmla="*/ 98 w 151"/>
                <a:gd name="T33" fmla="*/ 1 h 149"/>
                <a:gd name="T34" fmla="*/ 116 w 151"/>
                <a:gd name="T35" fmla="*/ 10 h 149"/>
                <a:gd name="T36" fmla="*/ 109 w 151"/>
                <a:gd name="T37" fmla="*/ 28 h 149"/>
                <a:gd name="T38" fmla="*/ 141 w 151"/>
                <a:gd name="T39" fmla="*/ 39 h 149"/>
                <a:gd name="T40" fmla="*/ 150 w 151"/>
                <a:gd name="T41" fmla="*/ 57 h 149"/>
                <a:gd name="T42" fmla="*/ 148 w 151"/>
                <a:gd name="T43" fmla="*/ 61 h 149"/>
                <a:gd name="T44" fmla="*/ 132 w 151"/>
                <a:gd name="T45" fmla="*/ 87 h 149"/>
                <a:gd name="T46" fmla="*/ 149 w 151"/>
                <a:gd name="T47" fmla="*/ 96 h 149"/>
                <a:gd name="T48" fmla="*/ 142 w 151"/>
                <a:gd name="T49" fmla="*/ 114 h 149"/>
                <a:gd name="T50" fmla="*/ 122 w 151"/>
                <a:gd name="T51" fmla="*/ 109 h 149"/>
                <a:gd name="T52" fmla="*/ 114 w 151"/>
                <a:gd name="T53" fmla="*/ 139 h 149"/>
                <a:gd name="T54" fmla="*/ 112 w 151"/>
                <a:gd name="T55" fmla="*/ 143 h 149"/>
                <a:gd name="T56" fmla="*/ 95 w 151"/>
                <a:gd name="T57" fmla="*/ 149 h 149"/>
                <a:gd name="T58" fmla="*/ 90 w 151"/>
                <a:gd name="T59" fmla="*/ 127 h 149"/>
                <a:gd name="T60" fmla="*/ 107 w 151"/>
                <a:gd name="T61" fmla="*/ 138 h 149"/>
                <a:gd name="T62" fmla="*/ 102 w 151"/>
                <a:gd name="T63" fmla="*/ 119 h 149"/>
                <a:gd name="T64" fmla="*/ 122 w 151"/>
                <a:gd name="T65" fmla="*/ 102 h 149"/>
                <a:gd name="T66" fmla="*/ 142 w 151"/>
                <a:gd name="T67" fmla="*/ 98 h 149"/>
                <a:gd name="T68" fmla="*/ 125 w 151"/>
                <a:gd name="T69" fmla="*/ 88 h 149"/>
                <a:gd name="T70" fmla="*/ 128 w 151"/>
                <a:gd name="T71" fmla="*/ 62 h 149"/>
                <a:gd name="T72" fmla="*/ 140 w 151"/>
                <a:gd name="T73" fmla="*/ 45 h 149"/>
                <a:gd name="T74" fmla="*/ 121 w 151"/>
                <a:gd name="T75" fmla="*/ 50 h 149"/>
                <a:gd name="T76" fmla="*/ 102 w 151"/>
                <a:gd name="T77" fmla="*/ 27 h 149"/>
                <a:gd name="T78" fmla="*/ 99 w 151"/>
                <a:gd name="T79" fmla="*/ 8 h 149"/>
                <a:gd name="T80" fmla="*/ 89 w 151"/>
                <a:gd name="T81" fmla="*/ 24 h 149"/>
                <a:gd name="T82" fmla="*/ 60 w 151"/>
                <a:gd name="T83" fmla="*/ 22 h 149"/>
                <a:gd name="T84" fmla="*/ 43 w 151"/>
                <a:gd name="T85" fmla="*/ 11 h 149"/>
                <a:gd name="T86" fmla="*/ 48 w 151"/>
                <a:gd name="T87" fmla="*/ 30 h 149"/>
                <a:gd name="T88" fmla="*/ 28 w 151"/>
                <a:gd name="T89" fmla="*/ 47 h 149"/>
                <a:gd name="T90" fmla="*/ 8 w 151"/>
                <a:gd name="T91" fmla="*/ 51 h 149"/>
                <a:gd name="T92" fmla="*/ 25 w 151"/>
                <a:gd name="T93" fmla="*/ 61 h 149"/>
                <a:gd name="T94" fmla="*/ 22 w 151"/>
                <a:gd name="T95" fmla="*/ 88 h 149"/>
                <a:gd name="T96" fmla="*/ 10 w 151"/>
                <a:gd name="T97" fmla="*/ 104 h 149"/>
                <a:gd name="T98" fmla="*/ 29 w 151"/>
                <a:gd name="T99" fmla="*/ 100 h 149"/>
                <a:gd name="T100" fmla="*/ 48 w 151"/>
                <a:gd name="T101" fmla="*/ 122 h 149"/>
                <a:gd name="T102" fmla="*/ 51 w 151"/>
                <a:gd name="T103" fmla="*/ 142 h 149"/>
                <a:gd name="T104" fmla="*/ 62 w 151"/>
                <a:gd name="T105" fmla="*/ 125 h 149"/>
                <a:gd name="T106" fmla="*/ 87 w 151"/>
                <a:gd name="T107" fmla="*/ 125 h 149"/>
                <a:gd name="T108" fmla="*/ 68 w 151"/>
                <a:gd name="T109" fmla="*/ 106 h 149"/>
                <a:gd name="T110" fmla="*/ 44 w 151"/>
                <a:gd name="T111" fmla="*/ 67 h 149"/>
                <a:gd name="T112" fmla="*/ 82 w 151"/>
                <a:gd name="T113" fmla="*/ 43 h 149"/>
                <a:gd name="T114" fmla="*/ 106 w 151"/>
                <a:gd name="T115" fmla="*/ 82 h 149"/>
                <a:gd name="T116" fmla="*/ 69 w 151"/>
                <a:gd name="T117" fmla="*/ 100 h 149"/>
                <a:gd name="T118" fmla="*/ 101 w 151"/>
                <a:gd name="T119" fmla="*/ 81 h 149"/>
                <a:gd name="T120" fmla="*/ 81 w 151"/>
                <a:gd name="T121" fmla="*/ 49 h 149"/>
                <a:gd name="T122" fmla="*/ 49 w 151"/>
                <a:gd name="T123" fmla="*/ 6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" h="149">
                  <a:moveTo>
                    <a:pt x="95" y="149"/>
                  </a:moveTo>
                  <a:cubicBezTo>
                    <a:pt x="94" y="149"/>
                    <a:pt x="92" y="149"/>
                    <a:pt x="92" y="147"/>
                  </a:cubicBezTo>
                  <a:cubicBezTo>
                    <a:pt x="86" y="132"/>
                    <a:pt x="86" y="132"/>
                    <a:pt x="86" y="132"/>
                  </a:cubicBezTo>
                  <a:cubicBezTo>
                    <a:pt x="78" y="133"/>
                    <a:pt x="70" y="133"/>
                    <a:pt x="63" y="131"/>
                  </a:cubicBezTo>
                  <a:cubicBezTo>
                    <a:pt x="56" y="147"/>
                    <a:pt x="56" y="147"/>
                    <a:pt x="56" y="147"/>
                  </a:cubicBezTo>
                  <a:cubicBezTo>
                    <a:pt x="55" y="148"/>
                    <a:pt x="53" y="149"/>
                    <a:pt x="52" y="148"/>
                  </a:cubicBezTo>
                  <a:cubicBezTo>
                    <a:pt x="36" y="141"/>
                    <a:pt x="36" y="141"/>
                    <a:pt x="36" y="141"/>
                  </a:cubicBezTo>
                  <a:cubicBezTo>
                    <a:pt x="35" y="141"/>
                    <a:pt x="35" y="140"/>
                    <a:pt x="34" y="140"/>
                  </a:cubicBezTo>
                  <a:cubicBezTo>
                    <a:pt x="34" y="139"/>
                    <a:pt x="34" y="138"/>
                    <a:pt x="34" y="137"/>
                  </a:cubicBezTo>
                  <a:cubicBezTo>
                    <a:pt x="41" y="122"/>
                    <a:pt x="41" y="122"/>
                    <a:pt x="41" y="122"/>
                  </a:cubicBezTo>
                  <a:cubicBezTo>
                    <a:pt x="35" y="117"/>
                    <a:pt x="30" y="112"/>
                    <a:pt x="26" y="105"/>
                  </a:cubicBezTo>
                  <a:cubicBezTo>
                    <a:pt x="10" y="111"/>
                    <a:pt x="10" y="111"/>
                    <a:pt x="10" y="111"/>
                  </a:cubicBezTo>
                  <a:cubicBezTo>
                    <a:pt x="8" y="111"/>
                    <a:pt x="6" y="110"/>
                    <a:pt x="6" y="109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2"/>
                    <a:pt x="0" y="91"/>
                    <a:pt x="0" y="90"/>
                  </a:cubicBezTo>
                  <a:cubicBezTo>
                    <a:pt x="0" y="89"/>
                    <a:pt x="1" y="89"/>
                    <a:pt x="2" y="89"/>
                  </a:cubicBezTo>
                  <a:cubicBezTo>
                    <a:pt x="18" y="83"/>
                    <a:pt x="18" y="83"/>
                    <a:pt x="18" y="83"/>
                  </a:cubicBezTo>
                  <a:cubicBezTo>
                    <a:pt x="17" y="76"/>
                    <a:pt x="17" y="69"/>
                    <a:pt x="18" y="62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1" y="55"/>
                    <a:pt x="1" y="53"/>
                    <a:pt x="1" y="51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9" y="35"/>
                    <a:pt x="9" y="34"/>
                    <a:pt x="10" y="34"/>
                  </a:cubicBezTo>
                  <a:cubicBezTo>
                    <a:pt x="11" y="34"/>
                    <a:pt x="12" y="34"/>
                    <a:pt x="12" y="34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32" y="35"/>
                    <a:pt x="37" y="30"/>
                    <a:pt x="43" y="26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6" y="10"/>
                    <a:pt x="36" y="9"/>
                    <a:pt x="36" y="8"/>
                  </a:cubicBezTo>
                  <a:cubicBezTo>
                    <a:pt x="37" y="8"/>
                    <a:pt x="37" y="7"/>
                    <a:pt x="38" y="7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6" y="0"/>
                    <a:pt x="57" y="0"/>
                    <a:pt x="58" y="2"/>
                  </a:cubicBezTo>
                  <a:cubicBezTo>
                    <a:pt x="65" y="18"/>
                    <a:pt x="65" y="18"/>
                    <a:pt x="65" y="18"/>
                  </a:cubicBezTo>
                  <a:cubicBezTo>
                    <a:pt x="72" y="16"/>
                    <a:pt x="80" y="16"/>
                    <a:pt x="88" y="18"/>
                  </a:cubicBezTo>
                  <a:cubicBezTo>
                    <a:pt x="95" y="2"/>
                    <a:pt x="95" y="2"/>
                    <a:pt x="95" y="2"/>
                  </a:cubicBezTo>
                  <a:cubicBezTo>
                    <a:pt x="95" y="1"/>
                    <a:pt x="97" y="0"/>
                    <a:pt x="98" y="1"/>
                  </a:cubicBezTo>
                  <a:cubicBezTo>
                    <a:pt x="114" y="8"/>
                    <a:pt x="114" y="8"/>
                    <a:pt x="114" y="8"/>
                  </a:cubicBezTo>
                  <a:cubicBezTo>
                    <a:pt x="115" y="8"/>
                    <a:pt x="116" y="9"/>
                    <a:pt x="116" y="10"/>
                  </a:cubicBezTo>
                  <a:cubicBezTo>
                    <a:pt x="116" y="10"/>
                    <a:pt x="116" y="11"/>
                    <a:pt x="116" y="12"/>
                  </a:cubicBezTo>
                  <a:cubicBezTo>
                    <a:pt x="109" y="28"/>
                    <a:pt x="109" y="28"/>
                    <a:pt x="109" y="28"/>
                  </a:cubicBezTo>
                  <a:cubicBezTo>
                    <a:pt x="115" y="32"/>
                    <a:pt x="121" y="38"/>
                    <a:pt x="125" y="44"/>
                  </a:cubicBezTo>
                  <a:cubicBezTo>
                    <a:pt x="141" y="39"/>
                    <a:pt x="141" y="39"/>
                    <a:pt x="141" y="39"/>
                  </a:cubicBezTo>
                  <a:cubicBezTo>
                    <a:pt x="142" y="38"/>
                    <a:pt x="144" y="39"/>
                    <a:pt x="144" y="41"/>
                  </a:cubicBezTo>
                  <a:cubicBezTo>
                    <a:pt x="150" y="57"/>
                    <a:pt x="150" y="57"/>
                    <a:pt x="150" y="57"/>
                  </a:cubicBezTo>
                  <a:cubicBezTo>
                    <a:pt x="151" y="58"/>
                    <a:pt x="151" y="58"/>
                    <a:pt x="150" y="59"/>
                  </a:cubicBezTo>
                  <a:cubicBezTo>
                    <a:pt x="150" y="60"/>
                    <a:pt x="149" y="60"/>
                    <a:pt x="148" y="61"/>
                  </a:cubicBezTo>
                  <a:cubicBezTo>
                    <a:pt x="132" y="66"/>
                    <a:pt x="132" y="66"/>
                    <a:pt x="132" y="66"/>
                  </a:cubicBezTo>
                  <a:cubicBezTo>
                    <a:pt x="133" y="73"/>
                    <a:pt x="133" y="80"/>
                    <a:pt x="132" y="87"/>
                  </a:cubicBezTo>
                  <a:cubicBezTo>
                    <a:pt x="147" y="94"/>
                    <a:pt x="147" y="94"/>
                    <a:pt x="147" y="94"/>
                  </a:cubicBezTo>
                  <a:cubicBezTo>
                    <a:pt x="148" y="94"/>
                    <a:pt x="149" y="95"/>
                    <a:pt x="149" y="96"/>
                  </a:cubicBezTo>
                  <a:cubicBezTo>
                    <a:pt x="149" y="97"/>
                    <a:pt x="149" y="97"/>
                    <a:pt x="149" y="98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1" y="115"/>
                    <a:pt x="139" y="116"/>
                    <a:pt x="138" y="115"/>
                  </a:cubicBezTo>
                  <a:cubicBezTo>
                    <a:pt x="122" y="109"/>
                    <a:pt x="122" y="109"/>
                    <a:pt x="122" y="109"/>
                  </a:cubicBezTo>
                  <a:cubicBezTo>
                    <a:pt x="118" y="114"/>
                    <a:pt x="113" y="119"/>
                    <a:pt x="107" y="123"/>
                  </a:cubicBezTo>
                  <a:cubicBezTo>
                    <a:pt x="114" y="139"/>
                    <a:pt x="114" y="139"/>
                    <a:pt x="114" y="139"/>
                  </a:cubicBezTo>
                  <a:cubicBezTo>
                    <a:pt x="114" y="139"/>
                    <a:pt x="114" y="140"/>
                    <a:pt x="114" y="141"/>
                  </a:cubicBezTo>
                  <a:cubicBezTo>
                    <a:pt x="113" y="142"/>
                    <a:pt x="113" y="142"/>
                    <a:pt x="112" y="143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6" y="149"/>
                    <a:pt x="95" y="149"/>
                    <a:pt x="95" y="149"/>
                  </a:cubicBezTo>
                  <a:close/>
                  <a:moveTo>
                    <a:pt x="87" y="125"/>
                  </a:moveTo>
                  <a:cubicBezTo>
                    <a:pt x="89" y="125"/>
                    <a:pt x="90" y="126"/>
                    <a:pt x="90" y="127"/>
                  </a:cubicBezTo>
                  <a:cubicBezTo>
                    <a:pt x="96" y="142"/>
                    <a:pt x="96" y="142"/>
                    <a:pt x="96" y="142"/>
                  </a:cubicBezTo>
                  <a:cubicBezTo>
                    <a:pt x="107" y="138"/>
                    <a:pt x="107" y="138"/>
                    <a:pt x="107" y="138"/>
                  </a:cubicBezTo>
                  <a:cubicBezTo>
                    <a:pt x="101" y="123"/>
                    <a:pt x="101" y="123"/>
                    <a:pt x="101" y="123"/>
                  </a:cubicBezTo>
                  <a:cubicBezTo>
                    <a:pt x="100" y="121"/>
                    <a:pt x="101" y="120"/>
                    <a:pt x="102" y="119"/>
                  </a:cubicBezTo>
                  <a:cubicBezTo>
                    <a:pt x="109" y="115"/>
                    <a:pt x="114" y="110"/>
                    <a:pt x="119" y="103"/>
                  </a:cubicBezTo>
                  <a:cubicBezTo>
                    <a:pt x="119" y="102"/>
                    <a:pt x="121" y="101"/>
                    <a:pt x="122" y="102"/>
                  </a:cubicBezTo>
                  <a:cubicBezTo>
                    <a:pt x="137" y="109"/>
                    <a:pt x="137" y="109"/>
                    <a:pt x="137" y="109"/>
                  </a:cubicBezTo>
                  <a:cubicBezTo>
                    <a:pt x="142" y="98"/>
                    <a:pt x="142" y="98"/>
                    <a:pt x="142" y="98"/>
                  </a:cubicBezTo>
                  <a:cubicBezTo>
                    <a:pt x="127" y="92"/>
                    <a:pt x="127" y="92"/>
                    <a:pt x="127" y="92"/>
                  </a:cubicBezTo>
                  <a:cubicBezTo>
                    <a:pt x="126" y="91"/>
                    <a:pt x="125" y="90"/>
                    <a:pt x="125" y="88"/>
                  </a:cubicBezTo>
                  <a:cubicBezTo>
                    <a:pt x="127" y="81"/>
                    <a:pt x="128" y="73"/>
                    <a:pt x="126" y="65"/>
                  </a:cubicBezTo>
                  <a:cubicBezTo>
                    <a:pt x="126" y="64"/>
                    <a:pt x="127" y="62"/>
                    <a:pt x="128" y="62"/>
                  </a:cubicBezTo>
                  <a:cubicBezTo>
                    <a:pt x="144" y="56"/>
                    <a:pt x="144" y="56"/>
                    <a:pt x="144" y="56"/>
                  </a:cubicBezTo>
                  <a:cubicBezTo>
                    <a:pt x="140" y="45"/>
                    <a:pt x="140" y="45"/>
                    <a:pt x="140" y="45"/>
                  </a:cubicBezTo>
                  <a:cubicBezTo>
                    <a:pt x="124" y="51"/>
                    <a:pt x="124" y="51"/>
                    <a:pt x="124" y="51"/>
                  </a:cubicBezTo>
                  <a:cubicBezTo>
                    <a:pt x="123" y="51"/>
                    <a:pt x="121" y="51"/>
                    <a:pt x="121" y="50"/>
                  </a:cubicBezTo>
                  <a:cubicBezTo>
                    <a:pt x="116" y="42"/>
                    <a:pt x="111" y="36"/>
                    <a:pt x="103" y="31"/>
                  </a:cubicBezTo>
                  <a:cubicBezTo>
                    <a:pt x="102" y="30"/>
                    <a:pt x="102" y="29"/>
                    <a:pt x="102" y="27"/>
                  </a:cubicBezTo>
                  <a:cubicBezTo>
                    <a:pt x="109" y="12"/>
                    <a:pt x="109" y="12"/>
                    <a:pt x="109" y="12"/>
                  </a:cubicBezTo>
                  <a:cubicBezTo>
                    <a:pt x="99" y="8"/>
                    <a:pt x="99" y="8"/>
                    <a:pt x="99" y="8"/>
                  </a:cubicBezTo>
                  <a:cubicBezTo>
                    <a:pt x="92" y="23"/>
                    <a:pt x="92" y="23"/>
                    <a:pt x="92" y="23"/>
                  </a:cubicBezTo>
                  <a:cubicBezTo>
                    <a:pt x="91" y="24"/>
                    <a:pt x="90" y="25"/>
                    <a:pt x="89" y="24"/>
                  </a:cubicBezTo>
                  <a:cubicBezTo>
                    <a:pt x="80" y="22"/>
                    <a:pt x="72" y="22"/>
                    <a:pt x="63" y="24"/>
                  </a:cubicBezTo>
                  <a:cubicBezTo>
                    <a:pt x="62" y="24"/>
                    <a:pt x="60" y="24"/>
                    <a:pt x="60" y="22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50" y="28"/>
                    <a:pt x="49" y="29"/>
                    <a:pt x="48" y="30"/>
                  </a:cubicBezTo>
                  <a:cubicBezTo>
                    <a:pt x="41" y="34"/>
                    <a:pt x="36" y="40"/>
                    <a:pt x="32" y="46"/>
                  </a:cubicBezTo>
                  <a:cubicBezTo>
                    <a:pt x="31" y="47"/>
                    <a:pt x="29" y="48"/>
                    <a:pt x="28" y="47"/>
                  </a:cubicBezTo>
                  <a:cubicBezTo>
                    <a:pt x="13" y="41"/>
                    <a:pt x="13" y="41"/>
                    <a:pt x="13" y="4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4" y="58"/>
                    <a:pt x="25" y="60"/>
                    <a:pt x="25" y="61"/>
                  </a:cubicBezTo>
                  <a:cubicBezTo>
                    <a:pt x="23" y="69"/>
                    <a:pt x="22" y="77"/>
                    <a:pt x="24" y="84"/>
                  </a:cubicBezTo>
                  <a:cubicBezTo>
                    <a:pt x="24" y="86"/>
                    <a:pt x="23" y="87"/>
                    <a:pt x="22" y="88"/>
                  </a:cubicBezTo>
                  <a:cubicBezTo>
                    <a:pt x="6" y="93"/>
                    <a:pt x="6" y="93"/>
                    <a:pt x="6" y="93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26" y="98"/>
                    <a:pt x="26" y="98"/>
                    <a:pt x="26" y="98"/>
                  </a:cubicBezTo>
                  <a:cubicBezTo>
                    <a:pt x="27" y="98"/>
                    <a:pt x="29" y="98"/>
                    <a:pt x="29" y="100"/>
                  </a:cubicBezTo>
                  <a:cubicBezTo>
                    <a:pt x="34" y="107"/>
                    <a:pt x="40" y="114"/>
                    <a:pt x="47" y="118"/>
                  </a:cubicBezTo>
                  <a:cubicBezTo>
                    <a:pt x="48" y="119"/>
                    <a:pt x="48" y="121"/>
                    <a:pt x="48" y="122"/>
                  </a:cubicBezTo>
                  <a:cubicBezTo>
                    <a:pt x="41" y="137"/>
                    <a:pt x="41" y="137"/>
                    <a:pt x="41" y="137"/>
                  </a:cubicBezTo>
                  <a:cubicBezTo>
                    <a:pt x="51" y="142"/>
                    <a:pt x="51" y="142"/>
                    <a:pt x="51" y="142"/>
                  </a:cubicBezTo>
                  <a:cubicBezTo>
                    <a:pt x="58" y="127"/>
                    <a:pt x="58" y="127"/>
                    <a:pt x="58" y="127"/>
                  </a:cubicBezTo>
                  <a:cubicBezTo>
                    <a:pt x="59" y="125"/>
                    <a:pt x="60" y="125"/>
                    <a:pt x="62" y="125"/>
                  </a:cubicBezTo>
                  <a:cubicBezTo>
                    <a:pt x="70" y="127"/>
                    <a:pt x="79" y="127"/>
                    <a:pt x="87" y="125"/>
                  </a:cubicBezTo>
                  <a:cubicBezTo>
                    <a:pt x="87" y="125"/>
                    <a:pt x="87" y="125"/>
                    <a:pt x="87" y="125"/>
                  </a:cubicBezTo>
                  <a:close/>
                  <a:moveTo>
                    <a:pt x="75" y="107"/>
                  </a:moveTo>
                  <a:cubicBezTo>
                    <a:pt x="73" y="107"/>
                    <a:pt x="70" y="107"/>
                    <a:pt x="68" y="106"/>
                  </a:cubicBezTo>
                  <a:cubicBezTo>
                    <a:pt x="68" y="106"/>
                    <a:pt x="68" y="106"/>
                    <a:pt x="68" y="106"/>
                  </a:cubicBezTo>
                  <a:cubicBezTo>
                    <a:pt x="50" y="102"/>
                    <a:pt x="40" y="85"/>
                    <a:pt x="44" y="67"/>
                  </a:cubicBezTo>
                  <a:cubicBezTo>
                    <a:pt x="46" y="59"/>
                    <a:pt x="51" y="52"/>
                    <a:pt x="58" y="47"/>
                  </a:cubicBezTo>
                  <a:cubicBezTo>
                    <a:pt x="65" y="43"/>
                    <a:pt x="74" y="41"/>
                    <a:pt x="82" y="43"/>
                  </a:cubicBezTo>
                  <a:cubicBezTo>
                    <a:pt x="91" y="45"/>
                    <a:pt x="98" y="50"/>
                    <a:pt x="102" y="58"/>
                  </a:cubicBezTo>
                  <a:cubicBezTo>
                    <a:pt x="107" y="65"/>
                    <a:pt x="108" y="74"/>
                    <a:pt x="106" y="82"/>
                  </a:cubicBezTo>
                  <a:cubicBezTo>
                    <a:pt x="103" y="97"/>
                    <a:pt x="90" y="107"/>
                    <a:pt x="75" y="107"/>
                  </a:cubicBezTo>
                  <a:close/>
                  <a:moveTo>
                    <a:pt x="69" y="100"/>
                  </a:moveTo>
                  <a:cubicBezTo>
                    <a:pt x="76" y="102"/>
                    <a:pt x="83" y="101"/>
                    <a:pt x="89" y="97"/>
                  </a:cubicBezTo>
                  <a:cubicBezTo>
                    <a:pt x="95" y="93"/>
                    <a:pt x="99" y="87"/>
                    <a:pt x="101" y="81"/>
                  </a:cubicBezTo>
                  <a:cubicBezTo>
                    <a:pt x="102" y="74"/>
                    <a:pt x="101" y="67"/>
                    <a:pt x="97" y="61"/>
                  </a:cubicBezTo>
                  <a:cubicBezTo>
                    <a:pt x="94" y="55"/>
                    <a:pt x="88" y="51"/>
                    <a:pt x="81" y="49"/>
                  </a:cubicBezTo>
                  <a:cubicBezTo>
                    <a:pt x="74" y="47"/>
                    <a:pt x="67" y="49"/>
                    <a:pt x="61" y="52"/>
                  </a:cubicBezTo>
                  <a:cubicBezTo>
                    <a:pt x="55" y="56"/>
                    <a:pt x="51" y="62"/>
                    <a:pt x="49" y="69"/>
                  </a:cubicBezTo>
                  <a:cubicBezTo>
                    <a:pt x="46" y="83"/>
                    <a:pt x="55" y="97"/>
                    <a:pt x="69" y="1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" name="Freeform 281">
              <a:extLst>
                <a:ext uri="{FF2B5EF4-FFF2-40B4-BE49-F238E27FC236}">
                  <a16:creationId xmlns:a16="http://schemas.microsoft.com/office/drawing/2014/main" id="{C66E8A0F-AEFF-4A92-923B-A2B36A7091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1339" y="1876426"/>
              <a:ext cx="376238" cy="14288"/>
            </a:xfrm>
            <a:custGeom>
              <a:avLst/>
              <a:gdLst>
                <a:gd name="T0" fmla="*/ 159 w 162"/>
                <a:gd name="T1" fmla="*/ 6 h 6"/>
                <a:gd name="T2" fmla="*/ 3 w 162"/>
                <a:gd name="T3" fmla="*/ 6 h 6"/>
                <a:gd name="T4" fmla="*/ 0 w 162"/>
                <a:gd name="T5" fmla="*/ 3 h 6"/>
                <a:gd name="T6" fmla="*/ 3 w 162"/>
                <a:gd name="T7" fmla="*/ 0 h 6"/>
                <a:gd name="T8" fmla="*/ 159 w 162"/>
                <a:gd name="T9" fmla="*/ 0 h 6"/>
                <a:gd name="T10" fmla="*/ 162 w 162"/>
                <a:gd name="T11" fmla="*/ 3 h 6"/>
                <a:gd name="T12" fmla="*/ 159 w 162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2" h="6">
                  <a:moveTo>
                    <a:pt x="159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61" y="0"/>
                    <a:pt x="162" y="1"/>
                    <a:pt x="162" y="3"/>
                  </a:cubicBezTo>
                  <a:cubicBezTo>
                    <a:pt x="162" y="4"/>
                    <a:pt x="161" y="6"/>
                    <a:pt x="15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" name="Freeform 282">
              <a:extLst>
                <a:ext uri="{FF2B5EF4-FFF2-40B4-BE49-F238E27FC236}">
                  <a16:creationId xmlns:a16="http://schemas.microsoft.com/office/drawing/2014/main" id="{8358E2EF-25B4-4C45-B430-395DCB6E98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8439" y="1876426"/>
              <a:ext cx="263525" cy="14288"/>
            </a:xfrm>
            <a:custGeom>
              <a:avLst/>
              <a:gdLst>
                <a:gd name="T0" fmla="*/ 111 w 114"/>
                <a:gd name="T1" fmla="*/ 6 h 6"/>
                <a:gd name="T2" fmla="*/ 3 w 114"/>
                <a:gd name="T3" fmla="*/ 6 h 6"/>
                <a:gd name="T4" fmla="*/ 0 w 114"/>
                <a:gd name="T5" fmla="*/ 3 h 6"/>
                <a:gd name="T6" fmla="*/ 3 w 114"/>
                <a:gd name="T7" fmla="*/ 0 h 6"/>
                <a:gd name="T8" fmla="*/ 111 w 114"/>
                <a:gd name="T9" fmla="*/ 0 h 6"/>
                <a:gd name="T10" fmla="*/ 114 w 114"/>
                <a:gd name="T11" fmla="*/ 3 h 6"/>
                <a:gd name="T12" fmla="*/ 111 w 114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" h="6">
                  <a:moveTo>
                    <a:pt x="111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3" y="0"/>
                    <a:pt x="114" y="1"/>
                    <a:pt x="114" y="3"/>
                  </a:cubicBezTo>
                  <a:cubicBezTo>
                    <a:pt x="114" y="4"/>
                    <a:pt x="113" y="6"/>
                    <a:pt x="1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283">
              <a:extLst>
                <a:ext uri="{FF2B5EF4-FFF2-40B4-BE49-F238E27FC236}">
                  <a16:creationId xmlns:a16="http://schemas.microsoft.com/office/drawing/2014/main" id="{2CF0142D-DBFB-4384-A18F-A371EEF1BA2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7251" y="1485901"/>
              <a:ext cx="60325" cy="14288"/>
            </a:xfrm>
            <a:custGeom>
              <a:avLst/>
              <a:gdLst>
                <a:gd name="T0" fmla="*/ 23 w 26"/>
                <a:gd name="T1" fmla="*/ 6 h 6"/>
                <a:gd name="T2" fmla="*/ 3 w 26"/>
                <a:gd name="T3" fmla="*/ 6 h 6"/>
                <a:gd name="T4" fmla="*/ 0 w 26"/>
                <a:gd name="T5" fmla="*/ 3 h 6"/>
                <a:gd name="T6" fmla="*/ 3 w 26"/>
                <a:gd name="T7" fmla="*/ 0 h 6"/>
                <a:gd name="T8" fmla="*/ 23 w 26"/>
                <a:gd name="T9" fmla="*/ 0 h 6"/>
                <a:gd name="T10" fmla="*/ 26 w 26"/>
                <a:gd name="T11" fmla="*/ 3 h 6"/>
                <a:gd name="T12" fmla="*/ 23 w 26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6">
                  <a:moveTo>
                    <a:pt x="23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5" y="0"/>
                    <a:pt x="26" y="1"/>
                    <a:pt x="26" y="3"/>
                  </a:cubicBezTo>
                  <a:cubicBezTo>
                    <a:pt x="26" y="4"/>
                    <a:pt x="25" y="6"/>
                    <a:pt x="2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" name="Freeform 284">
              <a:extLst>
                <a:ext uri="{FF2B5EF4-FFF2-40B4-BE49-F238E27FC236}">
                  <a16:creationId xmlns:a16="http://schemas.microsoft.com/office/drawing/2014/main" id="{5FC8E8FB-1501-47A8-8746-70FB8DACF2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0389" y="1485901"/>
              <a:ext cx="217488" cy="14288"/>
            </a:xfrm>
            <a:custGeom>
              <a:avLst/>
              <a:gdLst>
                <a:gd name="T0" fmla="*/ 91 w 94"/>
                <a:gd name="T1" fmla="*/ 6 h 6"/>
                <a:gd name="T2" fmla="*/ 3 w 94"/>
                <a:gd name="T3" fmla="*/ 6 h 6"/>
                <a:gd name="T4" fmla="*/ 0 w 94"/>
                <a:gd name="T5" fmla="*/ 3 h 6"/>
                <a:gd name="T6" fmla="*/ 3 w 94"/>
                <a:gd name="T7" fmla="*/ 0 h 6"/>
                <a:gd name="T8" fmla="*/ 91 w 94"/>
                <a:gd name="T9" fmla="*/ 0 h 6"/>
                <a:gd name="T10" fmla="*/ 94 w 94"/>
                <a:gd name="T11" fmla="*/ 3 h 6"/>
                <a:gd name="T12" fmla="*/ 91 w 94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6">
                  <a:moveTo>
                    <a:pt x="91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3" y="0"/>
                    <a:pt x="94" y="1"/>
                    <a:pt x="94" y="3"/>
                  </a:cubicBezTo>
                  <a:cubicBezTo>
                    <a:pt x="94" y="4"/>
                    <a:pt x="93" y="6"/>
                    <a:pt x="9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" name="Freeform 285">
              <a:extLst>
                <a:ext uri="{FF2B5EF4-FFF2-40B4-BE49-F238E27FC236}">
                  <a16:creationId xmlns:a16="http://schemas.microsoft.com/office/drawing/2014/main" id="{488B68A6-71E1-4DB8-8B19-0570F070BD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8026" y="1681163"/>
              <a:ext cx="209550" cy="14288"/>
            </a:xfrm>
            <a:custGeom>
              <a:avLst/>
              <a:gdLst>
                <a:gd name="T0" fmla="*/ 87 w 90"/>
                <a:gd name="T1" fmla="*/ 6 h 6"/>
                <a:gd name="T2" fmla="*/ 3 w 90"/>
                <a:gd name="T3" fmla="*/ 6 h 6"/>
                <a:gd name="T4" fmla="*/ 0 w 90"/>
                <a:gd name="T5" fmla="*/ 3 h 6"/>
                <a:gd name="T6" fmla="*/ 3 w 90"/>
                <a:gd name="T7" fmla="*/ 0 h 6"/>
                <a:gd name="T8" fmla="*/ 87 w 90"/>
                <a:gd name="T9" fmla="*/ 0 h 6"/>
                <a:gd name="T10" fmla="*/ 90 w 90"/>
                <a:gd name="T11" fmla="*/ 3 h 6"/>
                <a:gd name="T12" fmla="*/ 87 w 9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6">
                  <a:moveTo>
                    <a:pt x="8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9" y="0"/>
                    <a:pt x="90" y="1"/>
                    <a:pt x="90" y="3"/>
                  </a:cubicBezTo>
                  <a:cubicBezTo>
                    <a:pt x="90" y="4"/>
                    <a:pt x="89" y="6"/>
                    <a:pt x="8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" name="Freeform 286">
              <a:extLst>
                <a:ext uri="{FF2B5EF4-FFF2-40B4-BE49-F238E27FC236}">
                  <a16:creationId xmlns:a16="http://schemas.microsoft.com/office/drawing/2014/main" id="{073D92E2-B831-42F8-B836-AFDB17A11DF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0389" y="1681163"/>
              <a:ext cx="69850" cy="14288"/>
            </a:xfrm>
            <a:custGeom>
              <a:avLst/>
              <a:gdLst>
                <a:gd name="T0" fmla="*/ 27 w 30"/>
                <a:gd name="T1" fmla="*/ 6 h 6"/>
                <a:gd name="T2" fmla="*/ 3 w 30"/>
                <a:gd name="T3" fmla="*/ 6 h 6"/>
                <a:gd name="T4" fmla="*/ 0 w 30"/>
                <a:gd name="T5" fmla="*/ 3 h 6"/>
                <a:gd name="T6" fmla="*/ 3 w 30"/>
                <a:gd name="T7" fmla="*/ 0 h 6"/>
                <a:gd name="T8" fmla="*/ 27 w 30"/>
                <a:gd name="T9" fmla="*/ 0 h 6"/>
                <a:gd name="T10" fmla="*/ 30 w 30"/>
                <a:gd name="T11" fmla="*/ 3 h 6"/>
                <a:gd name="T12" fmla="*/ 27 w 3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6">
                  <a:moveTo>
                    <a:pt x="2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4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9" y="0"/>
                    <a:pt x="30" y="1"/>
                    <a:pt x="30" y="3"/>
                  </a:cubicBezTo>
                  <a:cubicBezTo>
                    <a:pt x="30" y="4"/>
                    <a:pt x="29" y="6"/>
                    <a:pt x="2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" name="Freeform 287">
              <a:extLst>
                <a:ext uri="{FF2B5EF4-FFF2-40B4-BE49-F238E27FC236}">
                  <a16:creationId xmlns:a16="http://schemas.microsoft.com/office/drawing/2014/main" id="{C02F5FF0-FF5B-4265-A78F-CD5D277C1A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73589" y="1439863"/>
              <a:ext cx="107950" cy="106363"/>
            </a:xfrm>
            <a:custGeom>
              <a:avLst/>
              <a:gdLst>
                <a:gd name="T0" fmla="*/ 37 w 46"/>
                <a:gd name="T1" fmla="*/ 46 h 46"/>
                <a:gd name="T2" fmla="*/ 9 w 46"/>
                <a:gd name="T3" fmla="*/ 46 h 46"/>
                <a:gd name="T4" fmla="*/ 0 w 46"/>
                <a:gd name="T5" fmla="*/ 37 h 46"/>
                <a:gd name="T6" fmla="*/ 0 w 46"/>
                <a:gd name="T7" fmla="*/ 8 h 46"/>
                <a:gd name="T8" fmla="*/ 9 w 46"/>
                <a:gd name="T9" fmla="*/ 0 h 46"/>
                <a:gd name="T10" fmla="*/ 37 w 46"/>
                <a:gd name="T11" fmla="*/ 0 h 46"/>
                <a:gd name="T12" fmla="*/ 46 w 46"/>
                <a:gd name="T13" fmla="*/ 8 h 46"/>
                <a:gd name="T14" fmla="*/ 46 w 46"/>
                <a:gd name="T15" fmla="*/ 37 h 46"/>
                <a:gd name="T16" fmla="*/ 37 w 46"/>
                <a:gd name="T17" fmla="*/ 46 h 46"/>
                <a:gd name="T18" fmla="*/ 9 w 46"/>
                <a:gd name="T19" fmla="*/ 6 h 46"/>
                <a:gd name="T20" fmla="*/ 6 w 46"/>
                <a:gd name="T21" fmla="*/ 8 h 46"/>
                <a:gd name="T22" fmla="*/ 6 w 46"/>
                <a:gd name="T23" fmla="*/ 37 h 46"/>
                <a:gd name="T24" fmla="*/ 9 w 46"/>
                <a:gd name="T25" fmla="*/ 40 h 46"/>
                <a:gd name="T26" fmla="*/ 37 w 46"/>
                <a:gd name="T27" fmla="*/ 40 h 46"/>
                <a:gd name="T28" fmla="*/ 40 w 46"/>
                <a:gd name="T29" fmla="*/ 37 h 46"/>
                <a:gd name="T30" fmla="*/ 40 w 46"/>
                <a:gd name="T31" fmla="*/ 8 h 46"/>
                <a:gd name="T32" fmla="*/ 37 w 46"/>
                <a:gd name="T33" fmla="*/ 6 h 46"/>
                <a:gd name="T34" fmla="*/ 9 w 46"/>
                <a:gd name="T35" fmla="*/ 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46">
                  <a:moveTo>
                    <a:pt x="37" y="46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4" y="46"/>
                    <a:pt x="0" y="42"/>
                    <a:pt x="0" y="3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2" y="0"/>
                    <a:pt x="46" y="4"/>
                    <a:pt x="46" y="8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42"/>
                    <a:pt x="42" y="46"/>
                    <a:pt x="37" y="46"/>
                  </a:cubicBezTo>
                  <a:close/>
                  <a:moveTo>
                    <a:pt x="9" y="6"/>
                  </a:moveTo>
                  <a:cubicBezTo>
                    <a:pt x="7" y="6"/>
                    <a:pt x="6" y="7"/>
                    <a:pt x="6" y="8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39"/>
                    <a:pt x="7" y="40"/>
                    <a:pt x="9" y="40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9" y="40"/>
                    <a:pt x="40" y="39"/>
                    <a:pt x="40" y="37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7"/>
                    <a:pt x="39" y="6"/>
                    <a:pt x="37" y="6"/>
                  </a:cubicBezTo>
                  <a:lnTo>
                    <a:pt x="9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" name="Freeform 288">
              <a:extLst>
                <a:ext uri="{FF2B5EF4-FFF2-40B4-BE49-F238E27FC236}">
                  <a16:creationId xmlns:a16="http://schemas.microsoft.com/office/drawing/2014/main" id="{2C74562A-E875-426A-8528-49C4D32A4A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25951" y="1635126"/>
              <a:ext cx="106363" cy="106363"/>
            </a:xfrm>
            <a:custGeom>
              <a:avLst/>
              <a:gdLst>
                <a:gd name="T0" fmla="*/ 37 w 46"/>
                <a:gd name="T1" fmla="*/ 46 h 46"/>
                <a:gd name="T2" fmla="*/ 9 w 46"/>
                <a:gd name="T3" fmla="*/ 46 h 46"/>
                <a:gd name="T4" fmla="*/ 0 w 46"/>
                <a:gd name="T5" fmla="*/ 37 h 46"/>
                <a:gd name="T6" fmla="*/ 0 w 46"/>
                <a:gd name="T7" fmla="*/ 8 h 46"/>
                <a:gd name="T8" fmla="*/ 9 w 46"/>
                <a:gd name="T9" fmla="*/ 0 h 46"/>
                <a:gd name="T10" fmla="*/ 37 w 46"/>
                <a:gd name="T11" fmla="*/ 0 h 46"/>
                <a:gd name="T12" fmla="*/ 46 w 46"/>
                <a:gd name="T13" fmla="*/ 8 h 46"/>
                <a:gd name="T14" fmla="*/ 46 w 46"/>
                <a:gd name="T15" fmla="*/ 37 h 46"/>
                <a:gd name="T16" fmla="*/ 37 w 46"/>
                <a:gd name="T17" fmla="*/ 46 h 46"/>
                <a:gd name="T18" fmla="*/ 9 w 46"/>
                <a:gd name="T19" fmla="*/ 6 h 46"/>
                <a:gd name="T20" fmla="*/ 6 w 46"/>
                <a:gd name="T21" fmla="*/ 8 h 46"/>
                <a:gd name="T22" fmla="*/ 6 w 46"/>
                <a:gd name="T23" fmla="*/ 37 h 46"/>
                <a:gd name="T24" fmla="*/ 9 w 46"/>
                <a:gd name="T25" fmla="*/ 40 h 46"/>
                <a:gd name="T26" fmla="*/ 37 w 46"/>
                <a:gd name="T27" fmla="*/ 40 h 46"/>
                <a:gd name="T28" fmla="*/ 40 w 46"/>
                <a:gd name="T29" fmla="*/ 37 h 46"/>
                <a:gd name="T30" fmla="*/ 40 w 46"/>
                <a:gd name="T31" fmla="*/ 8 h 46"/>
                <a:gd name="T32" fmla="*/ 37 w 46"/>
                <a:gd name="T33" fmla="*/ 6 h 46"/>
                <a:gd name="T34" fmla="*/ 9 w 46"/>
                <a:gd name="T35" fmla="*/ 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46">
                  <a:moveTo>
                    <a:pt x="37" y="46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4" y="46"/>
                    <a:pt x="0" y="42"/>
                    <a:pt x="0" y="3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2" y="0"/>
                    <a:pt x="46" y="4"/>
                    <a:pt x="46" y="8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42"/>
                    <a:pt x="42" y="46"/>
                    <a:pt x="37" y="46"/>
                  </a:cubicBezTo>
                  <a:close/>
                  <a:moveTo>
                    <a:pt x="9" y="6"/>
                  </a:moveTo>
                  <a:cubicBezTo>
                    <a:pt x="7" y="6"/>
                    <a:pt x="6" y="7"/>
                    <a:pt x="6" y="8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39"/>
                    <a:pt x="7" y="40"/>
                    <a:pt x="9" y="40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9" y="40"/>
                    <a:pt x="40" y="39"/>
                    <a:pt x="40" y="37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7"/>
                    <a:pt x="39" y="6"/>
                    <a:pt x="37" y="6"/>
                  </a:cubicBezTo>
                  <a:lnTo>
                    <a:pt x="9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9" name="Freeform 289">
              <a:extLst>
                <a:ext uri="{FF2B5EF4-FFF2-40B4-BE49-F238E27FC236}">
                  <a16:creationId xmlns:a16="http://schemas.microsoft.com/office/drawing/2014/main" id="{1851EE84-A286-402B-B17B-87D55A49D8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59264" y="1830388"/>
              <a:ext cx="106363" cy="106363"/>
            </a:xfrm>
            <a:custGeom>
              <a:avLst/>
              <a:gdLst>
                <a:gd name="T0" fmla="*/ 37 w 46"/>
                <a:gd name="T1" fmla="*/ 46 h 46"/>
                <a:gd name="T2" fmla="*/ 9 w 46"/>
                <a:gd name="T3" fmla="*/ 46 h 46"/>
                <a:gd name="T4" fmla="*/ 0 w 46"/>
                <a:gd name="T5" fmla="*/ 37 h 46"/>
                <a:gd name="T6" fmla="*/ 0 w 46"/>
                <a:gd name="T7" fmla="*/ 8 h 46"/>
                <a:gd name="T8" fmla="*/ 9 w 46"/>
                <a:gd name="T9" fmla="*/ 0 h 46"/>
                <a:gd name="T10" fmla="*/ 37 w 46"/>
                <a:gd name="T11" fmla="*/ 0 h 46"/>
                <a:gd name="T12" fmla="*/ 46 w 46"/>
                <a:gd name="T13" fmla="*/ 8 h 46"/>
                <a:gd name="T14" fmla="*/ 46 w 46"/>
                <a:gd name="T15" fmla="*/ 37 h 46"/>
                <a:gd name="T16" fmla="*/ 37 w 46"/>
                <a:gd name="T17" fmla="*/ 46 h 46"/>
                <a:gd name="T18" fmla="*/ 9 w 46"/>
                <a:gd name="T19" fmla="*/ 6 h 46"/>
                <a:gd name="T20" fmla="*/ 6 w 46"/>
                <a:gd name="T21" fmla="*/ 8 h 46"/>
                <a:gd name="T22" fmla="*/ 6 w 46"/>
                <a:gd name="T23" fmla="*/ 37 h 46"/>
                <a:gd name="T24" fmla="*/ 9 w 46"/>
                <a:gd name="T25" fmla="*/ 40 h 46"/>
                <a:gd name="T26" fmla="*/ 37 w 46"/>
                <a:gd name="T27" fmla="*/ 40 h 46"/>
                <a:gd name="T28" fmla="*/ 40 w 46"/>
                <a:gd name="T29" fmla="*/ 37 h 46"/>
                <a:gd name="T30" fmla="*/ 40 w 46"/>
                <a:gd name="T31" fmla="*/ 8 h 46"/>
                <a:gd name="T32" fmla="*/ 37 w 46"/>
                <a:gd name="T33" fmla="*/ 6 h 46"/>
                <a:gd name="T34" fmla="*/ 9 w 46"/>
                <a:gd name="T35" fmla="*/ 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46">
                  <a:moveTo>
                    <a:pt x="37" y="46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4" y="46"/>
                    <a:pt x="0" y="42"/>
                    <a:pt x="0" y="3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2" y="0"/>
                    <a:pt x="46" y="4"/>
                    <a:pt x="46" y="8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42"/>
                    <a:pt x="42" y="46"/>
                    <a:pt x="37" y="46"/>
                  </a:cubicBezTo>
                  <a:close/>
                  <a:moveTo>
                    <a:pt x="9" y="6"/>
                  </a:moveTo>
                  <a:cubicBezTo>
                    <a:pt x="7" y="6"/>
                    <a:pt x="6" y="7"/>
                    <a:pt x="6" y="8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39"/>
                    <a:pt x="7" y="40"/>
                    <a:pt x="9" y="40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9" y="40"/>
                    <a:pt x="40" y="39"/>
                    <a:pt x="40" y="37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0" y="7"/>
                    <a:pt x="39" y="6"/>
                    <a:pt x="37" y="6"/>
                  </a:cubicBezTo>
                  <a:lnTo>
                    <a:pt x="9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6389759" y="4353643"/>
            <a:ext cx="651410" cy="365135"/>
            <a:chOff x="3870326" y="2459038"/>
            <a:chExt cx="957263" cy="536575"/>
          </a:xfrm>
          <a:solidFill>
            <a:schemeClr val="bg2"/>
          </a:solidFill>
        </p:grpSpPr>
        <p:sp>
          <p:nvSpPr>
            <p:cNvPr id="51" name="Freeform 282"/>
            <p:cNvSpPr>
              <a:spLocks/>
            </p:cNvSpPr>
            <p:nvPr/>
          </p:nvSpPr>
          <p:spPr bwMode="auto">
            <a:xfrm>
              <a:off x="4602164" y="2660651"/>
              <a:ext cx="14288" cy="52388"/>
            </a:xfrm>
            <a:custGeom>
              <a:avLst/>
              <a:gdLst>
                <a:gd name="T0" fmla="*/ 3 w 6"/>
                <a:gd name="T1" fmla="*/ 22 h 22"/>
                <a:gd name="T2" fmla="*/ 0 w 6"/>
                <a:gd name="T3" fmla="*/ 19 h 22"/>
                <a:gd name="T4" fmla="*/ 0 w 6"/>
                <a:gd name="T5" fmla="*/ 3 h 22"/>
                <a:gd name="T6" fmla="*/ 3 w 6"/>
                <a:gd name="T7" fmla="*/ 0 h 22"/>
                <a:gd name="T8" fmla="*/ 6 w 6"/>
                <a:gd name="T9" fmla="*/ 3 h 22"/>
                <a:gd name="T10" fmla="*/ 6 w 6"/>
                <a:gd name="T11" fmla="*/ 19 h 22"/>
                <a:gd name="T12" fmla="*/ 3 w 6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2">
                  <a:moveTo>
                    <a:pt x="3" y="22"/>
                  </a:moveTo>
                  <a:cubicBezTo>
                    <a:pt x="2" y="22"/>
                    <a:pt x="0" y="21"/>
                    <a:pt x="0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1"/>
                    <a:pt x="5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2" name="Freeform 283"/>
            <p:cNvSpPr>
              <a:spLocks/>
            </p:cNvSpPr>
            <p:nvPr/>
          </p:nvSpPr>
          <p:spPr bwMode="auto">
            <a:xfrm>
              <a:off x="4565651" y="2587626"/>
              <a:ext cx="90488" cy="125413"/>
            </a:xfrm>
            <a:custGeom>
              <a:avLst/>
              <a:gdLst>
                <a:gd name="T0" fmla="*/ 3 w 39"/>
                <a:gd name="T1" fmla="*/ 54 h 54"/>
                <a:gd name="T2" fmla="*/ 0 w 39"/>
                <a:gd name="T3" fmla="*/ 51 h 54"/>
                <a:gd name="T4" fmla="*/ 0 w 39"/>
                <a:gd name="T5" fmla="*/ 20 h 54"/>
                <a:gd name="T6" fmla="*/ 18 w 39"/>
                <a:gd name="T7" fmla="*/ 4 h 54"/>
                <a:gd name="T8" fmla="*/ 31 w 39"/>
                <a:gd name="T9" fmla="*/ 4 h 54"/>
                <a:gd name="T10" fmla="*/ 33 w 39"/>
                <a:gd name="T11" fmla="*/ 3 h 54"/>
                <a:gd name="T12" fmla="*/ 36 w 39"/>
                <a:gd name="T13" fmla="*/ 0 h 54"/>
                <a:gd name="T14" fmla="*/ 39 w 39"/>
                <a:gd name="T15" fmla="*/ 3 h 54"/>
                <a:gd name="T16" fmla="*/ 31 w 39"/>
                <a:gd name="T17" fmla="*/ 10 h 54"/>
                <a:gd name="T18" fmla="*/ 18 w 39"/>
                <a:gd name="T19" fmla="*/ 10 h 54"/>
                <a:gd name="T20" fmla="*/ 6 w 39"/>
                <a:gd name="T21" fmla="*/ 20 h 54"/>
                <a:gd name="T22" fmla="*/ 6 w 39"/>
                <a:gd name="T23" fmla="*/ 51 h 54"/>
                <a:gd name="T24" fmla="*/ 3 w 39"/>
                <a:gd name="T2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54">
                  <a:moveTo>
                    <a:pt x="3" y="54"/>
                  </a:moveTo>
                  <a:cubicBezTo>
                    <a:pt x="2" y="54"/>
                    <a:pt x="0" y="53"/>
                    <a:pt x="0" y="51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7"/>
                    <a:pt x="12" y="4"/>
                    <a:pt x="18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3" y="4"/>
                    <a:pt x="33" y="3"/>
                  </a:cubicBezTo>
                  <a:cubicBezTo>
                    <a:pt x="33" y="1"/>
                    <a:pt x="34" y="0"/>
                    <a:pt x="36" y="0"/>
                  </a:cubicBezTo>
                  <a:cubicBezTo>
                    <a:pt x="37" y="0"/>
                    <a:pt x="39" y="1"/>
                    <a:pt x="39" y="3"/>
                  </a:cubicBezTo>
                  <a:cubicBezTo>
                    <a:pt x="39" y="7"/>
                    <a:pt x="35" y="10"/>
                    <a:pt x="31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0"/>
                    <a:pt x="6" y="10"/>
                    <a:pt x="6" y="20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6" y="53"/>
                    <a:pt x="5" y="54"/>
                    <a:pt x="3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4" name="Freeform 284"/>
            <p:cNvSpPr>
              <a:spLocks/>
            </p:cNvSpPr>
            <p:nvPr/>
          </p:nvSpPr>
          <p:spPr bwMode="auto">
            <a:xfrm>
              <a:off x="4722814" y="2663826"/>
              <a:ext cx="14288" cy="46038"/>
            </a:xfrm>
            <a:custGeom>
              <a:avLst/>
              <a:gdLst>
                <a:gd name="T0" fmla="*/ 3 w 6"/>
                <a:gd name="T1" fmla="*/ 20 h 20"/>
                <a:gd name="T2" fmla="*/ 0 w 6"/>
                <a:gd name="T3" fmla="*/ 17 h 20"/>
                <a:gd name="T4" fmla="*/ 0 w 6"/>
                <a:gd name="T5" fmla="*/ 3 h 20"/>
                <a:gd name="T6" fmla="*/ 3 w 6"/>
                <a:gd name="T7" fmla="*/ 0 h 20"/>
                <a:gd name="T8" fmla="*/ 6 w 6"/>
                <a:gd name="T9" fmla="*/ 3 h 20"/>
                <a:gd name="T10" fmla="*/ 6 w 6"/>
                <a:gd name="T11" fmla="*/ 17 h 20"/>
                <a:gd name="T12" fmla="*/ 3 w 6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0">
                  <a:moveTo>
                    <a:pt x="3" y="20"/>
                  </a:moveTo>
                  <a:cubicBezTo>
                    <a:pt x="2" y="20"/>
                    <a:pt x="0" y="19"/>
                    <a:pt x="0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9"/>
                    <a:pt x="5" y="20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6" name="Freeform 285"/>
            <p:cNvSpPr>
              <a:spLocks/>
            </p:cNvSpPr>
            <p:nvPr/>
          </p:nvSpPr>
          <p:spPr bwMode="auto">
            <a:xfrm>
              <a:off x="4687889" y="2587626"/>
              <a:ext cx="88900" cy="122238"/>
            </a:xfrm>
            <a:custGeom>
              <a:avLst/>
              <a:gdLst>
                <a:gd name="T0" fmla="*/ 35 w 38"/>
                <a:gd name="T1" fmla="*/ 53 h 53"/>
                <a:gd name="T2" fmla="*/ 32 w 38"/>
                <a:gd name="T3" fmla="*/ 50 h 53"/>
                <a:gd name="T4" fmla="*/ 32 w 38"/>
                <a:gd name="T5" fmla="*/ 20 h 53"/>
                <a:gd name="T6" fmla="*/ 20 w 38"/>
                <a:gd name="T7" fmla="*/ 10 h 53"/>
                <a:gd name="T8" fmla="*/ 7 w 38"/>
                <a:gd name="T9" fmla="*/ 10 h 53"/>
                <a:gd name="T10" fmla="*/ 2 w 38"/>
                <a:gd name="T11" fmla="*/ 8 h 53"/>
                <a:gd name="T12" fmla="*/ 0 w 38"/>
                <a:gd name="T13" fmla="*/ 3 h 53"/>
                <a:gd name="T14" fmla="*/ 3 w 38"/>
                <a:gd name="T15" fmla="*/ 0 h 53"/>
                <a:gd name="T16" fmla="*/ 3 w 38"/>
                <a:gd name="T17" fmla="*/ 0 h 53"/>
                <a:gd name="T18" fmla="*/ 6 w 38"/>
                <a:gd name="T19" fmla="*/ 3 h 53"/>
                <a:gd name="T20" fmla="*/ 7 w 38"/>
                <a:gd name="T21" fmla="*/ 4 h 53"/>
                <a:gd name="T22" fmla="*/ 7 w 38"/>
                <a:gd name="T23" fmla="*/ 4 h 53"/>
                <a:gd name="T24" fmla="*/ 20 w 38"/>
                <a:gd name="T25" fmla="*/ 4 h 53"/>
                <a:gd name="T26" fmla="*/ 38 w 38"/>
                <a:gd name="T27" fmla="*/ 20 h 53"/>
                <a:gd name="T28" fmla="*/ 38 w 38"/>
                <a:gd name="T29" fmla="*/ 50 h 53"/>
                <a:gd name="T30" fmla="*/ 35 w 38"/>
                <a:gd name="T3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8" h="53">
                  <a:moveTo>
                    <a:pt x="35" y="53"/>
                  </a:moveTo>
                  <a:cubicBezTo>
                    <a:pt x="33" y="53"/>
                    <a:pt x="32" y="52"/>
                    <a:pt x="32" y="50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10"/>
                    <a:pt x="21" y="10"/>
                    <a:pt x="20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4" y="10"/>
                    <a:pt x="2" y="8"/>
                  </a:cubicBezTo>
                  <a:cubicBezTo>
                    <a:pt x="1" y="7"/>
                    <a:pt x="0" y="6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4"/>
                    <a:pt x="6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6" y="4"/>
                    <a:pt x="38" y="7"/>
                    <a:pt x="38" y="2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2"/>
                    <a:pt x="36" y="53"/>
                    <a:pt x="35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7" name="Freeform 286"/>
            <p:cNvSpPr>
              <a:spLocks noEditPoints="1"/>
            </p:cNvSpPr>
            <p:nvPr/>
          </p:nvSpPr>
          <p:spPr bwMode="auto">
            <a:xfrm>
              <a:off x="4613276" y="2459038"/>
              <a:ext cx="114300" cy="125413"/>
            </a:xfrm>
            <a:custGeom>
              <a:avLst/>
              <a:gdLst>
                <a:gd name="T0" fmla="*/ 24 w 49"/>
                <a:gd name="T1" fmla="*/ 54 h 54"/>
                <a:gd name="T2" fmla="*/ 0 w 49"/>
                <a:gd name="T3" fmla="*/ 27 h 54"/>
                <a:gd name="T4" fmla="*/ 24 w 49"/>
                <a:gd name="T5" fmla="*/ 0 h 54"/>
                <a:gd name="T6" fmla="*/ 49 w 49"/>
                <a:gd name="T7" fmla="*/ 27 h 54"/>
                <a:gd name="T8" fmla="*/ 24 w 49"/>
                <a:gd name="T9" fmla="*/ 54 h 54"/>
                <a:gd name="T10" fmla="*/ 24 w 49"/>
                <a:gd name="T11" fmla="*/ 6 h 54"/>
                <a:gd name="T12" fmla="*/ 6 w 49"/>
                <a:gd name="T13" fmla="*/ 27 h 54"/>
                <a:gd name="T14" fmla="*/ 24 w 49"/>
                <a:gd name="T15" fmla="*/ 48 h 54"/>
                <a:gd name="T16" fmla="*/ 43 w 49"/>
                <a:gd name="T17" fmla="*/ 27 h 54"/>
                <a:gd name="T18" fmla="*/ 24 w 49"/>
                <a:gd name="T19" fmla="*/ 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" h="54">
                  <a:moveTo>
                    <a:pt x="24" y="54"/>
                  </a:moveTo>
                  <a:cubicBezTo>
                    <a:pt x="11" y="54"/>
                    <a:pt x="0" y="42"/>
                    <a:pt x="0" y="27"/>
                  </a:cubicBezTo>
                  <a:cubicBezTo>
                    <a:pt x="0" y="12"/>
                    <a:pt x="11" y="0"/>
                    <a:pt x="24" y="0"/>
                  </a:cubicBezTo>
                  <a:cubicBezTo>
                    <a:pt x="38" y="0"/>
                    <a:pt x="49" y="12"/>
                    <a:pt x="49" y="27"/>
                  </a:cubicBezTo>
                  <a:cubicBezTo>
                    <a:pt x="49" y="42"/>
                    <a:pt x="38" y="54"/>
                    <a:pt x="24" y="54"/>
                  </a:cubicBezTo>
                  <a:close/>
                  <a:moveTo>
                    <a:pt x="24" y="6"/>
                  </a:moveTo>
                  <a:cubicBezTo>
                    <a:pt x="14" y="6"/>
                    <a:pt x="6" y="15"/>
                    <a:pt x="6" y="27"/>
                  </a:cubicBezTo>
                  <a:cubicBezTo>
                    <a:pt x="6" y="38"/>
                    <a:pt x="14" y="48"/>
                    <a:pt x="24" y="48"/>
                  </a:cubicBezTo>
                  <a:cubicBezTo>
                    <a:pt x="35" y="48"/>
                    <a:pt x="43" y="38"/>
                    <a:pt x="43" y="27"/>
                  </a:cubicBezTo>
                  <a:cubicBezTo>
                    <a:pt x="43" y="15"/>
                    <a:pt x="35" y="6"/>
                    <a:pt x="2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58" name="Freeform 287"/>
            <p:cNvSpPr>
              <a:spLocks/>
            </p:cNvSpPr>
            <p:nvPr/>
          </p:nvSpPr>
          <p:spPr bwMode="auto">
            <a:xfrm>
              <a:off x="3960814" y="2660651"/>
              <a:ext cx="14288" cy="52388"/>
            </a:xfrm>
            <a:custGeom>
              <a:avLst/>
              <a:gdLst>
                <a:gd name="T0" fmla="*/ 3 w 6"/>
                <a:gd name="T1" fmla="*/ 22 h 22"/>
                <a:gd name="T2" fmla="*/ 0 w 6"/>
                <a:gd name="T3" fmla="*/ 19 h 22"/>
                <a:gd name="T4" fmla="*/ 0 w 6"/>
                <a:gd name="T5" fmla="*/ 3 h 22"/>
                <a:gd name="T6" fmla="*/ 3 w 6"/>
                <a:gd name="T7" fmla="*/ 0 h 22"/>
                <a:gd name="T8" fmla="*/ 6 w 6"/>
                <a:gd name="T9" fmla="*/ 3 h 22"/>
                <a:gd name="T10" fmla="*/ 6 w 6"/>
                <a:gd name="T11" fmla="*/ 19 h 22"/>
                <a:gd name="T12" fmla="*/ 3 w 6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2">
                  <a:moveTo>
                    <a:pt x="3" y="22"/>
                  </a:moveTo>
                  <a:cubicBezTo>
                    <a:pt x="1" y="22"/>
                    <a:pt x="0" y="21"/>
                    <a:pt x="0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6" y="2"/>
                    <a:pt x="6" y="3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1"/>
                    <a:pt x="5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0" name="Freeform 288"/>
            <p:cNvSpPr>
              <a:spLocks/>
            </p:cNvSpPr>
            <p:nvPr/>
          </p:nvSpPr>
          <p:spPr bwMode="auto">
            <a:xfrm>
              <a:off x="3924301" y="2587626"/>
              <a:ext cx="88900" cy="125413"/>
            </a:xfrm>
            <a:custGeom>
              <a:avLst/>
              <a:gdLst>
                <a:gd name="T0" fmla="*/ 3 w 38"/>
                <a:gd name="T1" fmla="*/ 54 h 54"/>
                <a:gd name="T2" fmla="*/ 0 w 38"/>
                <a:gd name="T3" fmla="*/ 51 h 54"/>
                <a:gd name="T4" fmla="*/ 0 w 38"/>
                <a:gd name="T5" fmla="*/ 20 h 54"/>
                <a:gd name="T6" fmla="*/ 18 w 38"/>
                <a:gd name="T7" fmla="*/ 4 h 54"/>
                <a:gd name="T8" fmla="*/ 30 w 38"/>
                <a:gd name="T9" fmla="*/ 4 h 54"/>
                <a:gd name="T10" fmla="*/ 32 w 38"/>
                <a:gd name="T11" fmla="*/ 3 h 54"/>
                <a:gd name="T12" fmla="*/ 35 w 38"/>
                <a:gd name="T13" fmla="*/ 0 h 54"/>
                <a:gd name="T14" fmla="*/ 38 w 38"/>
                <a:gd name="T15" fmla="*/ 3 h 54"/>
                <a:gd name="T16" fmla="*/ 31 w 38"/>
                <a:gd name="T17" fmla="*/ 10 h 54"/>
                <a:gd name="T18" fmla="*/ 18 w 38"/>
                <a:gd name="T19" fmla="*/ 10 h 54"/>
                <a:gd name="T20" fmla="*/ 6 w 38"/>
                <a:gd name="T21" fmla="*/ 20 h 54"/>
                <a:gd name="T22" fmla="*/ 6 w 38"/>
                <a:gd name="T23" fmla="*/ 51 h 54"/>
                <a:gd name="T24" fmla="*/ 3 w 38"/>
                <a:gd name="T2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54">
                  <a:moveTo>
                    <a:pt x="3" y="54"/>
                  </a:moveTo>
                  <a:cubicBezTo>
                    <a:pt x="1" y="54"/>
                    <a:pt x="0" y="53"/>
                    <a:pt x="0" y="51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7"/>
                    <a:pt x="12" y="4"/>
                    <a:pt x="18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1" y="4"/>
                    <a:pt x="32" y="4"/>
                    <a:pt x="32" y="3"/>
                  </a:cubicBezTo>
                  <a:cubicBezTo>
                    <a:pt x="32" y="1"/>
                    <a:pt x="34" y="0"/>
                    <a:pt x="35" y="0"/>
                  </a:cubicBezTo>
                  <a:cubicBezTo>
                    <a:pt x="37" y="0"/>
                    <a:pt x="38" y="1"/>
                    <a:pt x="38" y="3"/>
                  </a:cubicBezTo>
                  <a:cubicBezTo>
                    <a:pt x="38" y="7"/>
                    <a:pt x="34" y="10"/>
                    <a:pt x="31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0"/>
                    <a:pt x="6" y="10"/>
                    <a:pt x="6" y="20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6" y="53"/>
                    <a:pt x="4" y="54"/>
                    <a:pt x="3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1" name="Freeform 289"/>
            <p:cNvSpPr>
              <a:spLocks/>
            </p:cNvSpPr>
            <p:nvPr/>
          </p:nvSpPr>
          <p:spPr bwMode="auto">
            <a:xfrm>
              <a:off x="4081464" y="2663826"/>
              <a:ext cx="14288" cy="46038"/>
            </a:xfrm>
            <a:custGeom>
              <a:avLst/>
              <a:gdLst>
                <a:gd name="T0" fmla="*/ 3 w 6"/>
                <a:gd name="T1" fmla="*/ 20 h 20"/>
                <a:gd name="T2" fmla="*/ 0 w 6"/>
                <a:gd name="T3" fmla="*/ 17 h 20"/>
                <a:gd name="T4" fmla="*/ 0 w 6"/>
                <a:gd name="T5" fmla="*/ 3 h 20"/>
                <a:gd name="T6" fmla="*/ 3 w 6"/>
                <a:gd name="T7" fmla="*/ 0 h 20"/>
                <a:gd name="T8" fmla="*/ 6 w 6"/>
                <a:gd name="T9" fmla="*/ 3 h 20"/>
                <a:gd name="T10" fmla="*/ 6 w 6"/>
                <a:gd name="T11" fmla="*/ 17 h 20"/>
                <a:gd name="T12" fmla="*/ 3 w 6"/>
                <a:gd name="T13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0">
                  <a:moveTo>
                    <a:pt x="3" y="20"/>
                  </a:moveTo>
                  <a:cubicBezTo>
                    <a:pt x="1" y="20"/>
                    <a:pt x="0" y="19"/>
                    <a:pt x="0" y="1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9"/>
                    <a:pt x="5" y="20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2" name="Freeform 290"/>
            <p:cNvSpPr>
              <a:spLocks/>
            </p:cNvSpPr>
            <p:nvPr/>
          </p:nvSpPr>
          <p:spPr bwMode="auto">
            <a:xfrm>
              <a:off x="4048126" y="2587626"/>
              <a:ext cx="85725" cy="122238"/>
            </a:xfrm>
            <a:custGeom>
              <a:avLst/>
              <a:gdLst>
                <a:gd name="T0" fmla="*/ 34 w 37"/>
                <a:gd name="T1" fmla="*/ 53 h 53"/>
                <a:gd name="T2" fmla="*/ 31 w 37"/>
                <a:gd name="T3" fmla="*/ 50 h 53"/>
                <a:gd name="T4" fmla="*/ 31 w 37"/>
                <a:gd name="T5" fmla="*/ 20 h 53"/>
                <a:gd name="T6" fmla="*/ 19 w 37"/>
                <a:gd name="T7" fmla="*/ 10 h 53"/>
                <a:gd name="T8" fmla="*/ 7 w 37"/>
                <a:gd name="T9" fmla="*/ 10 h 53"/>
                <a:gd name="T10" fmla="*/ 2 w 37"/>
                <a:gd name="T11" fmla="*/ 8 h 53"/>
                <a:gd name="T12" fmla="*/ 0 w 37"/>
                <a:gd name="T13" fmla="*/ 3 h 53"/>
                <a:gd name="T14" fmla="*/ 3 w 37"/>
                <a:gd name="T15" fmla="*/ 0 h 53"/>
                <a:gd name="T16" fmla="*/ 3 w 37"/>
                <a:gd name="T17" fmla="*/ 0 h 53"/>
                <a:gd name="T18" fmla="*/ 6 w 37"/>
                <a:gd name="T19" fmla="*/ 3 h 53"/>
                <a:gd name="T20" fmla="*/ 6 w 37"/>
                <a:gd name="T21" fmla="*/ 4 h 53"/>
                <a:gd name="T22" fmla="*/ 7 w 37"/>
                <a:gd name="T23" fmla="*/ 4 h 53"/>
                <a:gd name="T24" fmla="*/ 19 w 37"/>
                <a:gd name="T25" fmla="*/ 4 h 53"/>
                <a:gd name="T26" fmla="*/ 37 w 37"/>
                <a:gd name="T27" fmla="*/ 20 h 53"/>
                <a:gd name="T28" fmla="*/ 37 w 37"/>
                <a:gd name="T29" fmla="*/ 50 h 53"/>
                <a:gd name="T30" fmla="*/ 34 w 37"/>
                <a:gd name="T3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" h="53">
                  <a:moveTo>
                    <a:pt x="34" y="53"/>
                  </a:moveTo>
                  <a:cubicBezTo>
                    <a:pt x="33" y="53"/>
                    <a:pt x="31" y="52"/>
                    <a:pt x="31" y="50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1" y="10"/>
                    <a:pt x="20" y="10"/>
                    <a:pt x="19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6" y="10"/>
                    <a:pt x="4" y="10"/>
                    <a:pt x="2" y="8"/>
                  </a:cubicBezTo>
                  <a:cubicBezTo>
                    <a:pt x="1" y="7"/>
                    <a:pt x="0" y="6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7" y="4"/>
                    <a:pt x="7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25" y="4"/>
                    <a:pt x="37" y="7"/>
                    <a:pt x="37" y="2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2"/>
                    <a:pt x="36" y="53"/>
                    <a:pt x="34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4" name="Freeform 291"/>
            <p:cNvSpPr>
              <a:spLocks noEditPoints="1"/>
            </p:cNvSpPr>
            <p:nvPr/>
          </p:nvSpPr>
          <p:spPr bwMode="auto">
            <a:xfrm>
              <a:off x="3973514" y="2459038"/>
              <a:ext cx="111125" cy="125413"/>
            </a:xfrm>
            <a:custGeom>
              <a:avLst/>
              <a:gdLst>
                <a:gd name="T0" fmla="*/ 24 w 48"/>
                <a:gd name="T1" fmla="*/ 54 h 54"/>
                <a:gd name="T2" fmla="*/ 0 w 48"/>
                <a:gd name="T3" fmla="*/ 27 h 54"/>
                <a:gd name="T4" fmla="*/ 24 w 48"/>
                <a:gd name="T5" fmla="*/ 0 h 54"/>
                <a:gd name="T6" fmla="*/ 48 w 48"/>
                <a:gd name="T7" fmla="*/ 27 h 54"/>
                <a:gd name="T8" fmla="*/ 24 w 48"/>
                <a:gd name="T9" fmla="*/ 54 h 54"/>
                <a:gd name="T10" fmla="*/ 24 w 48"/>
                <a:gd name="T11" fmla="*/ 6 h 54"/>
                <a:gd name="T12" fmla="*/ 6 w 48"/>
                <a:gd name="T13" fmla="*/ 27 h 54"/>
                <a:gd name="T14" fmla="*/ 24 w 48"/>
                <a:gd name="T15" fmla="*/ 48 h 54"/>
                <a:gd name="T16" fmla="*/ 42 w 48"/>
                <a:gd name="T17" fmla="*/ 27 h 54"/>
                <a:gd name="T18" fmla="*/ 24 w 48"/>
                <a:gd name="T19" fmla="*/ 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54">
                  <a:moveTo>
                    <a:pt x="24" y="54"/>
                  </a:moveTo>
                  <a:cubicBezTo>
                    <a:pt x="11" y="54"/>
                    <a:pt x="0" y="42"/>
                    <a:pt x="0" y="27"/>
                  </a:cubicBezTo>
                  <a:cubicBezTo>
                    <a:pt x="0" y="12"/>
                    <a:pt x="11" y="0"/>
                    <a:pt x="24" y="0"/>
                  </a:cubicBezTo>
                  <a:cubicBezTo>
                    <a:pt x="37" y="0"/>
                    <a:pt x="48" y="12"/>
                    <a:pt x="48" y="27"/>
                  </a:cubicBezTo>
                  <a:cubicBezTo>
                    <a:pt x="48" y="42"/>
                    <a:pt x="37" y="54"/>
                    <a:pt x="24" y="54"/>
                  </a:cubicBezTo>
                  <a:close/>
                  <a:moveTo>
                    <a:pt x="24" y="6"/>
                  </a:moveTo>
                  <a:cubicBezTo>
                    <a:pt x="14" y="6"/>
                    <a:pt x="6" y="15"/>
                    <a:pt x="6" y="27"/>
                  </a:cubicBezTo>
                  <a:cubicBezTo>
                    <a:pt x="6" y="38"/>
                    <a:pt x="14" y="48"/>
                    <a:pt x="24" y="48"/>
                  </a:cubicBezTo>
                  <a:cubicBezTo>
                    <a:pt x="34" y="48"/>
                    <a:pt x="42" y="38"/>
                    <a:pt x="42" y="27"/>
                  </a:cubicBezTo>
                  <a:cubicBezTo>
                    <a:pt x="42" y="15"/>
                    <a:pt x="34" y="6"/>
                    <a:pt x="2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8" name="Freeform 292"/>
            <p:cNvSpPr>
              <a:spLocks/>
            </p:cNvSpPr>
            <p:nvPr/>
          </p:nvSpPr>
          <p:spPr bwMode="auto">
            <a:xfrm>
              <a:off x="4044951" y="2754313"/>
              <a:ext cx="169863" cy="120650"/>
            </a:xfrm>
            <a:custGeom>
              <a:avLst/>
              <a:gdLst>
                <a:gd name="T0" fmla="*/ 70 w 73"/>
                <a:gd name="T1" fmla="*/ 52 h 52"/>
                <a:gd name="T2" fmla="*/ 68 w 73"/>
                <a:gd name="T3" fmla="*/ 51 h 52"/>
                <a:gd name="T4" fmla="*/ 1 w 73"/>
                <a:gd name="T5" fmla="*/ 6 h 52"/>
                <a:gd name="T6" fmla="*/ 1 w 73"/>
                <a:gd name="T7" fmla="*/ 2 h 52"/>
                <a:gd name="T8" fmla="*/ 5 w 73"/>
                <a:gd name="T9" fmla="*/ 1 h 52"/>
                <a:gd name="T10" fmla="*/ 71 w 73"/>
                <a:gd name="T11" fmla="*/ 46 h 52"/>
                <a:gd name="T12" fmla="*/ 72 w 73"/>
                <a:gd name="T13" fmla="*/ 50 h 52"/>
                <a:gd name="T14" fmla="*/ 70 w 73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3" h="52">
                  <a:moveTo>
                    <a:pt x="70" y="52"/>
                  </a:moveTo>
                  <a:cubicBezTo>
                    <a:pt x="69" y="52"/>
                    <a:pt x="68" y="51"/>
                    <a:pt x="68" y="51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1"/>
                    <a:pt x="3" y="0"/>
                    <a:pt x="5" y="1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3" y="47"/>
                    <a:pt x="73" y="49"/>
                    <a:pt x="72" y="50"/>
                  </a:cubicBezTo>
                  <a:cubicBezTo>
                    <a:pt x="71" y="51"/>
                    <a:pt x="71" y="52"/>
                    <a:pt x="70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69" name="Freeform 293"/>
            <p:cNvSpPr>
              <a:spLocks/>
            </p:cNvSpPr>
            <p:nvPr/>
          </p:nvSpPr>
          <p:spPr bwMode="auto">
            <a:xfrm>
              <a:off x="4481514" y="2751138"/>
              <a:ext cx="187325" cy="123825"/>
            </a:xfrm>
            <a:custGeom>
              <a:avLst/>
              <a:gdLst>
                <a:gd name="T0" fmla="*/ 4 w 81"/>
                <a:gd name="T1" fmla="*/ 53 h 53"/>
                <a:gd name="T2" fmla="*/ 1 w 81"/>
                <a:gd name="T3" fmla="*/ 51 h 53"/>
                <a:gd name="T4" fmla="*/ 2 w 81"/>
                <a:gd name="T5" fmla="*/ 47 h 53"/>
                <a:gd name="T6" fmla="*/ 76 w 81"/>
                <a:gd name="T7" fmla="*/ 1 h 53"/>
                <a:gd name="T8" fmla="*/ 80 w 81"/>
                <a:gd name="T9" fmla="*/ 2 h 53"/>
                <a:gd name="T10" fmla="*/ 79 w 81"/>
                <a:gd name="T11" fmla="*/ 6 h 53"/>
                <a:gd name="T12" fmla="*/ 5 w 81"/>
                <a:gd name="T13" fmla="*/ 52 h 53"/>
                <a:gd name="T14" fmla="*/ 4 w 81"/>
                <a:gd name="T1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53">
                  <a:moveTo>
                    <a:pt x="4" y="53"/>
                  </a:moveTo>
                  <a:cubicBezTo>
                    <a:pt x="3" y="53"/>
                    <a:pt x="2" y="52"/>
                    <a:pt x="1" y="51"/>
                  </a:cubicBezTo>
                  <a:cubicBezTo>
                    <a:pt x="0" y="50"/>
                    <a:pt x="1" y="48"/>
                    <a:pt x="2" y="47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8" y="0"/>
                    <a:pt x="79" y="0"/>
                    <a:pt x="80" y="2"/>
                  </a:cubicBezTo>
                  <a:cubicBezTo>
                    <a:pt x="81" y="3"/>
                    <a:pt x="81" y="5"/>
                    <a:pt x="79" y="6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5" y="52"/>
                    <a:pt x="4" y="53"/>
                    <a:pt x="4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0" name="Freeform 294"/>
            <p:cNvSpPr>
              <a:spLocks/>
            </p:cNvSpPr>
            <p:nvPr/>
          </p:nvSpPr>
          <p:spPr bwMode="auto">
            <a:xfrm>
              <a:off x="4511676" y="2670176"/>
              <a:ext cx="315913" cy="95250"/>
            </a:xfrm>
            <a:custGeom>
              <a:avLst/>
              <a:gdLst>
                <a:gd name="T0" fmla="*/ 68 w 136"/>
                <a:gd name="T1" fmla="*/ 41 h 41"/>
                <a:gd name="T2" fmla="*/ 0 w 136"/>
                <a:gd name="T3" fmla="*/ 16 h 41"/>
                <a:gd name="T4" fmla="*/ 14 w 136"/>
                <a:gd name="T5" fmla="*/ 1 h 41"/>
                <a:gd name="T6" fmla="*/ 18 w 136"/>
                <a:gd name="T7" fmla="*/ 3 h 41"/>
                <a:gd name="T8" fmla="*/ 16 w 136"/>
                <a:gd name="T9" fmla="*/ 7 h 41"/>
                <a:gd name="T10" fmla="*/ 6 w 136"/>
                <a:gd name="T11" fmla="*/ 16 h 41"/>
                <a:gd name="T12" fmla="*/ 68 w 136"/>
                <a:gd name="T13" fmla="*/ 35 h 41"/>
                <a:gd name="T14" fmla="*/ 130 w 136"/>
                <a:gd name="T15" fmla="*/ 16 h 41"/>
                <a:gd name="T16" fmla="*/ 121 w 136"/>
                <a:gd name="T17" fmla="*/ 7 h 41"/>
                <a:gd name="T18" fmla="*/ 120 w 136"/>
                <a:gd name="T19" fmla="*/ 3 h 41"/>
                <a:gd name="T20" fmla="*/ 124 w 136"/>
                <a:gd name="T21" fmla="*/ 1 h 41"/>
                <a:gd name="T22" fmla="*/ 136 w 136"/>
                <a:gd name="T23" fmla="*/ 16 h 41"/>
                <a:gd name="T24" fmla="*/ 68 w 136"/>
                <a:gd name="T2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6" h="41">
                  <a:moveTo>
                    <a:pt x="68" y="41"/>
                  </a:moveTo>
                  <a:cubicBezTo>
                    <a:pt x="35" y="41"/>
                    <a:pt x="0" y="32"/>
                    <a:pt x="0" y="16"/>
                  </a:cubicBezTo>
                  <a:cubicBezTo>
                    <a:pt x="0" y="12"/>
                    <a:pt x="3" y="6"/>
                    <a:pt x="14" y="1"/>
                  </a:cubicBezTo>
                  <a:cubicBezTo>
                    <a:pt x="15" y="0"/>
                    <a:pt x="17" y="1"/>
                    <a:pt x="18" y="3"/>
                  </a:cubicBezTo>
                  <a:cubicBezTo>
                    <a:pt x="18" y="4"/>
                    <a:pt x="18" y="6"/>
                    <a:pt x="16" y="7"/>
                  </a:cubicBezTo>
                  <a:cubicBezTo>
                    <a:pt x="10" y="10"/>
                    <a:pt x="6" y="13"/>
                    <a:pt x="6" y="16"/>
                  </a:cubicBezTo>
                  <a:cubicBezTo>
                    <a:pt x="6" y="25"/>
                    <a:pt x="33" y="35"/>
                    <a:pt x="68" y="35"/>
                  </a:cubicBezTo>
                  <a:cubicBezTo>
                    <a:pt x="104" y="35"/>
                    <a:pt x="130" y="25"/>
                    <a:pt x="130" y="16"/>
                  </a:cubicBezTo>
                  <a:cubicBezTo>
                    <a:pt x="130" y="13"/>
                    <a:pt x="127" y="10"/>
                    <a:pt x="121" y="7"/>
                  </a:cubicBezTo>
                  <a:cubicBezTo>
                    <a:pt x="120" y="6"/>
                    <a:pt x="119" y="4"/>
                    <a:pt x="120" y="3"/>
                  </a:cubicBezTo>
                  <a:cubicBezTo>
                    <a:pt x="120" y="1"/>
                    <a:pt x="122" y="1"/>
                    <a:pt x="124" y="1"/>
                  </a:cubicBezTo>
                  <a:cubicBezTo>
                    <a:pt x="134" y="7"/>
                    <a:pt x="136" y="12"/>
                    <a:pt x="136" y="16"/>
                  </a:cubicBezTo>
                  <a:cubicBezTo>
                    <a:pt x="136" y="32"/>
                    <a:pt x="101" y="41"/>
                    <a:pt x="68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1" name="Freeform 295"/>
            <p:cNvSpPr>
              <a:spLocks/>
            </p:cNvSpPr>
            <p:nvPr/>
          </p:nvSpPr>
          <p:spPr bwMode="auto">
            <a:xfrm>
              <a:off x="3870326" y="2673351"/>
              <a:ext cx="315913" cy="92075"/>
            </a:xfrm>
            <a:custGeom>
              <a:avLst/>
              <a:gdLst>
                <a:gd name="T0" fmla="*/ 68 w 136"/>
                <a:gd name="T1" fmla="*/ 40 h 40"/>
                <a:gd name="T2" fmla="*/ 0 w 136"/>
                <a:gd name="T3" fmla="*/ 16 h 40"/>
                <a:gd name="T4" fmla="*/ 13 w 136"/>
                <a:gd name="T5" fmla="*/ 1 h 40"/>
                <a:gd name="T6" fmla="*/ 17 w 136"/>
                <a:gd name="T7" fmla="*/ 2 h 40"/>
                <a:gd name="T8" fmla="*/ 16 w 136"/>
                <a:gd name="T9" fmla="*/ 6 h 40"/>
                <a:gd name="T10" fmla="*/ 6 w 136"/>
                <a:gd name="T11" fmla="*/ 16 h 40"/>
                <a:gd name="T12" fmla="*/ 68 w 136"/>
                <a:gd name="T13" fmla="*/ 34 h 40"/>
                <a:gd name="T14" fmla="*/ 130 w 136"/>
                <a:gd name="T15" fmla="*/ 16 h 40"/>
                <a:gd name="T16" fmla="*/ 121 w 136"/>
                <a:gd name="T17" fmla="*/ 6 h 40"/>
                <a:gd name="T18" fmla="*/ 119 w 136"/>
                <a:gd name="T19" fmla="*/ 2 h 40"/>
                <a:gd name="T20" fmla="*/ 123 w 136"/>
                <a:gd name="T21" fmla="*/ 1 h 40"/>
                <a:gd name="T22" fmla="*/ 136 w 136"/>
                <a:gd name="T23" fmla="*/ 16 h 40"/>
                <a:gd name="T24" fmla="*/ 68 w 136"/>
                <a:gd name="T2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6" h="40">
                  <a:moveTo>
                    <a:pt x="68" y="40"/>
                  </a:moveTo>
                  <a:cubicBezTo>
                    <a:pt x="35" y="40"/>
                    <a:pt x="0" y="32"/>
                    <a:pt x="0" y="16"/>
                  </a:cubicBezTo>
                  <a:cubicBezTo>
                    <a:pt x="0" y="12"/>
                    <a:pt x="2" y="6"/>
                    <a:pt x="13" y="1"/>
                  </a:cubicBezTo>
                  <a:cubicBezTo>
                    <a:pt x="15" y="0"/>
                    <a:pt x="16" y="1"/>
                    <a:pt x="17" y="2"/>
                  </a:cubicBezTo>
                  <a:cubicBezTo>
                    <a:pt x="18" y="4"/>
                    <a:pt x="17" y="6"/>
                    <a:pt x="16" y="6"/>
                  </a:cubicBezTo>
                  <a:cubicBezTo>
                    <a:pt x="10" y="9"/>
                    <a:pt x="6" y="13"/>
                    <a:pt x="6" y="16"/>
                  </a:cubicBezTo>
                  <a:cubicBezTo>
                    <a:pt x="6" y="24"/>
                    <a:pt x="33" y="34"/>
                    <a:pt x="68" y="34"/>
                  </a:cubicBezTo>
                  <a:cubicBezTo>
                    <a:pt x="104" y="34"/>
                    <a:pt x="130" y="24"/>
                    <a:pt x="130" y="16"/>
                  </a:cubicBezTo>
                  <a:cubicBezTo>
                    <a:pt x="130" y="13"/>
                    <a:pt x="127" y="9"/>
                    <a:pt x="121" y="6"/>
                  </a:cubicBezTo>
                  <a:cubicBezTo>
                    <a:pt x="119" y="6"/>
                    <a:pt x="119" y="4"/>
                    <a:pt x="119" y="2"/>
                  </a:cubicBezTo>
                  <a:cubicBezTo>
                    <a:pt x="120" y="1"/>
                    <a:pt x="122" y="0"/>
                    <a:pt x="123" y="1"/>
                  </a:cubicBezTo>
                  <a:cubicBezTo>
                    <a:pt x="134" y="6"/>
                    <a:pt x="136" y="12"/>
                    <a:pt x="136" y="16"/>
                  </a:cubicBezTo>
                  <a:cubicBezTo>
                    <a:pt x="136" y="32"/>
                    <a:pt x="101" y="40"/>
                    <a:pt x="68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2" name="Freeform 296"/>
            <p:cNvSpPr>
              <a:spLocks/>
            </p:cNvSpPr>
            <p:nvPr/>
          </p:nvSpPr>
          <p:spPr bwMode="auto">
            <a:xfrm>
              <a:off x="4271964" y="2873376"/>
              <a:ext cx="14288" cy="52388"/>
            </a:xfrm>
            <a:custGeom>
              <a:avLst/>
              <a:gdLst>
                <a:gd name="T0" fmla="*/ 3 w 6"/>
                <a:gd name="T1" fmla="*/ 23 h 23"/>
                <a:gd name="T2" fmla="*/ 0 w 6"/>
                <a:gd name="T3" fmla="*/ 20 h 23"/>
                <a:gd name="T4" fmla="*/ 0 w 6"/>
                <a:gd name="T5" fmla="*/ 3 h 23"/>
                <a:gd name="T6" fmla="*/ 3 w 6"/>
                <a:gd name="T7" fmla="*/ 0 h 23"/>
                <a:gd name="T8" fmla="*/ 6 w 6"/>
                <a:gd name="T9" fmla="*/ 3 h 23"/>
                <a:gd name="T10" fmla="*/ 6 w 6"/>
                <a:gd name="T11" fmla="*/ 20 h 23"/>
                <a:gd name="T12" fmla="*/ 3 w 6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3">
                  <a:moveTo>
                    <a:pt x="3" y="23"/>
                  </a:moveTo>
                  <a:cubicBezTo>
                    <a:pt x="1" y="23"/>
                    <a:pt x="0" y="22"/>
                    <a:pt x="0" y="2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2"/>
                    <a:pt x="4" y="23"/>
                    <a:pt x="3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3" name="Freeform 297"/>
            <p:cNvSpPr>
              <a:spLocks/>
            </p:cNvSpPr>
            <p:nvPr/>
          </p:nvSpPr>
          <p:spPr bwMode="auto">
            <a:xfrm>
              <a:off x="4229101" y="2786063"/>
              <a:ext cx="98425" cy="139700"/>
            </a:xfrm>
            <a:custGeom>
              <a:avLst/>
              <a:gdLst>
                <a:gd name="T0" fmla="*/ 3 w 43"/>
                <a:gd name="T1" fmla="*/ 60 h 60"/>
                <a:gd name="T2" fmla="*/ 0 w 43"/>
                <a:gd name="T3" fmla="*/ 57 h 60"/>
                <a:gd name="T4" fmla="*/ 0 w 43"/>
                <a:gd name="T5" fmla="*/ 22 h 60"/>
                <a:gd name="T6" fmla="*/ 20 w 43"/>
                <a:gd name="T7" fmla="*/ 4 h 60"/>
                <a:gd name="T8" fmla="*/ 35 w 43"/>
                <a:gd name="T9" fmla="*/ 4 h 60"/>
                <a:gd name="T10" fmla="*/ 37 w 43"/>
                <a:gd name="T11" fmla="*/ 3 h 60"/>
                <a:gd name="T12" fmla="*/ 40 w 43"/>
                <a:gd name="T13" fmla="*/ 0 h 60"/>
                <a:gd name="T14" fmla="*/ 43 w 43"/>
                <a:gd name="T15" fmla="*/ 3 h 60"/>
                <a:gd name="T16" fmla="*/ 35 w 43"/>
                <a:gd name="T17" fmla="*/ 10 h 60"/>
                <a:gd name="T18" fmla="*/ 20 w 43"/>
                <a:gd name="T19" fmla="*/ 10 h 60"/>
                <a:gd name="T20" fmla="*/ 6 w 43"/>
                <a:gd name="T21" fmla="*/ 22 h 60"/>
                <a:gd name="T22" fmla="*/ 6 w 43"/>
                <a:gd name="T23" fmla="*/ 57 h 60"/>
                <a:gd name="T24" fmla="*/ 3 w 43"/>
                <a:gd name="T2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60">
                  <a:moveTo>
                    <a:pt x="3" y="60"/>
                  </a:moveTo>
                  <a:cubicBezTo>
                    <a:pt x="2" y="60"/>
                    <a:pt x="0" y="59"/>
                    <a:pt x="0" y="57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8"/>
                    <a:pt x="13" y="4"/>
                    <a:pt x="20" y="4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4"/>
                    <a:pt x="37" y="4"/>
                    <a:pt x="37" y="3"/>
                  </a:cubicBezTo>
                  <a:cubicBezTo>
                    <a:pt x="37" y="1"/>
                    <a:pt x="39" y="0"/>
                    <a:pt x="40" y="0"/>
                  </a:cubicBezTo>
                  <a:cubicBezTo>
                    <a:pt x="42" y="0"/>
                    <a:pt x="43" y="1"/>
                    <a:pt x="43" y="3"/>
                  </a:cubicBezTo>
                  <a:cubicBezTo>
                    <a:pt x="43" y="7"/>
                    <a:pt x="39" y="10"/>
                    <a:pt x="35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6" y="11"/>
                    <a:pt x="6" y="22"/>
                  </a:cubicBezTo>
                  <a:cubicBezTo>
                    <a:pt x="6" y="57"/>
                    <a:pt x="6" y="57"/>
                    <a:pt x="6" y="57"/>
                  </a:cubicBezTo>
                  <a:cubicBezTo>
                    <a:pt x="6" y="59"/>
                    <a:pt x="5" y="60"/>
                    <a:pt x="3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4" name="Freeform 298"/>
            <p:cNvSpPr>
              <a:spLocks/>
            </p:cNvSpPr>
            <p:nvPr/>
          </p:nvSpPr>
          <p:spPr bwMode="auto">
            <a:xfrm>
              <a:off x="4410076" y="2873376"/>
              <a:ext cx="12700" cy="50800"/>
            </a:xfrm>
            <a:custGeom>
              <a:avLst/>
              <a:gdLst>
                <a:gd name="T0" fmla="*/ 3 w 6"/>
                <a:gd name="T1" fmla="*/ 22 h 22"/>
                <a:gd name="T2" fmla="*/ 0 w 6"/>
                <a:gd name="T3" fmla="*/ 19 h 22"/>
                <a:gd name="T4" fmla="*/ 0 w 6"/>
                <a:gd name="T5" fmla="*/ 3 h 22"/>
                <a:gd name="T6" fmla="*/ 3 w 6"/>
                <a:gd name="T7" fmla="*/ 0 h 22"/>
                <a:gd name="T8" fmla="*/ 6 w 6"/>
                <a:gd name="T9" fmla="*/ 3 h 22"/>
                <a:gd name="T10" fmla="*/ 6 w 6"/>
                <a:gd name="T11" fmla="*/ 19 h 22"/>
                <a:gd name="T12" fmla="*/ 3 w 6"/>
                <a:gd name="T13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2">
                  <a:moveTo>
                    <a:pt x="3" y="22"/>
                  </a:moveTo>
                  <a:cubicBezTo>
                    <a:pt x="1" y="22"/>
                    <a:pt x="0" y="21"/>
                    <a:pt x="0" y="1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21"/>
                    <a:pt x="5" y="22"/>
                    <a:pt x="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5" name="Freeform 299"/>
            <p:cNvSpPr>
              <a:spLocks/>
            </p:cNvSpPr>
            <p:nvPr/>
          </p:nvSpPr>
          <p:spPr bwMode="auto">
            <a:xfrm>
              <a:off x="4370389" y="2786063"/>
              <a:ext cx="95250" cy="139700"/>
            </a:xfrm>
            <a:custGeom>
              <a:avLst/>
              <a:gdLst>
                <a:gd name="T0" fmla="*/ 38 w 41"/>
                <a:gd name="T1" fmla="*/ 60 h 60"/>
                <a:gd name="T2" fmla="*/ 35 w 41"/>
                <a:gd name="T3" fmla="*/ 57 h 60"/>
                <a:gd name="T4" fmla="*/ 35 w 41"/>
                <a:gd name="T5" fmla="*/ 22 h 60"/>
                <a:gd name="T6" fmla="*/ 21 w 41"/>
                <a:gd name="T7" fmla="*/ 10 h 60"/>
                <a:gd name="T8" fmla="*/ 7 w 41"/>
                <a:gd name="T9" fmla="*/ 10 h 60"/>
                <a:gd name="T10" fmla="*/ 2 w 41"/>
                <a:gd name="T11" fmla="*/ 8 h 60"/>
                <a:gd name="T12" fmla="*/ 0 w 41"/>
                <a:gd name="T13" fmla="*/ 3 h 60"/>
                <a:gd name="T14" fmla="*/ 3 w 41"/>
                <a:gd name="T15" fmla="*/ 0 h 60"/>
                <a:gd name="T16" fmla="*/ 3 w 41"/>
                <a:gd name="T17" fmla="*/ 0 h 60"/>
                <a:gd name="T18" fmla="*/ 6 w 41"/>
                <a:gd name="T19" fmla="*/ 3 h 60"/>
                <a:gd name="T20" fmla="*/ 6 w 41"/>
                <a:gd name="T21" fmla="*/ 4 h 60"/>
                <a:gd name="T22" fmla="*/ 7 w 41"/>
                <a:gd name="T23" fmla="*/ 4 h 60"/>
                <a:gd name="T24" fmla="*/ 7 w 41"/>
                <a:gd name="T25" fmla="*/ 4 h 60"/>
                <a:gd name="T26" fmla="*/ 21 w 41"/>
                <a:gd name="T27" fmla="*/ 4 h 60"/>
                <a:gd name="T28" fmla="*/ 41 w 41"/>
                <a:gd name="T29" fmla="*/ 22 h 60"/>
                <a:gd name="T30" fmla="*/ 41 w 41"/>
                <a:gd name="T31" fmla="*/ 57 h 60"/>
                <a:gd name="T32" fmla="*/ 38 w 41"/>
                <a:gd name="T3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1" h="60">
                  <a:moveTo>
                    <a:pt x="38" y="60"/>
                  </a:moveTo>
                  <a:cubicBezTo>
                    <a:pt x="37" y="60"/>
                    <a:pt x="35" y="58"/>
                    <a:pt x="35" y="57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5" y="11"/>
                    <a:pt x="23" y="10"/>
                    <a:pt x="21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4" y="10"/>
                    <a:pt x="2" y="8"/>
                  </a:cubicBezTo>
                  <a:cubicBezTo>
                    <a:pt x="1" y="7"/>
                    <a:pt x="0" y="6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3"/>
                    <a:pt x="6" y="4"/>
                    <a:pt x="6" y="4"/>
                  </a:cubicBezTo>
                  <a:cubicBezTo>
                    <a:pt x="6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8" y="4"/>
                    <a:pt x="41" y="8"/>
                    <a:pt x="41" y="22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8"/>
                    <a:pt x="40" y="60"/>
                    <a:pt x="38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6" name="Freeform 300"/>
            <p:cNvSpPr>
              <a:spLocks noEditPoints="1"/>
            </p:cNvSpPr>
            <p:nvPr/>
          </p:nvSpPr>
          <p:spPr bwMode="auto">
            <a:xfrm>
              <a:off x="4284664" y="2640013"/>
              <a:ext cx="127000" cy="141288"/>
            </a:xfrm>
            <a:custGeom>
              <a:avLst/>
              <a:gdLst>
                <a:gd name="T0" fmla="*/ 27 w 55"/>
                <a:gd name="T1" fmla="*/ 61 h 61"/>
                <a:gd name="T2" fmla="*/ 0 w 55"/>
                <a:gd name="T3" fmla="*/ 30 h 61"/>
                <a:gd name="T4" fmla="*/ 27 w 55"/>
                <a:gd name="T5" fmla="*/ 0 h 61"/>
                <a:gd name="T6" fmla="*/ 55 w 55"/>
                <a:gd name="T7" fmla="*/ 30 h 61"/>
                <a:gd name="T8" fmla="*/ 27 w 55"/>
                <a:gd name="T9" fmla="*/ 61 h 61"/>
                <a:gd name="T10" fmla="*/ 27 w 55"/>
                <a:gd name="T11" fmla="*/ 6 h 61"/>
                <a:gd name="T12" fmla="*/ 6 w 55"/>
                <a:gd name="T13" fmla="*/ 30 h 61"/>
                <a:gd name="T14" fmla="*/ 27 w 55"/>
                <a:gd name="T15" fmla="*/ 55 h 61"/>
                <a:gd name="T16" fmla="*/ 49 w 55"/>
                <a:gd name="T17" fmla="*/ 30 h 61"/>
                <a:gd name="T18" fmla="*/ 27 w 55"/>
                <a:gd name="T19" fmla="*/ 6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61">
                  <a:moveTo>
                    <a:pt x="27" y="61"/>
                  </a:moveTo>
                  <a:cubicBezTo>
                    <a:pt x="12" y="61"/>
                    <a:pt x="0" y="47"/>
                    <a:pt x="0" y="30"/>
                  </a:cubicBezTo>
                  <a:cubicBezTo>
                    <a:pt x="0" y="13"/>
                    <a:pt x="12" y="0"/>
                    <a:pt x="27" y="0"/>
                  </a:cubicBezTo>
                  <a:cubicBezTo>
                    <a:pt x="42" y="0"/>
                    <a:pt x="55" y="13"/>
                    <a:pt x="55" y="30"/>
                  </a:cubicBezTo>
                  <a:cubicBezTo>
                    <a:pt x="55" y="47"/>
                    <a:pt x="42" y="61"/>
                    <a:pt x="27" y="61"/>
                  </a:cubicBezTo>
                  <a:close/>
                  <a:moveTo>
                    <a:pt x="27" y="6"/>
                  </a:moveTo>
                  <a:cubicBezTo>
                    <a:pt x="16" y="6"/>
                    <a:pt x="6" y="17"/>
                    <a:pt x="6" y="30"/>
                  </a:cubicBezTo>
                  <a:cubicBezTo>
                    <a:pt x="6" y="44"/>
                    <a:pt x="16" y="55"/>
                    <a:pt x="27" y="55"/>
                  </a:cubicBezTo>
                  <a:cubicBezTo>
                    <a:pt x="39" y="55"/>
                    <a:pt x="49" y="44"/>
                    <a:pt x="49" y="30"/>
                  </a:cubicBezTo>
                  <a:cubicBezTo>
                    <a:pt x="49" y="17"/>
                    <a:pt x="39" y="6"/>
                    <a:pt x="2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7" name="Freeform 301"/>
            <p:cNvSpPr>
              <a:spLocks/>
            </p:cNvSpPr>
            <p:nvPr/>
          </p:nvSpPr>
          <p:spPr bwMode="auto">
            <a:xfrm>
              <a:off x="4173539" y="2894013"/>
              <a:ext cx="349250" cy="101600"/>
            </a:xfrm>
            <a:custGeom>
              <a:avLst/>
              <a:gdLst>
                <a:gd name="T0" fmla="*/ 75 w 151"/>
                <a:gd name="T1" fmla="*/ 44 h 44"/>
                <a:gd name="T2" fmla="*/ 0 w 151"/>
                <a:gd name="T3" fmla="*/ 17 h 44"/>
                <a:gd name="T4" fmla="*/ 14 w 151"/>
                <a:gd name="T5" fmla="*/ 1 h 44"/>
                <a:gd name="T6" fmla="*/ 18 w 151"/>
                <a:gd name="T7" fmla="*/ 2 h 44"/>
                <a:gd name="T8" fmla="*/ 17 w 151"/>
                <a:gd name="T9" fmla="*/ 6 h 44"/>
                <a:gd name="T10" fmla="*/ 6 w 151"/>
                <a:gd name="T11" fmla="*/ 17 h 44"/>
                <a:gd name="T12" fmla="*/ 75 w 151"/>
                <a:gd name="T13" fmla="*/ 38 h 44"/>
                <a:gd name="T14" fmla="*/ 145 w 151"/>
                <a:gd name="T15" fmla="*/ 17 h 44"/>
                <a:gd name="T16" fmla="*/ 134 w 151"/>
                <a:gd name="T17" fmla="*/ 6 h 44"/>
                <a:gd name="T18" fmla="*/ 133 w 151"/>
                <a:gd name="T19" fmla="*/ 2 h 44"/>
                <a:gd name="T20" fmla="*/ 137 w 151"/>
                <a:gd name="T21" fmla="*/ 1 h 44"/>
                <a:gd name="T22" fmla="*/ 151 w 151"/>
                <a:gd name="T23" fmla="*/ 17 h 44"/>
                <a:gd name="T24" fmla="*/ 75 w 151"/>
                <a:gd name="T25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1" h="44">
                  <a:moveTo>
                    <a:pt x="75" y="44"/>
                  </a:moveTo>
                  <a:cubicBezTo>
                    <a:pt x="39" y="44"/>
                    <a:pt x="0" y="34"/>
                    <a:pt x="0" y="17"/>
                  </a:cubicBezTo>
                  <a:cubicBezTo>
                    <a:pt x="0" y="13"/>
                    <a:pt x="2" y="6"/>
                    <a:pt x="14" y="1"/>
                  </a:cubicBezTo>
                  <a:cubicBezTo>
                    <a:pt x="16" y="0"/>
                    <a:pt x="18" y="0"/>
                    <a:pt x="18" y="2"/>
                  </a:cubicBezTo>
                  <a:cubicBezTo>
                    <a:pt x="19" y="3"/>
                    <a:pt x="18" y="5"/>
                    <a:pt x="17" y="6"/>
                  </a:cubicBezTo>
                  <a:cubicBezTo>
                    <a:pt x="10" y="9"/>
                    <a:pt x="6" y="13"/>
                    <a:pt x="6" y="17"/>
                  </a:cubicBezTo>
                  <a:cubicBezTo>
                    <a:pt x="6" y="27"/>
                    <a:pt x="34" y="38"/>
                    <a:pt x="75" y="38"/>
                  </a:cubicBezTo>
                  <a:cubicBezTo>
                    <a:pt x="116" y="38"/>
                    <a:pt x="145" y="27"/>
                    <a:pt x="145" y="17"/>
                  </a:cubicBezTo>
                  <a:cubicBezTo>
                    <a:pt x="145" y="13"/>
                    <a:pt x="141" y="9"/>
                    <a:pt x="134" y="6"/>
                  </a:cubicBezTo>
                  <a:cubicBezTo>
                    <a:pt x="133" y="5"/>
                    <a:pt x="132" y="4"/>
                    <a:pt x="133" y="2"/>
                  </a:cubicBezTo>
                  <a:cubicBezTo>
                    <a:pt x="133" y="1"/>
                    <a:pt x="135" y="0"/>
                    <a:pt x="137" y="1"/>
                  </a:cubicBezTo>
                  <a:cubicBezTo>
                    <a:pt x="148" y="6"/>
                    <a:pt x="151" y="13"/>
                    <a:pt x="151" y="17"/>
                  </a:cubicBezTo>
                  <a:cubicBezTo>
                    <a:pt x="151" y="34"/>
                    <a:pt x="112" y="44"/>
                    <a:pt x="75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78" name="Группа 77"/>
          <p:cNvGrpSpPr/>
          <p:nvPr/>
        </p:nvGrpSpPr>
        <p:grpSpPr>
          <a:xfrm>
            <a:off x="6640334" y="2158654"/>
            <a:ext cx="225289" cy="419946"/>
            <a:chOff x="5370513" y="3535363"/>
            <a:chExt cx="361951" cy="674687"/>
          </a:xfrm>
          <a:solidFill>
            <a:schemeClr val="bg2"/>
          </a:solidFill>
        </p:grpSpPr>
        <p:sp>
          <p:nvSpPr>
            <p:cNvPr id="79" name="Freeform 431">
              <a:extLst>
                <a:ext uri="{FF2B5EF4-FFF2-40B4-BE49-F238E27FC236}">
                  <a16:creationId xmlns:a16="http://schemas.microsoft.com/office/drawing/2014/main" id="{77D0E063-2350-42DF-9346-FBC1A20EE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0513" y="3752850"/>
              <a:ext cx="14288" cy="411163"/>
            </a:xfrm>
            <a:custGeom>
              <a:avLst/>
              <a:gdLst>
                <a:gd name="T0" fmla="*/ 3 w 6"/>
                <a:gd name="T1" fmla="*/ 177 h 177"/>
                <a:gd name="T2" fmla="*/ 0 w 6"/>
                <a:gd name="T3" fmla="*/ 174 h 177"/>
                <a:gd name="T4" fmla="*/ 0 w 6"/>
                <a:gd name="T5" fmla="*/ 3 h 177"/>
                <a:gd name="T6" fmla="*/ 3 w 6"/>
                <a:gd name="T7" fmla="*/ 0 h 177"/>
                <a:gd name="T8" fmla="*/ 6 w 6"/>
                <a:gd name="T9" fmla="*/ 3 h 177"/>
                <a:gd name="T10" fmla="*/ 6 w 6"/>
                <a:gd name="T11" fmla="*/ 174 h 177"/>
                <a:gd name="T12" fmla="*/ 3 w 6"/>
                <a:gd name="T13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77">
                  <a:moveTo>
                    <a:pt x="3" y="177"/>
                  </a:moveTo>
                  <a:cubicBezTo>
                    <a:pt x="1" y="177"/>
                    <a:pt x="0" y="175"/>
                    <a:pt x="0" y="17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4" y="0"/>
                    <a:pt x="6" y="2"/>
                    <a:pt x="6" y="3"/>
                  </a:cubicBezTo>
                  <a:cubicBezTo>
                    <a:pt x="6" y="174"/>
                    <a:pt x="6" y="174"/>
                    <a:pt x="6" y="174"/>
                  </a:cubicBezTo>
                  <a:cubicBezTo>
                    <a:pt x="6" y="175"/>
                    <a:pt x="4" y="177"/>
                    <a:pt x="3" y="1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0" name="Freeform 432">
              <a:extLst>
                <a:ext uri="{FF2B5EF4-FFF2-40B4-BE49-F238E27FC236}">
                  <a16:creationId xmlns:a16="http://schemas.microsoft.com/office/drawing/2014/main" id="{03F3F011-7098-4170-9610-52218CED9E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8176" y="3752850"/>
              <a:ext cx="14288" cy="411163"/>
            </a:xfrm>
            <a:custGeom>
              <a:avLst/>
              <a:gdLst>
                <a:gd name="T0" fmla="*/ 3 w 6"/>
                <a:gd name="T1" fmla="*/ 177 h 177"/>
                <a:gd name="T2" fmla="*/ 0 w 6"/>
                <a:gd name="T3" fmla="*/ 174 h 177"/>
                <a:gd name="T4" fmla="*/ 0 w 6"/>
                <a:gd name="T5" fmla="*/ 3 h 177"/>
                <a:gd name="T6" fmla="*/ 3 w 6"/>
                <a:gd name="T7" fmla="*/ 0 h 177"/>
                <a:gd name="T8" fmla="*/ 6 w 6"/>
                <a:gd name="T9" fmla="*/ 3 h 177"/>
                <a:gd name="T10" fmla="*/ 6 w 6"/>
                <a:gd name="T11" fmla="*/ 174 h 177"/>
                <a:gd name="T12" fmla="*/ 3 w 6"/>
                <a:gd name="T13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77">
                  <a:moveTo>
                    <a:pt x="3" y="177"/>
                  </a:moveTo>
                  <a:cubicBezTo>
                    <a:pt x="1" y="177"/>
                    <a:pt x="0" y="175"/>
                    <a:pt x="0" y="17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4" y="0"/>
                    <a:pt x="6" y="2"/>
                    <a:pt x="6" y="3"/>
                  </a:cubicBezTo>
                  <a:cubicBezTo>
                    <a:pt x="6" y="174"/>
                    <a:pt x="6" y="174"/>
                    <a:pt x="6" y="174"/>
                  </a:cubicBezTo>
                  <a:cubicBezTo>
                    <a:pt x="6" y="175"/>
                    <a:pt x="4" y="177"/>
                    <a:pt x="3" y="1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1" name="Freeform 433">
              <a:extLst>
                <a:ext uri="{FF2B5EF4-FFF2-40B4-BE49-F238E27FC236}">
                  <a16:creationId xmlns:a16="http://schemas.microsoft.com/office/drawing/2014/main" id="{0BF5987D-7C17-4F98-A65E-0C93018A8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0513" y="3716338"/>
              <a:ext cx="361950" cy="100013"/>
            </a:xfrm>
            <a:custGeom>
              <a:avLst/>
              <a:gdLst>
                <a:gd name="T0" fmla="*/ 78 w 156"/>
                <a:gd name="T1" fmla="*/ 43 h 43"/>
                <a:gd name="T2" fmla="*/ 0 w 156"/>
                <a:gd name="T3" fmla="*/ 19 h 43"/>
                <a:gd name="T4" fmla="*/ 31 w 156"/>
                <a:gd name="T5" fmla="*/ 1 h 43"/>
                <a:gd name="T6" fmla="*/ 34 w 156"/>
                <a:gd name="T7" fmla="*/ 3 h 43"/>
                <a:gd name="T8" fmla="*/ 32 w 156"/>
                <a:gd name="T9" fmla="*/ 7 h 43"/>
                <a:gd name="T10" fmla="*/ 6 w 156"/>
                <a:gd name="T11" fmla="*/ 19 h 43"/>
                <a:gd name="T12" fmla="*/ 78 w 156"/>
                <a:gd name="T13" fmla="*/ 37 h 43"/>
                <a:gd name="T14" fmla="*/ 150 w 156"/>
                <a:gd name="T15" fmla="*/ 19 h 43"/>
                <a:gd name="T16" fmla="*/ 122 w 156"/>
                <a:gd name="T17" fmla="*/ 7 h 43"/>
                <a:gd name="T18" fmla="*/ 120 w 156"/>
                <a:gd name="T19" fmla="*/ 3 h 43"/>
                <a:gd name="T20" fmla="*/ 124 w 156"/>
                <a:gd name="T21" fmla="*/ 1 h 43"/>
                <a:gd name="T22" fmla="*/ 156 w 156"/>
                <a:gd name="T23" fmla="*/ 19 h 43"/>
                <a:gd name="T24" fmla="*/ 78 w 156"/>
                <a:gd name="T2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6" h="43">
                  <a:moveTo>
                    <a:pt x="78" y="43"/>
                  </a:moveTo>
                  <a:cubicBezTo>
                    <a:pt x="41" y="43"/>
                    <a:pt x="0" y="33"/>
                    <a:pt x="0" y="19"/>
                  </a:cubicBezTo>
                  <a:cubicBezTo>
                    <a:pt x="0" y="10"/>
                    <a:pt x="19" y="4"/>
                    <a:pt x="31" y="1"/>
                  </a:cubicBezTo>
                  <a:cubicBezTo>
                    <a:pt x="32" y="1"/>
                    <a:pt x="34" y="2"/>
                    <a:pt x="34" y="3"/>
                  </a:cubicBezTo>
                  <a:cubicBezTo>
                    <a:pt x="35" y="5"/>
                    <a:pt x="34" y="6"/>
                    <a:pt x="32" y="7"/>
                  </a:cubicBezTo>
                  <a:cubicBezTo>
                    <a:pt x="12" y="11"/>
                    <a:pt x="6" y="17"/>
                    <a:pt x="6" y="19"/>
                  </a:cubicBezTo>
                  <a:cubicBezTo>
                    <a:pt x="6" y="25"/>
                    <a:pt x="33" y="37"/>
                    <a:pt x="78" y="37"/>
                  </a:cubicBezTo>
                  <a:cubicBezTo>
                    <a:pt x="122" y="37"/>
                    <a:pt x="150" y="25"/>
                    <a:pt x="150" y="19"/>
                  </a:cubicBezTo>
                  <a:cubicBezTo>
                    <a:pt x="150" y="17"/>
                    <a:pt x="143" y="11"/>
                    <a:pt x="122" y="7"/>
                  </a:cubicBezTo>
                  <a:cubicBezTo>
                    <a:pt x="121" y="6"/>
                    <a:pt x="120" y="5"/>
                    <a:pt x="120" y="3"/>
                  </a:cubicBezTo>
                  <a:cubicBezTo>
                    <a:pt x="120" y="1"/>
                    <a:pt x="122" y="0"/>
                    <a:pt x="124" y="1"/>
                  </a:cubicBezTo>
                  <a:cubicBezTo>
                    <a:pt x="133" y="3"/>
                    <a:pt x="156" y="9"/>
                    <a:pt x="156" y="19"/>
                  </a:cubicBezTo>
                  <a:cubicBezTo>
                    <a:pt x="156" y="33"/>
                    <a:pt x="115" y="43"/>
                    <a:pt x="78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2" name="Freeform 434">
              <a:extLst>
                <a:ext uri="{FF2B5EF4-FFF2-40B4-BE49-F238E27FC236}">
                  <a16:creationId xmlns:a16="http://schemas.microsoft.com/office/drawing/2014/main" id="{E61C98B1-A1DB-4B5F-BD48-B52CED6E34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0513" y="4149725"/>
              <a:ext cx="361950" cy="60325"/>
            </a:xfrm>
            <a:custGeom>
              <a:avLst/>
              <a:gdLst>
                <a:gd name="T0" fmla="*/ 78 w 156"/>
                <a:gd name="T1" fmla="*/ 26 h 26"/>
                <a:gd name="T2" fmla="*/ 0 w 156"/>
                <a:gd name="T3" fmla="*/ 3 h 26"/>
                <a:gd name="T4" fmla="*/ 3 w 156"/>
                <a:gd name="T5" fmla="*/ 0 h 26"/>
                <a:gd name="T6" fmla="*/ 6 w 156"/>
                <a:gd name="T7" fmla="*/ 3 h 26"/>
                <a:gd name="T8" fmla="*/ 78 w 156"/>
                <a:gd name="T9" fmla="*/ 20 h 26"/>
                <a:gd name="T10" fmla="*/ 150 w 156"/>
                <a:gd name="T11" fmla="*/ 3 h 26"/>
                <a:gd name="T12" fmla="*/ 153 w 156"/>
                <a:gd name="T13" fmla="*/ 0 h 26"/>
                <a:gd name="T14" fmla="*/ 156 w 156"/>
                <a:gd name="T15" fmla="*/ 3 h 26"/>
                <a:gd name="T16" fmla="*/ 78 w 156"/>
                <a:gd name="T1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26">
                  <a:moveTo>
                    <a:pt x="78" y="26"/>
                  </a:moveTo>
                  <a:cubicBezTo>
                    <a:pt x="41" y="26"/>
                    <a:pt x="0" y="16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8"/>
                    <a:pt x="33" y="20"/>
                    <a:pt x="78" y="20"/>
                  </a:cubicBezTo>
                  <a:cubicBezTo>
                    <a:pt x="122" y="20"/>
                    <a:pt x="150" y="8"/>
                    <a:pt x="150" y="3"/>
                  </a:cubicBezTo>
                  <a:cubicBezTo>
                    <a:pt x="150" y="1"/>
                    <a:pt x="151" y="0"/>
                    <a:pt x="153" y="0"/>
                  </a:cubicBezTo>
                  <a:cubicBezTo>
                    <a:pt x="154" y="0"/>
                    <a:pt x="156" y="1"/>
                    <a:pt x="156" y="3"/>
                  </a:cubicBezTo>
                  <a:cubicBezTo>
                    <a:pt x="156" y="16"/>
                    <a:pt x="115" y="26"/>
                    <a:pt x="78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3" name="Freeform 435">
              <a:extLst>
                <a:ext uri="{FF2B5EF4-FFF2-40B4-BE49-F238E27FC236}">
                  <a16:creationId xmlns:a16="http://schemas.microsoft.com/office/drawing/2014/main" id="{5E684C70-FA8C-4DED-9FB3-D5BAD3B438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0513" y="4022725"/>
              <a:ext cx="361950" cy="61913"/>
            </a:xfrm>
            <a:custGeom>
              <a:avLst/>
              <a:gdLst>
                <a:gd name="T0" fmla="*/ 78 w 156"/>
                <a:gd name="T1" fmla="*/ 27 h 27"/>
                <a:gd name="T2" fmla="*/ 0 w 156"/>
                <a:gd name="T3" fmla="*/ 3 h 27"/>
                <a:gd name="T4" fmla="*/ 3 w 156"/>
                <a:gd name="T5" fmla="*/ 0 h 27"/>
                <a:gd name="T6" fmla="*/ 6 w 156"/>
                <a:gd name="T7" fmla="*/ 3 h 27"/>
                <a:gd name="T8" fmla="*/ 78 w 156"/>
                <a:gd name="T9" fmla="*/ 21 h 27"/>
                <a:gd name="T10" fmla="*/ 150 w 156"/>
                <a:gd name="T11" fmla="*/ 3 h 27"/>
                <a:gd name="T12" fmla="*/ 153 w 156"/>
                <a:gd name="T13" fmla="*/ 0 h 27"/>
                <a:gd name="T14" fmla="*/ 156 w 156"/>
                <a:gd name="T15" fmla="*/ 3 h 27"/>
                <a:gd name="T16" fmla="*/ 78 w 156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27">
                  <a:moveTo>
                    <a:pt x="78" y="27"/>
                  </a:moveTo>
                  <a:cubicBezTo>
                    <a:pt x="41" y="27"/>
                    <a:pt x="0" y="17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" y="0"/>
                    <a:pt x="6" y="1"/>
                    <a:pt x="6" y="3"/>
                  </a:cubicBezTo>
                  <a:cubicBezTo>
                    <a:pt x="6" y="8"/>
                    <a:pt x="33" y="21"/>
                    <a:pt x="78" y="21"/>
                  </a:cubicBezTo>
                  <a:cubicBezTo>
                    <a:pt x="122" y="21"/>
                    <a:pt x="150" y="8"/>
                    <a:pt x="150" y="3"/>
                  </a:cubicBezTo>
                  <a:cubicBezTo>
                    <a:pt x="150" y="1"/>
                    <a:pt x="151" y="0"/>
                    <a:pt x="153" y="0"/>
                  </a:cubicBezTo>
                  <a:cubicBezTo>
                    <a:pt x="154" y="0"/>
                    <a:pt x="156" y="1"/>
                    <a:pt x="156" y="3"/>
                  </a:cubicBezTo>
                  <a:cubicBezTo>
                    <a:pt x="156" y="17"/>
                    <a:pt x="115" y="27"/>
                    <a:pt x="78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4" name="Freeform 436">
              <a:extLst>
                <a:ext uri="{FF2B5EF4-FFF2-40B4-BE49-F238E27FC236}">
                  <a16:creationId xmlns:a16="http://schemas.microsoft.com/office/drawing/2014/main" id="{7E6DE776-27C2-461E-8D96-5474D9F27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0513" y="3887788"/>
              <a:ext cx="361950" cy="61913"/>
            </a:xfrm>
            <a:custGeom>
              <a:avLst/>
              <a:gdLst>
                <a:gd name="T0" fmla="*/ 78 w 156"/>
                <a:gd name="T1" fmla="*/ 27 h 27"/>
                <a:gd name="T2" fmla="*/ 0 w 156"/>
                <a:gd name="T3" fmla="*/ 3 h 27"/>
                <a:gd name="T4" fmla="*/ 3 w 156"/>
                <a:gd name="T5" fmla="*/ 0 h 27"/>
                <a:gd name="T6" fmla="*/ 6 w 156"/>
                <a:gd name="T7" fmla="*/ 3 h 27"/>
                <a:gd name="T8" fmla="*/ 78 w 156"/>
                <a:gd name="T9" fmla="*/ 21 h 27"/>
                <a:gd name="T10" fmla="*/ 150 w 156"/>
                <a:gd name="T11" fmla="*/ 3 h 27"/>
                <a:gd name="T12" fmla="*/ 153 w 156"/>
                <a:gd name="T13" fmla="*/ 0 h 27"/>
                <a:gd name="T14" fmla="*/ 156 w 156"/>
                <a:gd name="T15" fmla="*/ 3 h 27"/>
                <a:gd name="T16" fmla="*/ 78 w 156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6" h="27">
                  <a:moveTo>
                    <a:pt x="78" y="27"/>
                  </a:moveTo>
                  <a:cubicBezTo>
                    <a:pt x="41" y="27"/>
                    <a:pt x="0" y="17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4" y="0"/>
                    <a:pt x="6" y="2"/>
                    <a:pt x="6" y="3"/>
                  </a:cubicBezTo>
                  <a:cubicBezTo>
                    <a:pt x="6" y="9"/>
                    <a:pt x="33" y="21"/>
                    <a:pt x="78" y="21"/>
                  </a:cubicBezTo>
                  <a:cubicBezTo>
                    <a:pt x="122" y="21"/>
                    <a:pt x="150" y="9"/>
                    <a:pt x="150" y="3"/>
                  </a:cubicBezTo>
                  <a:cubicBezTo>
                    <a:pt x="150" y="2"/>
                    <a:pt x="151" y="0"/>
                    <a:pt x="153" y="0"/>
                  </a:cubicBezTo>
                  <a:cubicBezTo>
                    <a:pt x="154" y="0"/>
                    <a:pt x="156" y="2"/>
                    <a:pt x="156" y="3"/>
                  </a:cubicBezTo>
                  <a:cubicBezTo>
                    <a:pt x="156" y="17"/>
                    <a:pt x="115" y="27"/>
                    <a:pt x="78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5" name="Freeform 437">
              <a:extLst>
                <a:ext uri="{FF2B5EF4-FFF2-40B4-BE49-F238E27FC236}">
                  <a16:creationId xmlns:a16="http://schemas.microsoft.com/office/drawing/2014/main" id="{F56559BE-2B4E-46C2-A5E8-5091DBEE49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7188" y="3535363"/>
              <a:ext cx="225425" cy="242888"/>
            </a:xfrm>
            <a:custGeom>
              <a:avLst/>
              <a:gdLst>
                <a:gd name="T0" fmla="*/ 94 w 97"/>
                <a:gd name="T1" fmla="*/ 105 h 105"/>
                <a:gd name="T2" fmla="*/ 91 w 97"/>
                <a:gd name="T3" fmla="*/ 102 h 105"/>
                <a:gd name="T4" fmla="*/ 91 w 97"/>
                <a:gd name="T5" fmla="*/ 31 h 105"/>
                <a:gd name="T6" fmla="*/ 66 w 97"/>
                <a:gd name="T7" fmla="*/ 6 h 105"/>
                <a:gd name="T8" fmla="*/ 6 w 97"/>
                <a:gd name="T9" fmla="*/ 6 h 105"/>
                <a:gd name="T10" fmla="*/ 6 w 97"/>
                <a:gd name="T11" fmla="*/ 102 h 105"/>
                <a:gd name="T12" fmla="*/ 3 w 97"/>
                <a:gd name="T13" fmla="*/ 105 h 105"/>
                <a:gd name="T14" fmla="*/ 0 w 97"/>
                <a:gd name="T15" fmla="*/ 102 h 105"/>
                <a:gd name="T16" fmla="*/ 0 w 97"/>
                <a:gd name="T17" fmla="*/ 3 h 105"/>
                <a:gd name="T18" fmla="*/ 3 w 97"/>
                <a:gd name="T19" fmla="*/ 0 h 105"/>
                <a:gd name="T20" fmla="*/ 68 w 97"/>
                <a:gd name="T21" fmla="*/ 0 h 105"/>
                <a:gd name="T22" fmla="*/ 70 w 97"/>
                <a:gd name="T23" fmla="*/ 1 h 105"/>
                <a:gd name="T24" fmla="*/ 96 w 97"/>
                <a:gd name="T25" fmla="*/ 28 h 105"/>
                <a:gd name="T26" fmla="*/ 97 w 97"/>
                <a:gd name="T27" fmla="*/ 30 h 105"/>
                <a:gd name="T28" fmla="*/ 97 w 97"/>
                <a:gd name="T29" fmla="*/ 102 h 105"/>
                <a:gd name="T30" fmla="*/ 94 w 97"/>
                <a:gd name="T31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105">
                  <a:moveTo>
                    <a:pt x="94" y="105"/>
                  </a:moveTo>
                  <a:cubicBezTo>
                    <a:pt x="92" y="105"/>
                    <a:pt x="91" y="103"/>
                    <a:pt x="91" y="102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6" y="103"/>
                    <a:pt x="5" y="105"/>
                    <a:pt x="3" y="105"/>
                  </a:cubicBezTo>
                  <a:cubicBezTo>
                    <a:pt x="2" y="105"/>
                    <a:pt x="0" y="103"/>
                    <a:pt x="0" y="10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0"/>
                    <a:pt x="69" y="1"/>
                    <a:pt x="70" y="1"/>
                  </a:cubicBezTo>
                  <a:cubicBezTo>
                    <a:pt x="96" y="28"/>
                    <a:pt x="96" y="28"/>
                    <a:pt x="96" y="28"/>
                  </a:cubicBezTo>
                  <a:cubicBezTo>
                    <a:pt x="97" y="28"/>
                    <a:pt x="97" y="29"/>
                    <a:pt x="97" y="30"/>
                  </a:cubicBezTo>
                  <a:cubicBezTo>
                    <a:pt x="97" y="102"/>
                    <a:pt x="97" y="102"/>
                    <a:pt x="97" y="102"/>
                  </a:cubicBezTo>
                  <a:cubicBezTo>
                    <a:pt x="97" y="103"/>
                    <a:pt x="96" y="105"/>
                    <a:pt x="94" y="1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6" name="Freeform 438">
              <a:extLst>
                <a:ext uri="{FF2B5EF4-FFF2-40B4-BE49-F238E27FC236}">
                  <a16:creationId xmlns:a16="http://schemas.microsoft.com/office/drawing/2014/main" id="{3D92396B-124E-480B-89CD-0DE410274E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88001" y="3535363"/>
              <a:ext cx="74613" cy="76200"/>
            </a:xfrm>
            <a:custGeom>
              <a:avLst/>
              <a:gdLst>
                <a:gd name="T0" fmla="*/ 29 w 32"/>
                <a:gd name="T1" fmla="*/ 33 h 33"/>
                <a:gd name="T2" fmla="*/ 3 w 32"/>
                <a:gd name="T3" fmla="*/ 33 h 33"/>
                <a:gd name="T4" fmla="*/ 0 w 32"/>
                <a:gd name="T5" fmla="*/ 30 h 33"/>
                <a:gd name="T6" fmla="*/ 0 w 32"/>
                <a:gd name="T7" fmla="*/ 3 h 33"/>
                <a:gd name="T8" fmla="*/ 1 w 32"/>
                <a:gd name="T9" fmla="*/ 1 h 33"/>
                <a:gd name="T10" fmla="*/ 5 w 32"/>
                <a:gd name="T11" fmla="*/ 1 h 33"/>
                <a:gd name="T12" fmla="*/ 31 w 32"/>
                <a:gd name="T13" fmla="*/ 28 h 33"/>
                <a:gd name="T14" fmla="*/ 32 w 32"/>
                <a:gd name="T15" fmla="*/ 31 h 33"/>
                <a:gd name="T16" fmla="*/ 29 w 32"/>
                <a:gd name="T17" fmla="*/ 33 h 33"/>
                <a:gd name="T18" fmla="*/ 6 w 32"/>
                <a:gd name="T19" fmla="*/ 27 h 33"/>
                <a:gd name="T20" fmla="*/ 22 w 32"/>
                <a:gd name="T21" fmla="*/ 27 h 33"/>
                <a:gd name="T22" fmla="*/ 6 w 32"/>
                <a:gd name="T23" fmla="*/ 11 h 33"/>
                <a:gd name="T24" fmla="*/ 6 w 32"/>
                <a:gd name="T25" fmla="*/ 2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" h="33">
                  <a:moveTo>
                    <a:pt x="29" y="33"/>
                  </a:moveTo>
                  <a:cubicBezTo>
                    <a:pt x="3" y="33"/>
                    <a:pt x="3" y="33"/>
                    <a:pt x="3" y="33"/>
                  </a:cubicBezTo>
                  <a:cubicBezTo>
                    <a:pt x="1" y="33"/>
                    <a:pt x="0" y="31"/>
                    <a:pt x="0" y="3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3" y="0"/>
                    <a:pt x="4" y="0"/>
                    <a:pt x="5" y="1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2" y="28"/>
                    <a:pt x="32" y="30"/>
                    <a:pt x="32" y="31"/>
                  </a:cubicBezTo>
                  <a:cubicBezTo>
                    <a:pt x="31" y="32"/>
                    <a:pt x="30" y="33"/>
                    <a:pt x="29" y="33"/>
                  </a:cubicBezTo>
                  <a:close/>
                  <a:moveTo>
                    <a:pt x="6" y="27"/>
                  </a:moveTo>
                  <a:cubicBezTo>
                    <a:pt x="22" y="27"/>
                    <a:pt x="22" y="27"/>
                    <a:pt x="22" y="27"/>
                  </a:cubicBezTo>
                  <a:cubicBezTo>
                    <a:pt x="6" y="11"/>
                    <a:pt x="6" y="11"/>
                    <a:pt x="6" y="11"/>
                  </a:cubicBezTo>
                  <a:lnTo>
                    <a:pt x="6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7" name="Freeform 439">
              <a:extLst>
                <a:ext uri="{FF2B5EF4-FFF2-40B4-BE49-F238E27FC236}">
                  <a16:creationId xmlns:a16="http://schemas.microsoft.com/office/drawing/2014/main" id="{64E1E349-FBA0-477A-9655-E9FA048B04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0688" y="3632200"/>
              <a:ext cx="101600" cy="14288"/>
            </a:xfrm>
            <a:custGeom>
              <a:avLst/>
              <a:gdLst>
                <a:gd name="T0" fmla="*/ 41 w 44"/>
                <a:gd name="T1" fmla="*/ 6 h 6"/>
                <a:gd name="T2" fmla="*/ 3 w 44"/>
                <a:gd name="T3" fmla="*/ 6 h 6"/>
                <a:gd name="T4" fmla="*/ 0 w 44"/>
                <a:gd name="T5" fmla="*/ 3 h 6"/>
                <a:gd name="T6" fmla="*/ 3 w 44"/>
                <a:gd name="T7" fmla="*/ 0 h 6"/>
                <a:gd name="T8" fmla="*/ 41 w 44"/>
                <a:gd name="T9" fmla="*/ 0 h 6"/>
                <a:gd name="T10" fmla="*/ 44 w 44"/>
                <a:gd name="T11" fmla="*/ 3 h 6"/>
                <a:gd name="T12" fmla="*/ 41 w 44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6">
                  <a:moveTo>
                    <a:pt x="41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3" y="0"/>
                    <a:pt x="44" y="1"/>
                    <a:pt x="44" y="3"/>
                  </a:cubicBezTo>
                  <a:cubicBezTo>
                    <a:pt x="44" y="5"/>
                    <a:pt x="43" y="6"/>
                    <a:pt x="4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8" name="Freeform 440">
              <a:extLst>
                <a:ext uri="{FF2B5EF4-FFF2-40B4-BE49-F238E27FC236}">
                  <a16:creationId xmlns:a16="http://schemas.microsoft.com/office/drawing/2014/main" id="{1A0EDAFB-32C9-4E8B-B5E9-38FBA3FA4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3690938"/>
              <a:ext cx="139700" cy="12700"/>
            </a:xfrm>
            <a:custGeom>
              <a:avLst/>
              <a:gdLst>
                <a:gd name="T0" fmla="*/ 57 w 60"/>
                <a:gd name="T1" fmla="*/ 6 h 6"/>
                <a:gd name="T2" fmla="*/ 3 w 60"/>
                <a:gd name="T3" fmla="*/ 6 h 6"/>
                <a:gd name="T4" fmla="*/ 0 w 60"/>
                <a:gd name="T5" fmla="*/ 3 h 6"/>
                <a:gd name="T6" fmla="*/ 3 w 60"/>
                <a:gd name="T7" fmla="*/ 0 h 6"/>
                <a:gd name="T8" fmla="*/ 57 w 60"/>
                <a:gd name="T9" fmla="*/ 0 h 6"/>
                <a:gd name="T10" fmla="*/ 60 w 60"/>
                <a:gd name="T11" fmla="*/ 3 h 6"/>
                <a:gd name="T12" fmla="*/ 57 w 6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6">
                  <a:moveTo>
                    <a:pt x="5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9" y="0"/>
                    <a:pt x="60" y="2"/>
                    <a:pt x="60" y="3"/>
                  </a:cubicBezTo>
                  <a:cubicBezTo>
                    <a:pt x="60" y="5"/>
                    <a:pt x="59" y="6"/>
                    <a:pt x="5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9" name="Freeform 441">
              <a:extLst>
                <a:ext uri="{FF2B5EF4-FFF2-40B4-BE49-F238E27FC236}">
                  <a16:creationId xmlns:a16="http://schemas.microsoft.com/office/drawing/2014/main" id="{B6A2080B-A276-4682-849E-3FF9DAC9A034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1638" y="3729038"/>
              <a:ext cx="139700" cy="14288"/>
            </a:xfrm>
            <a:custGeom>
              <a:avLst/>
              <a:gdLst>
                <a:gd name="T0" fmla="*/ 57 w 60"/>
                <a:gd name="T1" fmla="*/ 6 h 6"/>
                <a:gd name="T2" fmla="*/ 3 w 60"/>
                <a:gd name="T3" fmla="*/ 6 h 6"/>
                <a:gd name="T4" fmla="*/ 0 w 60"/>
                <a:gd name="T5" fmla="*/ 3 h 6"/>
                <a:gd name="T6" fmla="*/ 3 w 60"/>
                <a:gd name="T7" fmla="*/ 0 h 6"/>
                <a:gd name="T8" fmla="*/ 57 w 60"/>
                <a:gd name="T9" fmla="*/ 0 h 6"/>
                <a:gd name="T10" fmla="*/ 60 w 60"/>
                <a:gd name="T11" fmla="*/ 3 h 6"/>
                <a:gd name="T12" fmla="*/ 57 w 6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6">
                  <a:moveTo>
                    <a:pt x="5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9" y="0"/>
                    <a:pt x="60" y="2"/>
                    <a:pt x="60" y="3"/>
                  </a:cubicBezTo>
                  <a:cubicBezTo>
                    <a:pt x="60" y="5"/>
                    <a:pt x="59" y="6"/>
                    <a:pt x="57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90" name="Группа 89"/>
          <p:cNvGrpSpPr/>
          <p:nvPr/>
        </p:nvGrpSpPr>
        <p:grpSpPr>
          <a:xfrm>
            <a:off x="5017361" y="2195416"/>
            <a:ext cx="491095" cy="398394"/>
            <a:chOff x="3975100" y="4972050"/>
            <a:chExt cx="706438" cy="573088"/>
          </a:xfrm>
          <a:solidFill>
            <a:schemeClr val="bg1"/>
          </a:solidFill>
        </p:grpSpPr>
        <p:sp>
          <p:nvSpPr>
            <p:cNvPr id="91" name="Freeform 309">
              <a:extLst>
                <a:ext uri="{FF2B5EF4-FFF2-40B4-BE49-F238E27FC236}">
                  <a16:creationId xmlns:a16="http://schemas.microsoft.com/office/drawing/2014/main" id="{9C2BE221-9AD6-4C2B-B03F-F052DEA000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1475" y="4972050"/>
              <a:ext cx="500063" cy="334963"/>
            </a:xfrm>
            <a:custGeom>
              <a:avLst/>
              <a:gdLst>
                <a:gd name="T0" fmla="*/ 181 w 219"/>
                <a:gd name="T1" fmla="*/ 145 h 145"/>
                <a:gd name="T2" fmla="*/ 181 w 219"/>
                <a:gd name="T3" fmla="*/ 145 h 145"/>
                <a:gd name="T4" fmla="*/ 140 w 219"/>
                <a:gd name="T5" fmla="*/ 145 h 145"/>
                <a:gd name="T6" fmla="*/ 137 w 219"/>
                <a:gd name="T7" fmla="*/ 142 h 145"/>
                <a:gd name="T8" fmla="*/ 140 w 219"/>
                <a:gd name="T9" fmla="*/ 139 h 145"/>
                <a:gd name="T10" fmla="*/ 140 w 219"/>
                <a:gd name="T11" fmla="*/ 139 h 145"/>
                <a:gd name="T12" fmla="*/ 181 w 219"/>
                <a:gd name="T13" fmla="*/ 139 h 145"/>
                <a:gd name="T14" fmla="*/ 181 w 219"/>
                <a:gd name="T15" fmla="*/ 139 h 145"/>
                <a:gd name="T16" fmla="*/ 213 w 219"/>
                <a:gd name="T17" fmla="*/ 106 h 145"/>
                <a:gd name="T18" fmla="*/ 181 w 219"/>
                <a:gd name="T19" fmla="*/ 73 h 145"/>
                <a:gd name="T20" fmla="*/ 179 w 219"/>
                <a:gd name="T21" fmla="*/ 72 h 145"/>
                <a:gd name="T22" fmla="*/ 178 w 219"/>
                <a:gd name="T23" fmla="*/ 69 h 145"/>
                <a:gd name="T24" fmla="*/ 183 w 219"/>
                <a:gd name="T25" fmla="*/ 49 h 145"/>
                <a:gd name="T26" fmla="*/ 140 w 219"/>
                <a:gd name="T27" fmla="*/ 6 h 145"/>
                <a:gd name="T28" fmla="*/ 101 w 219"/>
                <a:gd name="T29" fmla="*/ 29 h 145"/>
                <a:gd name="T30" fmla="*/ 99 w 219"/>
                <a:gd name="T31" fmla="*/ 30 h 145"/>
                <a:gd name="T32" fmla="*/ 97 w 219"/>
                <a:gd name="T33" fmla="*/ 30 h 145"/>
                <a:gd name="T34" fmla="*/ 71 w 219"/>
                <a:gd name="T35" fmla="*/ 20 h 145"/>
                <a:gd name="T36" fmla="*/ 31 w 219"/>
                <a:gd name="T37" fmla="*/ 60 h 145"/>
                <a:gd name="T38" fmla="*/ 29 w 219"/>
                <a:gd name="T39" fmla="*/ 63 h 145"/>
                <a:gd name="T40" fmla="*/ 6 w 219"/>
                <a:gd name="T41" fmla="*/ 99 h 145"/>
                <a:gd name="T42" fmla="*/ 3 w 219"/>
                <a:gd name="T43" fmla="*/ 102 h 145"/>
                <a:gd name="T44" fmla="*/ 0 w 219"/>
                <a:gd name="T45" fmla="*/ 99 h 145"/>
                <a:gd name="T46" fmla="*/ 25 w 219"/>
                <a:gd name="T47" fmla="*/ 58 h 145"/>
                <a:gd name="T48" fmla="*/ 71 w 219"/>
                <a:gd name="T49" fmla="*/ 14 h 145"/>
                <a:gd name="T50" fmla="*/ 98 w 219"/>
                <a:gd name="T51" fmla="*/ 23 h 145"/>
                <a:gd name="T52" fmla="*/ 140 w 219"/>
                <a:gd name="T53" fmla="*/ 0 h 145"/>
                <a:gd name="T54" fmla="*/ 189 w 219"/>
                <a:gd name="T55" fmla="*/ 49 h 145"/>
                <a:gd name="T56" fmla="*/ 186 w 219"/>
                <a:gd name="T57" fmla="*/ 68 h 145"/>
                <a:gd name="T58" fmla="*/ 219 w 219"/>
                <a:gd name="T59" fmla="*/ 106 h 145"/>
                <a:gd name="T60" fmla="*/ 181 w 219"/>
                <a:gd name="T61" fmla="*/ 145 h 145"/>
                <a:gd name="T62" fmla="*/ 181 w 219"/>
                <a:gd name="T6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9" h="145">
                  <a:moveTo>
                    <a:pt x="181" y="145"/>
                  </a:moveTo>
                  <a:cubicBezTo>
                    <a:pt x="181" y="145"/>
                    <a:pt x="181" y="145"/>
                    <a:pt x="181" y="145"/>
                  </a:cubicBezTo>
                  <a:cubicBezTo>
                    <a:pt x="140" y="145"/>
                    <a:pt x="140" y="145"/>
                    <a:pt x="140" y="145"/>
                  </a:cubicBezTo>
                  <a:cubicBezTo>
                    <a:pt x="138" y="145"/>
                    <a:pt x="137" y="144"/>
                    <a:pt x="137" y="142"/>
                  </a:cubicBezTo>
                  <a:cubicBezTo>
                    <a:pt x="137" y="141"/>
                    <a:pt x="138" y="139"/>
                    <a:pt x="140" y="139"/>
                  </a:cubicBezTo>
                  <a:cubicBezTo>
                    <a:pt x="140" y="139"/>
                    <a:pt x="140" y="139"/>
                    <a:pt x="140" y="139"/>
                  </a:cubicBezTo>
                  <a:cubicBezTo>
                    <a:pt x="181" y="139"/>
                    <a:pt x="181" y="139"/>
                    <a:pt x="181" y="139"/>
                  </a:cubicBezTo>
                  <a:cubicBezTo>
                    <a:pt x="181" y="139"/>
                    <a:pt x="181" y="139"/>
                    <a:pt x="181" y="139"/>
                  </a:cubicBezTo>
                  <a:cubicBezTo>
                    <a:pt x="199" y="139"/>
                    <a:pt x="213" y="124"/>
                    <a:pt x="213" y="106"/>
                  </a:cubicBezTo>
                  <a:cubicBezTo>
                    <a:pt x="213" y="88"/>
                    <a:pt x="199" y="74"/>
                    <a:pt x="181" y="73"/>
                  </a:cubicBezTo>
                  <a:cubicBezTo>
                    <a:pt x="180" y="73"/>
                    <a:pt x="179" y="73"/>
                    <a:pt x="179" y="72"/>
                  </a:cubicBezTo>
                  <a:cubicBezTo>
                    <a:pt x="178" y="71"/>
                    <a:pt x="178" y="70"/>
                    <a:pt x="178" y="69"/>
                  </a:cubicBezTo>
                  <a:cubicBezTo>
                    <a:pt x="182" y="63"/>
                    <a:pt x="183" y="56"/>
                    <a:pt x="183" y="49"/>
                  </a:cubicBezTo>
                  <a:cubicBezTo>
                    <a:pt x="183" y="25"/>
                    <a:pt x="164" y="6"/>
                    <a:pt x="140" y="6"/>
                  </a:cubicBezTo>
                  <a:cubicBezTo>
                    <a:pt x="124" y="6"/>
                    <a:pt x="109" y="14"/>
                    <a:pt x="101" y="29"/>
                  </a:cubicBezTo>
                  <a:cubicBezTo>
                    <a:pt x="101" y="29"/>
                    <a:pt x="100" y="30"/>
                    <a:pt x="99" y="30"/>
                  </a:cubicBezTo>
                  <a:cubicBezTo>
                    <a:pt x="98" y="30"/>
                    <a:pt x="98" y="30"/>
                    <a:pt x="97" y="30"/>
                  </a:cubicBezTo>
                  <a:cubicBezTo>
                    <a:pt x="90" y="23"/>
                    <a:pt x="81" y="20"/>
                    <a:pt x="71" y="20"/>
                  </a:cubicBezTo>
                  <a:cubicBezTo>
                    <a:pt x="49" y="20"/>
                    <a:pt x="31" y="38"/>
                    <a:pt x="31" y="60"/>
                  </a:cubicBezTo>
                  <a:cubicBezTo>
                    <a:pt x="31" y="61"/>
                    <a:pt x="30" y="62"/>
                    <a:pt x="29" y="63"/>
                  </a:cubicBezTo>
                  <a:cubicBezTo>
                    <a:pt x="15" y="69"/>
                    <a:pt x="6" y="84"/>
                    <a:pt x="6" y="99"/>
                  </a:cubicBezTo>
                  <a:cubicBezTo>
                    <a:pt x="6" y="101"/>
                    <a:pt x="4" y="102"/>
                    <a:pt x="3" y="102"/>
                  </a:cubicBezTo>
                  <a:cubicBezTo>
                    <a:pt x="1" y="102"/>
                    <a:pt x="0" y="101"/>
                    <a:pt x="0" y="99"/>
                  </a:cubicBezTo>
                  <a:cubicBezTo>
                    <a:pt x="0" y="82"/>
                    <a:pt x="10" y="66"/>
                    <a:pt x="25" y="58"/>
                  </a:cubicBezTo>
                  <a:cubicBezTo>
                    <a:pt x="26" y="34"/>
                    <a:pt x="46" y="14"/>
                    <a:pt x="71" y="14"/>
                  </a:cubicBezTo>
                  <a:cubicBezTo>
                    <a:pt x="81" y="14"/>
                    <a:pt x="90" y="17"/>
                    <a:pt x="98" y="23"/>
                  </a:cubicBezTo>
                  <a:cubicBezTo>
                    <a:pt x="107" y="8"/>
                    <a:pt x="123" y="0"/>
                    <a:pt x="140" y="0"/>
                  </a:cubicBezTo>
                  <a:cubicBezTo>
                    <a:pt x="167" y="0"/>
                    <a:pt x="189" y="22"/>
                    <a:pt x="189" y="49"/>
                  </a:cubicBezTo>
                  <a:cubicBezTo>
                    <a:pt x="189" y="55"/>
                    <a:pt x="188" y="62"/>
                    <a:pt x="186" y="68"/>
                  </a:cubicBezTo>
                  <a:cubicBezTo>
                    <a:pt x="205" y="70"/>
                    <a:pt x="219" y="86"/>
                    <a:pt x="219" y="106"/>
                  </a:cubicBezTo>
                  <a:cubicBezTo>
                    <a:pt x="219" y="127"/>
                    <a:pt x="202" y="145"/>
                    <a:pt x="181" y="145"/>
                  </a:cubicBezTo>
                  <a:cubicBezTo>
                    <a:pt x="181" y="145"/>
                    <a:pt x="181" y="145"/>
                    <a:pt x="181" y="1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2" name="Freeform 310">
              <a:extLst>
                <a:ext uri="{FF2B5EF4-FFF2-40B4-BE49-F238E27FC236}">
                  <a16:creationId xmlns:a16="http://schemas.microsoft.com/office/drawing/2014/main" id="{6F3DC16D-2B2E-4637-BB55-263DED0339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0500" y="5486400"/>
              <a:ext cx="547688" cy="58738"/>
            </a:xfrm>
            <a:custGeom>
              <a:avLst/>
              <a:gdLst>
                <a:gd name="T0" fmla="*/ 219 w 240"/>
                <a:gd name="T1" fmla="*/ 25 h 25"/>
                <a:gd name="T2" fmla="*/ 17 w 240"/>
                <a:gd name="T3" fmla="*/ 25 h 25"/>
                <a:gd name="T4" fmla="*/ 0 w 240"/>
                <a:gd name="T5" fmla="*/ 7 h 25"/>
                <a:gd name="T6" fmla="*/ 0 w 240"/>
                <a:gd name="T7" fmla="*/ 3 h 25"/>
                <a:gd name="T8" fmla="*/ 1 w 240"/>
                <a:gd name="T9" fmla="*/ 1 h 25"/>
                <a:gd name="T10" fmla="*/ 3 w 240"/>
                <a:gd name="T11" fmla="*/ 0 h 25"/>
                <a:gd name="T12" fmla="*/ 3 w 240"/>
                <a:gd name="T13" fmla="*/ 0 h 25"/>
                <a:gd name="T14" fmla="*/ 237 w 240"/>
                <a:gd name="T15" fmla="*/ 0 h 25"/>
                <a:gd name="T16" fmla="*/ 239 w 240"/>
                <a:gd name="T17" fmla="*/ 1 h 25"/>
                <a:gd name="T18" fmla="*/ 240 w 240"/>
                <a:gd name="T19" fmla="*/ 3 h 25"/>
                <a:gd name="T20" fmla="*/ 240 w 240"/>
                <a:gd name="T21" fmla="*/ 8 h 25"/>
                <a:gd name="T22" fmla="*/ 223 w 240"/>
                <a:gd name="T23" fmla="*/ 25 h 25"/>
                <a:gd name="T24" fmla="*/ 219 w 240"/>
                <a:gd name="T25" fmla="*/ 25 h 25"/>
                <a:gd name="T26" fmla="*/ 6 w 240"/>
                <a:gd name="T27" fmla="*/ 6 h 25"/>
                <a:gd name="T28" fmla="*/ 6 w 240"/>
                <a:gd name="T29" fmla="*/ 7 h 25"/>
                <a:gd name="T30" fmla="*/ 17 w 240"/>
                <a:gd name="T31" fmla="*/ 19 h 25"/>
                <a:gd name="T32" fmla="*/ 223 w 240"/>
                <a:gd name="T33" fmla="*/ 19 h 25"/>
                <a:gd name="T34" fmla="*/ 234 w 240"/>
                <a:gd name="T35" fmla="*/ 8 h 25"/>
                <a:gd name="T36" fmla="*/ 234 w 240"/>
                <a:gd name="T37" fmla="*/ 6 h 25"/>
                <a:gd name="T38" fmla="*/ 6 w 240"/>
                <a:gd name="T39" fmla="*/ 6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40" h="25">
                  <a:moveTo>
                    <a:pt x="219" y="25"/>
                  </a:moveTo>
                  <a:cubicBezTo>
                    <a:pt x="189" y="25"/>
                    <a:pt x="19" y="25"/>
                    <a:pt x="17" y="25"/>
                  </a:cubicBezTo>
                  <a:cubicBezTo>
                    <a:pt x="2" y="25"/>
                    <a:pt x="0" y="17"/>
                    <a:pt x="0" y="7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37" y="0"/>
                    <a:pt x="237" y="0"/>
                    <a:pt x="237" y="0"/>
                  </a:cubicBezTo>
                  <a:cubicBezTo>
                    <a:pt x="238" y="0"/>
                    <a:pt x="239" y="1"/>
                    <a:pt x="239" y="1"/>
                  </a:cubicBezTo>
                  <a:cubicBezTo>
                    <a:pt x="240" y="2"/>
                    <a:pt x="240" y="3"/>
                    <a:pt x="240" y="3"/>
                  </a:cubicBezTo>
                  <a:cubicBezTo>
                    <a:pt x="240" y="8"/>
                    <a:pt x="240" y="8"/>
                    <a:pt x="240" y="8"/>
                  </a:cubicBezTo>
                  <a:cubicBezTo>
                    <a:pt x="240" y="17"/>
                    <a:pt x="239" y="25"/>
                    <a:pt x="223" y="25"/>
                  </a:cubicBezTo>
                  <a:cubicBezTo>
                    <a:pt x="223" y="25"/>
                    <a:pt x="222" y="25"/>
                    <a:pt x="219" y="25"/>
                  </a:cubicBezTo>
                  <a:close/>
                  <a:moveTo>
                    <a:pt x="6" y="6"/>
                  </a:moveTo>
                  <a:cubicBezTo>
                    <a:pt x="6" y="7"/>
                    <a:pt x="6" y="7"/>
                    <a:pt x="6" y="7"/>
                  </a:cubicBezTo>
                  <a:cubicBezTo>
                    <a:pt x="6" y="16"/>
                    <a:pt x="7" y="19"/>
                    <a:pt x="17" y="19"/>
                  </a:cubicBezTo>
                  <a:cubicBezTo>
                    <a:pt x="19" y="19"/>
                    <a:pt x="220" y="19"/>
                    <a:pt x="223" y="19"/>
                  </a:cubicBezTo>
                  <a:cubicBezTo>
                    <a:pt x="234" y="19"/>
                    <a:pt x="234" y="16"/>
                    <a:pt x="234" y="8"/>
                  </a:cubicBezTo>
                  <a:cubicBezTo>
                    <a:pt x="234" y="6"/>
                    <a:pt x="234" y="6"/>
                    <a:pt x="234" y="6"/>
                  </a:cubicBez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3" name="Freeform 311">
              <a:extLst>
                <a:ext uri="{FF2B5EF4-FFF2-40B4-BE49-F238E27FC236}">
                  <a16:creationId xmlns:a16="http://schemas.microsoft.com/office/drawing/2014/main" id="{9C38B617-A091-4D7C-946E-307ED7478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7175" y="5221288"/>
              <a:ext cx="417513" cy="279400"/>
            </a:xfrm>
            <a:custGeom>
              <a:avLst/>
              <a:gdLst>
                <a:gd name="T0" fmla="*/ 180 w 183"/>
                <a:gd name="T1" fmla="*/ 121 h 121"/>
                <a:gd name="T2" fmla="*/ 177 w 183"/>
                <a:gd name="T3" fmla="*/ 118 h 121"/>
                <a:gd name="T4" fmla="*/ 177 w 183"/>
                <a:gd name="T5" fmla="*/ 9 h 121"/>
                <a:gd name="T6" fmla="*/ 173 w 183"/>
                <a:gd name="T7" fmla="*/ 6 h 121"/>
                <a:gd name="T8" fmla="*/ 9 w 183"/>
                <a:gd name="T9" fmla="*/ 6 h 121"/>
                <a:gd name="T10" fmla="*/ 6 w 183"/>
                <a:gd name="T11" fmla="*/ 9 h 121"/>
                <a:gd name="T12" fmla="*/ 6 w 183"/>
                <a:gd name="T13" fmla="*/ 116 h 121"/>
                <a:gd name="T14" fmla="*/ 3 w 183"/>
                <a:gd name="T15" fmla="*/ 119 h 121"/>
                <a:gd name="T16" fmla="*/ 0 w 183"/>
                <a:gd name="T17" fmla="*/ 116 h 121"/>
                <a:gd name="T18" fmla="*/ 0 w 183"/>
                <a:gd name="T19" fmla="*/ 9 h 121"/>
                <a:gd name="T20" fmla="*/ 9 w 183"/>
                <a:gd name="T21" fmla="*/ 0 h 121"/>
                <a:gd name="T22" fmla="*/ 173 w 183"/>
                <a:gd name="T23" fmla="*/ 0 h 121"/>
                <a:gd name="T24" fmla="*/ 183 w 183"/>
                <a:gd name="T25" fmla="*/ 9 h 121"/>
                <a:gd name="T26" fmla="*/ 183 w 183"/>
                <a:gd name="T27" fmla="*/ 118 h 121"/>
                <a:gd name="T28" fmla="*/ 180 w 183"/>
                <a:gd name="T29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3" h="121">
                  <a:moveTo>
                    <a:pt x="180" y="121"/>
                  </a:moveTo>
                  <a:cubicBezTo>
                    <a:pt x="178" y="121"/>
                    <a:pt x="177" y="120"/>
                    <a:pt x="177" y="118"/>
                  </a:cubicBezTo>
                  <a:cubicBezTo>
                    <a:pt x="177" y="9"/>
                    <a:pt x="177" y="9"/>
                    <a:pt x="177" y="9"/>
                  </a:cubicBezTo>
                  <a:cubicBezTo>
                    <a:pt x="177" y="6"/>
                    <a:pt x="174" y="6"/>
                    <a:pt x="17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8" y="6"/>
                    <a:pt x="6" y="7"/>
                    <a:pt x="6" y="9"/>
                  </a:cubicBezTo>
                  <a:cubicBezTo>
                    <a:pt x="6" y="116"/>
                    <a:pt x="6" y="116"/>
                    <a:pt x="6" y="116"/>
                  </a:cubicBezTo>
                  <a:cubicBezTo>
                    <a:pt x="6" y="118"/>
                    <a:pt x="4" y="119"/>
                    <a:pt x="3" y="119"/>
                  </a:cubicBezTo>
                  <a:cubicBezTo>
                    <a:pt x="1" y="119"/>
                    <a:pt x="0" y="118"/>
                    <a:pt x="0" y="11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3"/>
                    <a:pt x="5" y="0"/>
                    <a:pt x="9" y="0"/>
                  </a:cubicBezTo>
                  <a:cubicBezTo>
                    <a:pt x="173" y="0"/>
                    <a:pt x="173" y="0"/>
                    <a:pt x="173" y="0"/>
                  </a:cubicBezTo>
                  <a:cubicBezTo>
                    <a:pt x="177" y="0"/>
                    <a:pt x="183" y="3"/>
                    <a:pt x="183" y="9"/>
                  </a:cubicBezTo>
                  <a:cubicBezTo>
                    <a:pt x="183" y="118"/>
                    <a:pt x="183" y="118"/>
                    <a:pt x="183" y="118"/>
                  </a:cubicBezTo>
                  <a:cubicBezTo>
                    <a:pt x="183" y="120"/>
                    <a:pt x="181" y="121"/>
                    <a:pt x="180" y="1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4" name="Freeform 312">
              <a:extLst>
                <a:ext uri="{FF2B5EF4-FFF2-40B4-BE49-F238E27FC236}">
                  <a16:creationId xmlns:a16="http://schemas.microsoft.com/office/drawing/2014/main" id="{7BDD312E-C084-403A-899B-1F52C6203F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8925" y="5253038"/>
              <a:ext cx="355600" cy="228600"/>
            </a:xfrm>
            <a:custGeom>
              <a:avLst/>
              <a:gdLst>
                <a:gd name="T0" fmla="*/ 153 w 156"/>
                <a:gd name="T1" fmla="*/ 99 h 99"/>
                <a:gd name="T2" fmla="*/ 150 w 156"/>
                <a:gd name="T3" fmla="*/ 96 h 99"/>
                <a:gd name="T4" fmla="*/ 150 w 156"/>
                <a:gd name="T5" fmla="*/ 6 h 99"/>
                <a:gd name="T6" fmla="*/ 6 w 156"/>
                <a:gd name="T7" fmla="*/ 6 h 99"/>
                <a:gd name="T8" fmla="*/ 6 w 156"/>
                <a:gd name="T9" fmla="*/ 94 h 99"/>
                <a:gd name="T10" fmla="*/ 3 w 156"/>
                <a:gd name="T11" fmla="*/ 97 h 99"/>
                <a:gd name="T12" fmla="*/ 0 w 156"/>
                <a:gd name="T13" fmla="*/ 94 h 99"/>
                <a:gd name="T14" fmla="*/ 0 w 156"/>
                <a:gd name="T15" fmla="*/ 3 h 99"/>
                <a:gd name="T16" fmla="*/ 3 w 156"/>
                <a:gd name="T17" fmla="*/ 0 h 99"/>
                <a:gd name="T18" fmla="*/ 153 w 156"/>
                <a:gd name="T19" fmla="*/ 0 h 99"/>
                <a:gd name="T20" fmla="*/ 156 w 156"/>
                <a:gd name="T21" fmla="*/ 3 h 99"/>
                <a:gd name="T22" fmla="*/ 156 w 156"/>
                <a:gd name="T23" fmla="*/ 96 h 99"/>
                <a:gd name="T24" fmla="*/ 153 w 156"/>
                <a:gd name="T2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6" h="99">
                  <a:moveTo>
                    <a:pt x="153" y="99"/>
                  </a:moveTo>
                  <a:cubicBezTo>
                    <a:pt x="151" y="99"/>
                    <a:pt x="150" y="97"/>
                    <a:pt x="150" y="96"/>
                  </a:cubicBezTo>
                  <a:cubicBezTo>
                    <a:pt x="150" y="6"/>
                    <a:pt x="150" y="6"/>
                    <a:pt x="150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94"/>
                    <a:pt x="6" y="94"/>
                    <a:pt x="6" y="94"/>
                  </a:cubicBezTo>
                  <a:cubicBezTo>
                    <a:pt x="6" y="95"/>
                    <a:pt x="4" y="97"/>
                    <a:pt x="3" y="97"/>
                  </a:cubicBezTo>
                  <a:cubicBezTo>
                    <a:pt x="1" y="97"/>
                    <a:pt x="0" y="95"/>
                    <a:pt x="0" y="9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54" y="0"/>
                    <a:pt x="156" y="1"/>
                    <a:pt x="156" y="3"/>
                  </a:cubicBezTo>
                  <a:cubicBezTo>
                    <a:pt x="156" y="96"/>
                    <a:pt x="156" y="96"/>
                    <a:pt x="156" y="96"/>
                  </a:cubicBezTo>
                  <a:cubicBezTo>
                    <a:pt x="156" y="97"/>
                    <a:pt x="154" y="99"/>
                    <a:pt x="153" y="9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5" name="Freeform 313">
              <a:extLst>
                <a:ext uri="{FF2B5EF4-FFF2-40B4-BE49-F238E27FC236}">
                  <a16:creationId xmlns:a16="http://schemas.microsoft.com/office/drawing/2014/main" id="{C0A4C8A0-A6F6-4638-9082-4AC765CEA1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100" y="5094288"/>
              <a:ext cx="169863" cy="327025"/>
            </a:xfrm>
            <a:custGeom>
              <a:avLst/>
              <a:gdLst>
                <a:gd name="T0" fmla="*/ 3 w 74"/>
                <a:gd name="T1" fmla="*/ 142 h 142"/>
                <a:gd name="T2" fmla="*/ 0 w 74"/>
                <a:gd name="T3" fmla="*/ 139 h 142"/>
                <a:gd name="T4" fmla="*/ 0 w 74"/>
                <a:gd name="T5" fmla="*/ 3 h 142"/>
                <a:gd name="T6" fmla="*/ 3 w 74"/>
                <a:gd name="T7" fmla="*/ 0 h 142"/>
                <a:gd name="T8" fmla="*/ 71 w 74"/>
                <a:gd name="T9" fmla="*/ 0 h 142"/>
                <a:gd name="T10" fmla="*/ 74 w 74"/>
                <a:gd name="T11" fmla="*/ 3 h 142"/>
                <a:gd name="T12" fmla="*/ 71 w 74"/>
                <a:gd name="T13" fmla="*/ 6 h 142"/>
                <a:gd name="T14" fmla="*/ 6 w 74"/>
                <a:gd name="T15" fmla="*/ 6 h 142"/>
                <a:gd name="T16" fmla="*/ 6 w 74"/>
                <a:gd name="T17" fmla="*/ 139 h 142"/>
                <a:gd name="T18" fmla="*/ 3 w 74"/>
                <a:gd name="T1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142">
                  <a:moveTo>
                    <a:pt x="3" y="142"/>
                  </a:moveTo>
                  <a:cubicBezTo>
                    <a:pt x="1" y="142"/>
                    <a:pt x="0" y="141"/>
                    <a:pt x="0" y="13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72" y="0"/>
                    <a:pt x="74" y="1"/>
                    <a:pt x="74" y="3"/>
                  </a:cubicBezTo>
                  <a:cubicBezTo>
                    <a:pt x="74" y="5"/>
                    <a:pt x="72" y="6"/>
                    <a:pt x="71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139"/>
                    <a:pt x="6" y="139"/>
                    <a:pt x="6" y="139"/>
                  </a:cubicBezTo>
                  <a:cubicBezTo>
                    <a:pt x="6" y="141"/>
                    <a:pt x="4" y="142"/>
                    <a:pt x="3" y="1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6" name="Freeform 314">
              <a:extLst>
                <a:ext uri="{FF2B5EF4-FFF2-40B4-BE49-F238E27FC236}">
                  <a16:creationId xmlns:a16="http://schemas.microsoft.com/office/drawing/2014/main" id="{C77B44B1-701B-41B9-BABD-A0BEA98B5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1838" y="5343525"/>
              <a:ext cx="41275" cy="96838"/>
            </a:xfrm>
            <a:custGeom>
              <a:avLst/>
              <a:gdLst>
                <a:gd name="T0" fmla="*/ 15 w 18"/>
                <a:gd name="T1" fmla="*/ 42 h 42"/>
                <a:gd name="T2" fmla="*/ 3 w 18"/>
                <a:gd name="T3" fmla="*/ 42 h 42"/>
                <a:gd name="T4" fmla="*/ 0 w 18"/>
                <a:gd name="T5" fmla="*/ 39 h 42"/>
                <a:gd name="T6" fmla="*/ 3 w 18"/>
                <a:gd name="T7" fmla="*/ 36 h 42"/>
                <a:gd name="T8" fmla="*/ 12 w 18"/>
                <a:gd name="T9" fmla="*/ 36 h 42"/>
                <a:gd name="T10" fmla="*/ 12 w 18"/>
                <a:gd name="T11" fmla="*/ 3 h 42"/>
                <a:gd name="T12" fmla="*/ 15 w 18"/>
                <a:gd name="T13" fmla="*/ 0 h 42"/>
                <a:gd name="T14" fmla="*/ 18 w 18"/>
                <a:gd name="T15" fmla="*/ 3 h 42"/>
                <a:gd name="T16" fmla="*/ 18 w 18"/>
                <a:gd name="T17" fmla="*/ 39 h 42"/>
                <a:gd name="T18" fmla="*/ 15 w 18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" h="42">
                  <a:moveTo>
                    <a:pt x="15" y="42"/>
                  </a:moveTo>
                  <a:cubicBezTo>
                    <a:pt x="3" y="42"/>
                    <a:pt x="3" y="42"/>
                    <a:pt x="3" y="42"/>
                  </a:cubicBezTo>
                  <a:cubicBezTo>
                    <a:pt x="1" y="42"/>
                    <a:pt x="0" y="41"/>
                    <a:pt x="0" y="39"/>
                  </a:cubicBezTo>
                  <a:cubicBezTo>
                    <a:pt x="0" y="37"/>
                    <a:pt x="1" y="36"/>
                    <a:pt x="3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1"/>
                    <a:pt x="13" y="0"/>
                    <a:pt x="15" y="0"/>
                  </a:cubicBezTo>
                  <a:cubicBezTo>
                    <a:pt x="16" y="0"/>
                    <a:pt x="18" y="1"/>
                    <a:pt x="18" y="3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41"/>
                    <a:pt x="16" y="42"/>
                    <a:pt x="15" y="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7" name="Freeform 315">
              <a:extLst>
                <a:ext uri="{FF2B5EF4-FFF2-40B4-BE49-F238E27FC236}">
                  <a16:creationId xmlns:a16="http://schemas.microsoft.com/office/drawing/2014/main" id="{3C4B7BB0-259A-42AF-8CBD-2781017625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5800" y="5426075"/>
              <a:ext cx="23813" cy="14288"/>
            </a:xfrm>
            <a:custGeom>
              <a:avLst/>
              <a:gdLst>
                <a:gd name="T0" fmla="*/ 7 w 10"/>
                <a:gd name="T1" fmla="*/ 6 h 6"/>
                <a:gd name="T2" fmla="*/ 3 w 10"/>
                <a:gd name="T3" fmla="*/ 6 h 6"/>
                <a:gd name="T4" fmla="*/ 0 w 10"/>
                <a:gd name="T5" fmla="*/ 3 h 6"/>
                <a:gd name="T6" fmla="*/ 3 w 10"/>
                <a:gd name="T7" fmla="*/ 0 h 6"/>
                <a:gd name="T8" fmla="*/ 7 w 10"/>
                <a:gd name="T9" fmla="*/ 0 h 6"/>
                <a:gd name="T10" fmla="*/ 10 w 10"/>
                <a:gd name="T11" fmla="*/ 3 h 6"/>
                <a:gd name="T12" fmla="*/ 7 w 1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6">
                  <a:moveTo>
                    <a:pt x="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10" y="1"/>
                    <a:pt x="10" y="3"/>
                  </a:cubicBezTo>
                  <a:cubicBezTo>
                    <a:pt x="10" y="5"/>
                    <a:pt x="8" y="6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8" name="Freeform 316">
              <a:extLst>
                <a:ext uri="{FF2B5EF4-FFF2-40B4-BE49-F238E27FC236}">
                  <a16:creationId xmlns:a16="http://schemas.microsoft.com/office/drawing/2014/main" id="{4EAE1E90-89B1-4155-98CB-9C055CECD7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7188" y="5094288"/>
              <a:ext cx="22225" cy="14288"/>
            </a:xfrm>
            <a:custGeom>
              <a:avLst/>
              <a:gdLst>
                <a:gd name="T0" fmla="*/ 7 w 10"/>
                <a:gd name="T1" fmla="*/ 6 h 6"/>
                <a:gd name="T2" fmla="*/ 3 w 10"/>
                <a:gd name="T3" fmla="*/ 6 h 6"/>
                <a:gd name="T4" fmla="*/ 0 w 10"/>
                <a:gd name="T5" fmla="*/ 3 h 6"/>
                <a:gd name="T6" fmla="*/ 3 w 10"/>
                <a:gd name="T7" fmla="*/ 0 h 6"/>
                <a:gd name="T8" fmla="*/ 7 w 10"/>
                <a:gd name="T9" fmla="*/ 0 h 6"/>
                <a:gd name="T10" fmla="*/ 10 w 10"/>
                <a:gd name="T11" fmla="*/ 3 h 6"/>
                <a:gd name="T12" fmla="*/ 7 w 1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6">
                  <a:moveTo>
                    <a:pt x="7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1" y="6"/>
                    <a:pt x="0" y="5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10" y="1"/>
                    <a:pt x="10" y="3"/>
                  </a:cubicBezTo>
                  <a:cubicBezTo>
                    <a:pt x="10" y="5"/>
                    <a:pt x="8" y="6"/>
                    <a:pt x="7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cxnSp>
        <p:nvCxnSpPr>
          <p:cNvPr id="105" name="Прямая соединительная линия 104"/>
          <p:cNvCxnSpPr/>
          <p:nvPr/>
        </p:nvCxnSpPr>
        <p:spPr>
          <a:xfrm>
            <a:off x="7904182" y="3448563"/>
            <a:ext cx="3803021" cy="0"/>
          </a:xfrm>
          <a:prstGeom prst="line">
            <a:avLst/>
          </a:prstGeom>
          <a:ln w="6350">
            <a:solidFill>
              <a:srgbClr val="FE575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Box 107"/>
          <p:cNvSpPr txBox="1"/>
          <p:nvPr/>
        </p:nvSpPr>
        <p:spPr>
          <a:xfrm>
            <a:off x="8574422" y="1754413"/>
            <a:ext cx="3263300" cy="12157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Единая CIM-модель</a:t>
            </a:r>
          </a:p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Единые нотации</a:t>
            </a:r>
          </a:p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Единые модели</a:t>
            </a:r>
          </a:p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Единые справочники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8574422" y="3801414"/>
            <a:ext cx="3263300" cy="11387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Единый профиль компетенций</a:t>
            </a:r>
          </a:p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Единые требования к подготовке </a:t>
            </a:r>
            <a:r>
              <a:rPr lang="ru-RU" sz="1600" dirty="0" smtClean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(ВУЗы</a:t>
            </a:r>
            <a:r>
              <a:rPr lang="ru-RU" sz="1600" dirty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ru-RU" sz="1600" dirty="0" err="1" smtClean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СУЗы</a:t>
            </a:r>
            <a:r>
              <a:rPr lang="ru-RU" sz="1600" dirty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)</a:t>
            </a:r>
          </a:p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Общая площадка обмена знаниями</a:t>
            </a:r>
          </a:p>
        </p:txBody>
      </p:sp>
      <p:sp>
        <p:nvSpPr>
          <p:cNvPr id="111" name="Овал 110"/>
          <p:cNvSpPr/>
          <p:nvPr/>
        </p:nvSpPr>
        <p:spPr>
          <a:xfrm>
            <a:off x="8350306" y="1830335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2" name="TextBox 121"/>
          <p:cNvSpPr txBox="1"/>
          <p:nvPr/>
        </p:nvSpPr>
        <p:spPr>
          <a:xfrm>
            <a:off x="1016314" y="1548610"/>
            <a:ext cx="3111679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2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Единые стандарты ИТ-архитектуры</a:t>
            </a:r>
          </a:p>
          <a:p>
            <a:pPr>
              <a:spcAft>
                <a:spcPts val="600"/>
              </a:spcAft>
            </a:pPr>
            <a:r>
              <a:rPr lang="ru-RU" sz="12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Синхронизированные планы по </a:t>
            </a:r>
            <a:r>
              <a:rPr lang="ru-RU" sz="12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импортозамещению</a:t>
            </a:r>
            <a:endParaRPr lang="ru-RU" sz="12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2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Координация подхода и консолидация заказа по </a:t>
            </a:r>
            <a:r>
              <a:rPr lang="ru-RU" sz="1200" dirty="0" err="1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импортозамещению</a:t>
            </a:r>
            <a:endParaRPr lang="ru-RU" sz="12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2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Технопарки, полигоны тестирования</a:t>
            </a:r>
          </a:p>
          <a:p>
            <a:pPr>
              <a:spcAft>
                <a:spcPts val="600"/>
              </a:spcAft>
            </a:pPr>
            <a:r>
              <a:rPr lang="ru-RU" sz="12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Взаимно-признаваемые программы –</a:t>
            </a:r>
          </a:p>
          <a:p>
            <a:pPr>
              <a:spcAft>
                <a:spcPts val="600"/>
              </a:spcAft>
            </a:pPr>
            <a:r>
              <a:rPr lang="ru-RU" sz="12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методики испытаний</a:t>
            </a:r>
          </a:p>
        </p:txBody>
      </p:sp>
      <p:sp>
        <p:nvSpPr>
          <p:cNvPr id="17" name="Полилиния 16"/>
          <p:cNvSpPr/>
          <p:nvPr/>
        </p:nvSpPr>
        <p:spPr>
          <a:xfrm>
            <a:off x="6096978" y="1417862"/>
            <a:ext cx="5781675" cy="161925"/>
          </a:xfrm>
          <a:custGeom>
            <a:avLst/>
            <a:gdLst>
              <a:gd name="connsiteX0" fmla="*/ 0 w 5781675"/>
              <a:gd name="connsiteY0" fmla="*/ 161925 h 161925"/>
              <a:gd name="connsiteX1" fmla="*/ 0 w 5781675"/>
              <a:gd name="connsiteY1" fmla="*/ 0 h 161925"/>
              <a:gd name="connsiteX2" fmla="*/ 5781675 w 5781675"/>
              <a:gd name="connsiteY2" fmla="*/ 0 h 16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81675" h="161925">
                <a:moveTo>
                  <a:pt x="0" y="161925"/>
                </a:moveTo>
                <a:lnTo>
                  <a:pt x="0" y="0"/>
                </a:lnTo>
                <a:lnTo>
                  <a:pt x="5781675" y="0"/>
                </a:lnTo>
              </a:path>
            </a:pathLst>
          </a:custGeom>
          <a:noFill/>
          <a:ln w="6350">
            <a:solidFill>
              <a:srgbClr val="FE5757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4" name="Полилиния 133"/>
          <p:cNvSpPr/>
          <p:nvPr/>
        </p:nvSpPr>
        <p:spPr>
          <a:xfrm flipH="1">
            <a:off x="673975" y="1417862"/>
            <a:ext cx="5319531" cy="161925"/>
          </a:xfrm>
          <a:custGeom>
            <a:avLst/>
            <a:gdLst>
              <a:gd name="connsiteX0" fmla="*/ 0 w 5781675"/>
              <a:gd name="connsiteY0" fmla="*/ 161925 h 161925"/>
              <a:gd name="connsiteX1" fmla="*/ 0 w 5781675"/>
              <a:gd name="connsiteY1" fmla="*/ 0 h 161925"/>
              <a:gd name="connsiteX2" fmla="*/ 5781675 w 5781675"/>
              <a:gd name="connsiteY2" fmla="*/ 0 h 16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81675" h="161925">
                <a:moveTo>
                  <a:pt x="0" y="161925"/>
                </a:moveTo>
                <a:lnTo>
                  <a:pt x="0" y="0"/>
                </a:lnTo>
                <a:lnTo>
                  <a:pt x="5781675" y="0"/>
                </a:lnTo>
              </a:path>
            </a:pathLst>
          </a:custGeom>
          <a:noFill/>
          <a:ln w="6350">
            <a:solidFill>
              <a:srgbClr val="FE5757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9" name="TextBox 98"/>
          <p:cNvSpPr txBox="1"/>
          <p:nvPr/>
        </p:nvSpPr>
        <p:spPr>
          <a:xfrm>
            <a:off x="524110" y="282355"/>
            <a:ext cx="1120697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600" dirty="0">
                <a:latin typeface="+mn-lt"/>
              </a:rPr>
              <a:t>НАПРАВЛЕНИЯ КООПЕРАЦИИ</a:t>
            </a:r>
          </a:p>
        </p:txBody>
      </p:sp>
      <p:cxnSp>
        <p:nvCxnSpPr>
          <p:cNvPr id="100" name="Прямая соединительная линия 99"/>
          <p:cNvCxnSpPr/>
          <p:nvPr/>
        </p:nvCxnSpPr>
        <p:spPr>
          <a:xfrm>
            <a:off x="774441" y="3448563"/>
            <a:ext cx="3383871" cy="0"/>
          </a:xfrm>
          <a:prstGeom prst="line">
            <a:avLst/>
          </a:prstGeom>
          <a:ln w="6350">
            <a:solidFill>
              <a:srgbClr val="FE575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Box 101"/>
          <p:cNvSpPr txBox="1"/>
          <p:nvPr/>
        </p:nvSpPr>
        <p:spPr>
          <a:xfrm>
            <a:off x="1016314" y="3801414"/>
            <a:ext cx="3263300" cy="569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Единые нотации описания</a:t>
            </a:r>
          </a:p>
          <a:p>
            <a:pPr>
              <a:spcAft>
                <a:spcPts val="600"/>
              </a:spcAft>
            </a:pPr>
            <a:r>
              <a:rPr lang="ru-RU" sz="1600" dirty="0">
                <a:solidFill>
                  <a:schemeClr val="bg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Типовые библиотеки процессов</a:t>
            </a:r>
          </a:p>
        </p:txBody>
      </p:sp>
      <p:sp>
        <p:nvSpPr>
          <p:cNvPr id="106" name="Овал 105"/>
          <p:cNvSpPr/>
          <p:nvPr/>
        </p:nvSpPr>
        <p:spPr>
          <a:xfrm>
            <a:off x="8350306" y="2127920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9" name="Овал 108"/>
          <p:cNvSpPr/>
          <p:nvPr/>
        </p:nvSpPr>
        <p:spPr>
          <a:xfrm>
            <a:off x="8350306" y="2445560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2" name="Овал 111"/>
          <p:cNvSpPr/>
          <p:nvPr/>
        </p:nvSpPr>
        <p:spPr>
          <a:xfrm>
            <a:off x="8350306" y="2772466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3" name="Овал 112"/>
          <p:cNvSpPr/>
          <p:nvPr/>
        </p:nvSpPr>
        <p:spPr>
          <a:xfrm>
            <a:off x="8350306" y="3835700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4" name="Овал 113"/>
          <p:cNvSpPr/>
          <p:nvPr/>
        </p:nvSpPr>
        <p:spPr>
          <a:xfrm>
            <a:off x="8350306" y="4171785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5" name="Овал 114"/>
          <p:cNvSpPr/>
          <p:nvPr/>
        </p:nvSpPr>
        <p:spPr>
          <a:xfrm>
            <a:off x="8350306" y="4751201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6" name="Овал 115"/>
          <p:cNvSpPr/>
          <p:nvPr/>
        </p:nvSpPr>
        <p:spPr>
          <a:xfrm>
            <a:off x="792818" y="1578101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rgbClr val="FE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7" name="Овал 126"/>
          <p:cNvSpPr/>
          <p:nvPr/>
        </p:nvSpPr>
        <p:spPr>
          <a:xfrm>
            <a:off x="792818" y="1848299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rgbClr val="FE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8" name="Овал 127"/>
          <p:cNvSpPr/>
          <p:nvPr/>
        </p:nvSpPr>
        <p:spPr>
          <a:xfrm>
            <a:off x="792818" y="2276912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rgbClr val="FE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9" name="Овал 128"/>
          <p:cNvSpPr/>
          <p:nvPr/>
        </p:nvSpPr>
        <p:spPr>
          <a:xfrm>
            <a:off x="792818" y="2694772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rgbClr val="FE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5" name="Овал 134"/>
          <p:cNvSpPr/>
          <p:nvPr/>
        </p:nvSpPr>
        <p:spPr>
          <a:xfrm>
            <a:off x="792818" y="2964970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rgbClr val="FE57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6" name="Овал 135"/>
          <p:cNvSpPr/>
          <p:nvPr/>
        </p:nvSpPr>
        <p:spPr>
          <a:xfrm>
            <a:off x="792818" y="3853923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7" name="Овал 136"/>
          <p:cNvSpPr/>
          <p:nvPr/>
        </p:nvSpPr>
        <p:spPr>
          <a:xfrm>
            <a:off x="792818" y="4171784"/>
            <a:ext cx="109959" cy="109959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6952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Прямоугольник 178"/>
          <p:cNvSpPr/>
          <p:nvPr/>
        </p:nvSpPr>
        <p:spPr>
          <a:xfrm>
            <a:off x="8876475" y="4032994"/>
            <a:ext cx="216024" cy="121489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201" name="Прямоугольник 200"/>
          <p:cNvSpPr/>
          <p:nvPr/>
        </p:nvSpPr>
        <p:spPr>
          <a:xfrm>
            <a:off x="8876475" y="4424934"/>
            <a:ext cx="216024" cy="121489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161" name="Прямоугольник 160"/>
          <p:cNvSpPr/>
          <p:nvPr/>
        </p:nvSpPr>
        <p:spPr>
          <a:xfrm>
            <a:off x="8876475" y="3936444"/>
            <a:ext cx="1161070" cy="71116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Прочие ТСО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4539839" y="4274985"/>
            <a:ext cx="169168" cy="169168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12" name="Прямоугольник 111"/>
          <p:cNvSpPr/>
          <p:nvPr/>
        </p:nvSpPr>
        <p:spPr>
          <a:xfrm>
            <a:off x="5506670" y="4274985"/>
            <a:ext cx="169168" cy="169168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15" name="Прямоугольник 214"/>
          <p:cNvSpPr/>
          <p:nvPr/>
        </p:nvSpPr>
        <p:spPr>
          <a:xfrm>
            <a:off x="6765963" y="3555084"/>
            <a:ext cx="216024" cy="216024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327" name="Прямоугольник 326"/>
          <p:cNvSpPr/>
          <p:nvPr/>
        </p:nvSpPr>
        <p:spPr>
          <a:xfrm>
            <a:off x="6227511" y="3555084"/>
            <a:ext cx="216024" cy="216024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328" name="Прямоугольник 327"/>
          <p:cNvSpPr/>
          <p:nvPr/>
        </p:nvSpPr>
        <p:spPr>
          <a:xfrm>
            <a:off x="5870698" y="3555084"/>
            <a:ext cx="216024" cy="216024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104" name="Прямоугольник 103"/>
          <p:cNvSpPr/>
          <p:nvPr/>
        </p:nvSpPr>
        <p:spPr>
          <a:xfrm>
            <a:off x="7318080" y="3864001"/>
            <a:ext cx="216024" cy="216024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107" name="Прямоугольник 106"/>
          <p:cNvSpPr/>
          <p:nvPr/>
        </p:nvSpPr>
        <p:spPr>
          <a:xfrm>
            <a:off x="7084821" y="3555084"/>
            <a:ext cx="216024" cy="216024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130" name="Прямоугольник 129"/>
          <p:cNvSpPr/>
          <p:nvPr/>
        </p:nvSpPr>
        <p:spPr>
          <a:xfrm>
            <a:off x="5506670" y="4580880"/>
            <a:ext cx="216024" cy="216024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148" name="Прямоугольник 147"/>
          <p:cNvSpPr/>
          <p:nvPr/>
        </p:nvSpPr>
        <p:spPr>
          <a:xfrm>
            <a:off x="5841036" y="4580880"/>
            <a:ext cx="216024" cy="216024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156" name="Прямоугольник 155"/>
          <p:cNvSpPr/>
          <p:nvPr/>
        </p:nvSpPr>
        <p:spPr>
          <a:xfrm>
            <a:off x="6547284" y="4580880"/>
            <a:ext cx="216024" cy="216024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3160555" y="3555084"/>
            <a:ext cx="216024" cy="216024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121" name="Прямоугольник 120"/>
          <p:cNvSpPr/>
          <p:nvPr/>
        </p:nvSpPr>
        <p:spPr>
          <a:xfrm>
            <a:off x="2681573" y="4311707"/>
            <a:ext cx="216024" cy="216024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2681573" y="3555084"/>
            <a:ext cx="2027434" cy="1241820"/>
            <a:chOff x="2681573" y="3555084"/>
            <a:chExt cx="2027434" cy="1241820"/>
          </a:xfrm>
        </p:grpSpPr>
        <p:sp>
          <p:nvSpPr>
            <p:cNvPr id="222" name="Прямоугольник 221"/>
            <p:cNvSpPr/>
            <p:nvPr/>
          </p:nvSpPr>
          <p:spPr>
            <a:xfrm>
              <a:off x="2981025" y="3555084"/>
              <a:ext cx="216024" cy="216024"/>
            </a:xfrm>
            <a:prstGeom prst="rect">
              <a:avLst/>
            </a:prstGeom>
            <a:noFill/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endParaRPr>
            </a:p>
          </p:txBody>
        </p:sp>
        <p:sp>
          <p:nvSpPr>
            <p:cNvPr id="160" name="Прямоугольник 159"/>
            <p:cNvSpPr/>
            <p:nvPr/>
          </p:nvSpPr>
          <p:spPr>
            <a:xfrm>
              <a:off x="2681573" y="3555084"/>
              <a:ext cx="2027434" cy="124182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F Din Text Cond Pro Medium"/>
                  <a:ea typeface="+mn-ea"/>
                  <a:cs typeface="+mn-cs"/>
                </a:rPr>
                <a:t>ФСК</a:t>
              </a:r>
            </a:p>
          </p:txBody>
        </p:sp>
      </p:grpSp>
      <p:sp>
        <p:nvSpPr>
          <p:cNvPr id="155" name="Прямоугольник 154"/>
          <p:cNvSpPr/>
          <p:nvPr/>
        </p:nvSpPr>
        <p:spPr>
          <a:xfrm>
            <a:off x="6554252" y="5899735"/>
            <a:ext cx="216024" cy="216024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173" name="Прямоугольник 172"/>
          <p:cNvSpPr/>
          <p:nvPr/>
        </p:nvSpPr>
        <p:spPr>
          <a:xfrm>
            <a:off x="7318080" y="4423384"/>
            <a:ext cx="216024" cy="121489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306" name="Прямоугольник 305"/>
          <p:cNvSpPr/>
          <p:nvPr/>
        </p:nvSpPr>
        <p:spPr>
          <a:xfrm>
            <a:off x="2505956" y="3485047"/>
            <a:ext cx="5129503" cy="1425422"/>
          </a:xfrm>
          <a:prstGeom prst="rect">
            <a:avLst/>
          </a:prstGeom>
          <a:noFill/>
          <a:ln w="12700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151" name="Прямоугольник 150"/>
          <p:cNvSpPr/>
          <p:nvPr/>
        </p:nvSpPr>
        <p:spPr>
          <a:xfrm>
            <a:off x="5841036" y="5899735"/>
            <a:ext cx="216024" cy="216024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сновные направления взаимодействия ПАО Россети с участниками рынка: передача </a:t>
            </a:r>
            <a:r>
              <a:rPr lang="ru-RU" dirty="0"/>
              <a:t>и распределение ЭЭ, технологическое присоединение потребителей, развитие и поддержание объектов электросетевого хозяйства</a:t>
            </a:r>
          </a:p>
        </p:txBody>
      </p:sp>
      <p:sp>
        <p:nvSpPr>
          <p:cNvPr id="162" name="Прямоугольник 161"/>
          <p:cNvSpPr/>
          <p:nvPr/>
        </p:nvSpPr>
        <p:spPr>
          <a:xfrm>
            <a:off x="8144873" y="1965871"/>
            <a:ext cx="1189274" cy="882941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Энергосбытовые компании, гарантирующие поставщики</a:t>
            </a:r>
          </a:p>
        </p:txBody>
      </p:sp>
      <p:sp>
        <p:nvSpPr>
          <p:cNvPr id="174" name="Прямоугольник 173"/>
          <p:cNvSpPr/>
          <p:nvPr/>
        </p:nvSpPr>
        <p:spPr>
          <a:xfrm>
            <a:off x="1066606" y="2568717"/>
            <a:ext cx="1290741" cy="683375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Генерация</a:t>
            </a:r>
          </a:p>
        </p:txBody>
      </p:sp>
      <p:sp>
        <p:nvSpPr>
          <p:cNvPr id="188" name="Прямоугольник 187"/>
          <p:cNvSpPr/>
          <p:nvPr/>
        </p:nvSpPr>
        <p:spPr>
          <a:xfrm>
            <a:off x="10184756" y="1792105"/>
            <a:ext cx="1552274" cy="197900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Потребители</a:t>
            </a:r>
          </a:p>
        </p:txBody>
      </p:sp>
      <p:sp>
        <p:nvSpPr>
          <p:cNvPr id="190" name="Прямоугольник 189"/>
          <p:cNvSpPr/>
          <p:nvPr/>
        </p:nvSpPr>
        <p:spPr>
          <a:xfrm>
            <a:off x="10304473" y="2201177"/>
            <a:ext cx="1316909" cy="412328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Договора электроснабжения</a:t>
            </a:r>
          </a:p>
        </p:txBody>
      </p:sp>
      <p:sp>
        <p:nvSpPr>
          <p:cNvPr id="191" name="Прямоугольник 190"/>
          <p:cNvSpPr/>
          <p:nvPr/>
        </p:nvSpPr>
        <p:spPr>
          <a:xfrm>
            <a:off x="10304473" y="2980159"/>
            <a:ext cx="1316909" cy="412328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Прямые договора</a:t>
            </a:r>
          </a:p>
        </p:txBody>
      </p:sp>
      <p:sp>
        <p:nvSpPr>
          <p:cNvPr id="196" name="Овал 195"/>
          <p:cNvSpPr>
            <a:spLocks noChangeAspect="1"/>
          </p:cNvSpPr>
          <p:nvPr/>
        </p:nvSpPr>
        <p:spPr>
          <a:xfrm>
            <a:off x="6375647" y="4440530"/>
            <a:ext cx="33681" cy="33681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cxnSp>
        <p:nvCxnSpPr>
          <p:cNvPr id="167" name="Соединительная линия уступом 166"/>
          <p:cNvCxnSpPr>
            <a:stCxn id="160" idx="2"/>
            <a:endCxn id="161" idx="2"/>
          </p:cNvCxnSpPr>
          <p:nvPr/>
        </p:nvCxnSpPr>
        <p:spPr>
          <a:xfrm rot="5400000" flipH="1" flipV="1">
            <a:off x="6501502" y="1841397"/>
            <a:ext cx="149295" cy="5761720"/>
          </a:xfrm>
          <a:prstGeom prst="bentConnector3">
            <a:avLst>
              <a:gd name="adj1" fmla="val -153120"/>
            </a:avLst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Овал 196"/>
          <p:cNvSpPr>
            <a:spLocks noChangeAspect="1"/>
          </p:cNvSpPr>
          <p:nvPr/>
        </p:nvSpPr>
        <p:spPr>
          <a:xfrm>
            <a:off x="4681461" y="4890639"/>
            <a:ext cx="235770" cy="235770"/>
          </a:xfrm>
          <a:prstGeom prst="ellipse">
            <a:avLst/>
          </a:prstGeom>
          <a:solidFill>
            <a:schemeClr val="accent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198" name="Овал 197"/>
          <p:cNvSpPr>
            <a:spLocks noChangeAspect="1"/>
          </p:cNvSpPr>
          <p:nvPr/>
        </p:nvSpPr>
        <p:spPr>
          <a:xfrm>
            <a:off x="4981388" y="4890639"/>
            <a:ext cx="235770" cy="235770"/>
          </a:xfrm>
          <a:prstGeom prst="ellipse">
            <a:avLst/>
          </a:prstGeom>
          <a:solidFill>
            <a:schemeClr val="accent2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2</a:t>
            </a:r>
            <a:endParaRPr kumimoji="0" lang="ru-RU" sz="1200" b="0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cxnSp>
        <p:nvCxnSpPr>
          <p:cNvPr id="171" name="Прямая со стрелкой 170"/>
          <p:cNvCxnSpPr>
            <a:endCxn id="179" idx="1"/>
          </p:cNvCxnSpPr>
          <p:nvPr/>
        </p:nvCxnSpPr>
        <p:spPr>
          <a:xfrm>
            <a:off x="7534104" y="4093738"/>
            <a:ext cx="1342371" cy="1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Соединительная линия уступом 177"/>
          <p:cNvCxnSpPr>
            <a:stCxn id="215" idx="0"/>
            <a:endCxn id="162" idx="1"/>
          </p:cNvCxnSpPr>
          <p:nvPr/>
        </p:nvCxnSpPr>
        <p:spPr>
          <a:xfrm rot="5400000" flipH="1" flipV="1">
            <a:off x="6935553" y="2345764"/>
            <a:ext cx="1147742" cy="1270898"/>
          </a:xfrm>
          <a:prstGeom prst="bentConnector2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Прямая со стрелкой 181"/>
          <p:cNvCxnSpPr>
            <a:stCxn id="162" idx="3"/>
            <a:endCxn id="190" idx="1"/>
          </p:cNvCxnSpPr>
          <p:nvPr/>
        </p:nvCxnSpPr>
        <p:spPr>
          <a:xfrm flipV="1">
            <a:off x="9334147" y="2407341"/>
            <a:ext cx="970326" cy="1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9" name="Овал 208"/>
          <p:cNvSpPr>
            <a:spLocks noChangeAspect="1"/>
          </p:cNvSpPr>
          <p:nvPr/>
        </p:nvSpPr>
        <p:spPr>
          <a:xfrm>
            <a:off x="7246406" y="2307461"/>
            <a:ext cx="235770" cy="235770"/>
          </a:xfrm>
          <a:prstGeom prst="ellipse">
            <a:avLst/>
          </a:prstGeom>
          <a:solidFill>
            <a:schemeClr val="accent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cxnSp>
        <p:nvCxnSpPr>
          <p:cNvPr id="206" name="Соединительная линия уступом 205"/>
          <p:cNvCxnSpPr>
            <a:stCxn id="107" idx="0"/>
            <a:endCxn id="191" idx="1"/>
          </p:cNvCxnSpPr>
          <p:nvPr/>
        </p:nvCxnSpPr>
        <p:spPr>
          <a:xfrm rot="5400000" flipH="1" flipV="1">
            <a:off x="8564273" y="1814884"/>
            <a:ext cx="368761" cy="3111640"/>
          </a:xfrm>
          <a:prstGeom prst="bentConnector2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Овал 212"/>
          <p:cNvSpPr>
            <a:spLocks noChangeAspect="1"/>
          </p:cNvSpPr>
          <p:nvPr/>
        </p:nvSpPr>
        <p:spPr>
          <a:xfrm>
            <a:off x="8751242" y="3078529"/>
            <a:ext cx="235770" cy="235770"/>
          </a:xfrm>
          <a:prstGeom prst="ellipse">
            <a:avLst/>
          </a:prstGeom>
          <a:solidFill>
            <a:schemeClr val="accent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214" name="Овал 213"/>
          <p:cNvSpPr>
            <a:spLocks noChangeAspect="1"/>
          </p:cNvSpPr>
          <p:nvPr/>
        </p:nvSpPr>
        <p:spPr>
          <a:xfrm>
            <a:off x="9043063" y="3078529"/>
            <a:ext cx="235770" cy="235770"/>
          </a:xfrm>
          <a:prstGeom prst="ellipse">
            <a:avLst/>
          </a:prstGeom>
          <a:solidFill>
            <a:schemeClr val="accent2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2</a:t>
            </a:r>
            <a:endParaRPr kumimoji="0" lang="ru-RU" sz="1200" b="0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cxnSp>
        <p:nvCxnSpPr>
          <p:cNvPr id="220" name="Соединительная линия уступом 219"/>
          <p:cNvCxnSpPr>
            <a:stCxn id="222" idx="0"/>
            <a:endCxn id="174" idx="3"/>
          </p:cNvCxnSpPr>
          <p:nvPr/>
        </p:nvCxnSpPr>
        <p:spPr>
          <a:xfrm rot="16200000" flipV="1">
            <a:off x="2400853" y="2866900"/>
            <a:ext cx="644679" cy="731690"/>
          </a:xfrm>
          <a:prstGeom prst="bentConnector2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Овал 220"/>
          <p:cNvSpPr>
            <a:spLocks noChangeAspect="1"/>
          </p:cNvSpPr>
          <p:nvPr/>
        </p:nvSpPr>
        <p:spPr>
          <a:xfrm>
            <a:off x="2634036" y="2794510"/>
            <a:ext cx="235770" cy="235770"/>
          </a:xfrm>
          <a:prstGeom prst="ellipse">
            <a:avLst/>
          </a:prstGeom>
          <a:solidFill>
            <a:schemeClr val="accent2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2</a:t>
            </a:r>
            <a:endParaRPr kumimoji="0" lang="ru-RU" sz="1200" b="0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241" name="Прямоугольник 240"/>
          <p:cNvSpPr/>
          <p:nvPr/>
        </p:nvSpPr>
        <p:spPr>
          <a:xfrm>
            <a:off x="10184756" y="3936444"/>
            <a:ext cx="1161070" cy="711165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Крупные потребители ЭЭ</a:t>
            </a:r>
          </a:p>
        </p:txBody>
      </p:sp>
      <p:sp>
        <p:nvSpPr>
          <p:cNvPr id="253" name="Прямоугольник 252"/>
          <p:cNvSpPr/>
          <p:nvPr/>
        </p:nvSpPr>
        <p:spPr>
          <a:xfrm>
            <a:off x="1066606" y="1747180"/>
            <a:ext cx="1290741" cy="671808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СО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ЕЭС</a:t>
            </a:r>
          </a:p>
        </p:txBody>
      </p:sp>
      <p:sp>
        <p:nvSpPr>
          <p:cNvPr id="258" name="Прямоугольник 257"/>
          <p:cNvSpPr/>
          <p:nvPr/>
        </p:nvSpPr>
        <p:spPr>
          <a:xfrm>
            <a:off x="1546517" y="5899735"/>
            <a:ext cx="1161070" cy="711165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Оптовый и розничный рынок ЭЭ</a:t>
            </a:r>
          </a:p>
        </p:txBody>
      </p:sp>
      <p:cxnSp>
        <p:nvCxnSpPr>
          <p:cNvPr id="279" name="Соединительная линия уступом 278"/>
          <p:cNvCxnSpPr>
            <a:stCxn id="226" idx="1"/>
            <a:endCxn id="160" idx="0"/>
          </p:cNvCxnSpPr>
          <p:nvPr/>
        </p:nvCxnSpPr>
        <p:spPr>
          <a:xfrm rot="10800000" flipV="1">
            <a:off x="3695291" y="1885008"/>
            <a:ext cx="844549" cy="1670075"/>
          </a:xfrm>
          <a:prstGeom prst="bentConnector2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1" name="Соединительная линия уступом 280"/>
          <p:cNvCxnSpPr>
            <a:stCxn id="226" idx="3"/>
            <a:endCxn id="327" idx="0"/>
          </p:cNvCxnSpPr>
          <p:nvPr/>
        </p:nvCxnSpPr>
        <p:spPr>
          <a:xfrm>
            <a:off x="5700909" y="1885009"/>
            <a:ext cx="634614" cy="1670075"/>
          </a:xfrm>
          <a:prstGeom prst="bentConnector2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Овал 301"/>
          <p:cNvSpPr>
            <a:spLocks noChangeAspect="1"/>
          </p:cNvSpPr>
          <p:nvPr/>
        </p:nvSpPr>
        <p:spPr>
          <a:xfrm>
            <a:off x="9334885" y="3077589"/>
            <a:ext cx="235770" cy="23577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4</a:t>
            </a:r>
            <a:endParaRPr kumimoji="0" lang="ru-RU" sz="1200" b="0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pic>
        <p:nvPicPr>
          <p:cNvPr id="3076" name="Picture 4" descr="https://horizon.ru/img/logos/rosseti_ru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568" y="3329485"/>
            <a:ext cx="726133" cy="212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TextBox 76"/>
          <p:cNvSpPr txBox="1"/>
          <p:nvPr/>
        </p:nvSpPr>
        <p:spPr>
          <a:xfrm>
            <a:off x="2690646" y="1002675"/>
            <a:ext cx="1039270" cy="2616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Передача ЭЭ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3853740" y="1002675"/>
            <a:ext cx="1039270" cy="2616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Тех присоединение</a:t>
            </a:r>
          </a:p>
        </p:txBody>
      </p:sp>
      <p:sp>
        <p:nvSpPr>
          <p:cNvPr id="79" name="Овал 78"/>
          <p:cNvSpPr>
            <a:spLocks noChangeAspect="1"/>
          </p:cNvSpPr>
          <p:nvPr/>
        </p:nvSpPr>
        <p:spPr>
          <a:xfrm>
            <a:off x="2226717" y="1007480"/>
            <a:ext cx="252000" cy="252000"/>
          </a:xfrm>
          <a:prstGeom prst="ellipse">
            <a:avLst/>
          </a:prstGeom>
          <a:solidFill>
            <a:schemeClr val="accent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80" name="Овал 79"/>
          <p:cNvSpPr>
            <a:spLocks noChangeAspect="1"/>
          </p:cNvSpPr>
          <p:nvPr/>
        </p:nvSpPr>
        <p:spPr>
          <a:xfrm>
            <a:off x="3416371" y="1007480"/>
            <a:ext cx="252000" cy="252000"/>
          </a:xfrm>
          <a:prstGeom prst="ellipse">
            <a:avLst/>
          </a:prstGeom>
          <a:solidFill>
            <a:schemeClr val="accent2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2</a:t>
            </a:r>
            <a:endParaRPr kumimoji="0" lang="ru-RU" sz="1200" b="0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9577422" y="1002675"/>
            <a:ext cx="2211275" cy="2616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Покупка ЭЭ в целях компенсации потерь</a:t>
            </a:r>
          </a:p>
        </p:txBody>
      </p:sp>
      <p:sp>
        <p:nvSpPr>
          <p:cNvPr id="82" name="Овал 81"/>
          <p:cNvSpPr>
            <a:spLocks noChangeAspect="1"/>
          </p:cNvSpPr>
          <p:nvPr/>
        </p:nvSpPr>
        <p:spPr>
          <a:xfrm>
            <a:off x="4936706" y="1007480"/>
            <a:ext cx="252000" cy="25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-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3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5344374" y="1002675"/>
            <a:ext cx="2211275" cy="2616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Развитие и поддержание объектов ЭСХ</a:t>
            </a:r>
          </a:p>
        </p:txBody>
      </p:sp>
      <p:sp>
        <p:nvSpPr>
          <p:cNvPr id="84" name="Овал 83"/>
          <p:cNvSpPr>
            <a:spLocks noChangeAspect="1"/>
          </p:cNvSpPr>
          <p:nvPr/>
        </p:nvSpPr>
        <p:spPr>
          <a:xfrm>
            <a:off x="7415539" y="1007480"/>
            <a:ext cx="252000" cy="2520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4</a:t>
            </a:r>
            <a:endParaRPr kumimoji="0" lang="ru-RU" sz="1200" b="0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7851198" y="1002675"/>
            <a:ext cx="2211275" cy="2616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Дополнительные услуги</a:t>
            </a:r>
          </a:p>
        </p:txBody>
      </p:sp>
      <p:sp>
        <p:nvSpPr>
          <p:cNvPr id="86" name="Овал 85"/>
          <p:cNvSpPr>
            <a:spLocks noChangeAspect="1"/>
          </p:cNvSpPr>
          <p:nvPr/>
        </p:nvSpPr>
        <p:spPr>
          <a:xfrm>
            <a:off x="9170887" y="1007480"/>
            <a:ext cx="252000" cy="252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5</a:t>
            </a:r>
            <a:endParaRPr kumimoji="0" lang="ru-RU" sz="1200" b="0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600445" y="1002675"/>
            <a:ext cx="1599797" cy="26161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Направление взаимодействия:</a:t>
            </a:r>
          </a:p>
        </p:txBody>
      </p:sp>
      <p:sp>
        <p:nvSpPr>
          <p:cNvPr id="105" name="Прямоугольник 104"/>
          <p:cNvSpPr/>
          <p:nvPr/>
        </p:nvSpPr>
        <p:spPr>
          <a:xfrm>
            <a:off x="5790561" y="5899735"/>
            <a:ext cx="1161070" cy="71116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Малая генерация</a:t>
            </a:r>
          </a:p>
        </p:txBody>
      </p:sp>
      <p:cxnSp>
        <p:nvCxnSpPr>
          <p:cNvPr id="117" name="Соединительная линия уступом 116"/>
          <p:cNvCxnSpPr>
            <a:stCxn id="174" idx="2"/>
            <a:endCxn id="160" idx="1"/>
          </p:cNvCxnSpPr>
          <p:nvPr/>
        </p:nvCxnSpPr>
        <p:spPr>
          <a:xfrm rot="16200000" flipH="1">
            <a:off x="1734824" y="3229245"/>
            <a:ext cx="923902" cy="969596"/>
          </a:xfrm>
          <a:prstGeom prst="bentConnector2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Соединительная линия уступом 121"/>
          <p:cNvCxnSpPr>
            <a:stCxn id="258" idx="0"/>
            <a:endCxn id="121" idx="1"/>
          </p:cNvCxnSpPr>
          <p:nvPr/>
        </p:nvCxnSpPr>
        <p:spPr>
          <a:xfrm rot="5400000" flipH="1" flipV="1">
            <a:off x="1664304" y="4882467"/>
            <a:ext cx="1480016" cy="554521"/>
          </a:xfrm>
          <a:prstGeom prst="bentConnector2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Соединительная линия уступом 124"/>
          <p:cNvCxnSpPr>
            <a:stCxn id="258" idx="3"/>
            <a:endCxn id="130" idx="2"/>
          </p:cNvCxnSpPr>
          <p:nvPr/>
        </p:nvCxnSpPr>
        <p:spPr>
          <a:xfrm flipV="1">
            <a:off x="2707587" y="4796904"/>
            <a:ext cx="2907095" cy="1458414"/>
          </a:xfrm>
          <a:prstGeom prst="bentConnector2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5" name="Овал 304"/>
          <p:cNvSpPr>
            <a:spLocks noChangeAspect="1"/>
          </p:cNvSpPr>
          <p:nvPr/>
        </p:nvSpPr>
        <p:spPr>
          <a:xfrm>
            <a:off x="5008922" y="6137434"/>
            <a:ext cx="235770" cy="23577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5</a:t>
            </a:r>
            <a:endParaRPr kumimoji="0" lang="ru-RU" sz="1200" b="0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128" name="Овал 127"/>
          <p:cNvSpPr>
            <a:spLocks noChangeAspect="1"/>
          </p:cNvSpPr>
          <p:nvPr/>
        </p:nvSpPr>
        <p:spPr>
          <a:xfrm>
            <a:off x="2008926" y="5175831"/>
            <a:ext cx="235770" cy="23577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5</a:t>
            </a:r>
            <a:endParaRPr kumimoji="0" lang="ru-RU" sz="1200" b="0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cxnSp>
        <p:nvCxnSpPr>
          <p:cNvPr id="152" name="Прямая со стрелкой 151"/>
          <p:cNvCxnSpPr>
            <a:stCxn id="151" idx="0"/>
            <a:endCxn id="148" idx="2"/>
          </p:cNvCxnSpPr>
          <p:nvPr/>
        </p:nvCxnSpPr>
        <p:spPr>
          <a:xfrm flipV="1">
            <a:off x="5949048" y="4796904"/>
            <a:ext cx="0" cy="1102831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Прямая со стрелкой 156"/>
          <p:cNvCxnSpPr>
            <a:stCxn id="156" idx="2"/>
            <a:endCxn id="155" idx="0"/>
          </p:cNvCxnSpPr>
          <p:nvPr/>
        </p:nvCxnSpPr>
        <p:spPr>
          <a:xfrm>
            <a:off x="6655296" y="4796904"/>
            <a:ext cx="6968" cy="1102831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Овал 164"/>
          <p:cNvSpPr>
            <a:spLocks noChangeAspect="1"/>
          </p:cNvSpPr>
          <p:nvPr/>
        </p:nvSpPr>
        <p:spPr>
          <a:xfrm>
            <a:off x="5823782" y="5283265"/>
            <a:ext cx="235770" cy="235770"/>
          </a:xfrm>
          <a:prstGeom prst="ellipse">
            <a:avLst/>
          </a:prstGeom>
          <a:solidFill>
            <a:schemeClr val="accent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166" name="Овал 165"/>
          <p:cNvSpPr>
            <a:spLocks noChangeAspect="1"/>
          </p:cNvSpPr>
          <p:nvPr/>
        </p:nvSpPr>
        <p:spPr>
          <a:xfrm>
            <a:off x="6543296" y="5283265"/>
            <a:ext cx="235770" cy="235770"/>
          </a:xfrm>
          <a:prstGeom prst="ellipse">
            <a:avLst/>
          </a:prstGeom>
          <a:solidFill>
            <a:schemeClr val="accent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2</a:t>
            </a:r>
            <a:endParaRPr kumimoji="0" lang="ru-RU" sz="1200" b="0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cxnSp>
        <p:nvCxnSpPr>
          <p:cNvPr id="193" name="Прямая со стрелкой 192"/>
          <p:cNvCxnSpPr>
            <a:stCxn id="201" idx="1"/>
            <a:endCxn id="173" idx="3"/>
          </p:cNvCxnSpPr>
          <p:nvPr/>
        </p:nvCxnSpPr>
        <p:spPr>
          <a:xfrm flipH="1" flipV="1">
            <a:off x="7534104" y="4484129"/>
            <a:ext cx="1342371" cy="155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Овал 203"/>
          <p:cNvSpPr>
            <a:spLocks noChangeAspect="1"/>
          </p:cNvSpPr>
          <p:nvPr/>
        </p:nvSpPr>
        <p:spPr>
          <a:xfrm>
            <a:off x="8095997" y="4366243"/>
            <a:ext cx="235770" cy="235770"/>
          </a:xfrm>
          <a:prstGeom prst="ellipse">
            <a:avLst/>
          </a:prstGeom>
          <a:solidFill>
            <a:schemeClr val="accent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205" name="Овал 204"/>
          <p:cNvSpPr>
            <a:spLocks noChangeAspect="1"/>
          </p:cNvSpPr>
          <p:nvPr/>
        </p:nvSpPr>
        <p:spPr>
          <a:xfrm>
            <a:off x="7769769" y="4031527"/>
            <a:ext cx="235770" cy="235770"/>
          </a:xfrm>
          <a:prstGeom prst="ellipse">
            <a:avLst/>
          </a:prstGeom>
          <a:solidFill>
            <a:schemeClr val="accent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208" name="Овал 207"/>
          <p:cNvSpPr>
            <a:spLocks noChangeAspect="1"/>
          </p:cNvSpPr>
          <p:nvPr/>
        </p:nvSpPr>
        <p:spPr>
          <a:xfrm>
            <a:off x="8048706" y="4028366"/>
            <a:ext cx="235770" cy="235770"/>
          </a:xfrm>
          <a:prstGeom prst="ellipse">
            <a:avLst/>
          </a:prstGeom>
          <a:solidFill>
            <a:schemeClr val="accent2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2</a:t>
            </a:r>
            <a:endParaRPr kumimoji="0" lang="ru-RU" sz="1200" b="0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210" name="Овал 209"/>
          <p:cNvSpPr>
            <a:spLocks noChangeAspect="1"/>
          </p:cNvSpPr>
          <p:nvPr/>
        </p:nvSpPr>
        <p:spPr>
          <a:xfrm>
            <a:off x="8315552" y="4039215"/>
            <a:ext cx="235770" cy="23577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4</a:t>
            </a:r>
            <a:endParaRPr kumimoji="0" lang="ru-RU" sz="1200" b="0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322" name="Прямоугольник 321"/>
          <p:cNvSpPr/>
          <p:nvPr/>
        </p:nvSpPr>
        <p:spPr>
          <a:xfrm>
            <a:off x="4539839" y="1529426"/>
            <a:ext cx="216024" cy="216024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106" name="Полилиния 105"/>
          <p:cNvSpPr/>
          <p:nvPr/>
        </p:nvSpPr>
        <p:spPr>
          <a:xfrm>
            <a:off x="3268568" y="4758641"/>
            <a:ext cx="7592266" cy="860038"/>
          </a:xfrm>
          <a:custGeom>
            <a:avLst/>
            <a:gdLst>
              <a:gd name="connsiteX0" fmla="*/ 0 w 7165911"/>
              <a:gd name="connsiteY0" fmla="*/ 0 h 475861"/>
              <a:gd name="connsiteX1" fmla="*/ 0 w 7165911"/>
              <a:gd name="connsiteY1" fmla="*/ 475861 h 475861"/>
              <a:gd name="connsiteX2" fmla="*/ 7165911 w 7165911"/>
              <a:gd name="connsiteY2" fmla="*/ 475861 h 475861"/>
              <a:gd name="connsiteX3" fmla="*/ 7165911 w 7165911"/>
              <a:gd name="connsiteY3" fmla="*/ 0 h 4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65911" h="475861">
                <a:moveTo>
                  <a:pt x="0" y="0"/>
                </a:moveTo>
                <a:lnTo>
                  <a:pt x="0" y="475861"/>
                </a:lnTo>
                <a:lnTo>
                  <a:pt x="7165911" y="475861"/>
                </a:lnTo>
                <a:lnTo>
                  <a:pt x="7165911" y="0"/>
                </a:lnTo>
              </a:path>
            </a:pathLst>
          </a:cu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244" name="Овал 243"/>
          <p:cNvSpPr>
            <a:spLocks noChangeAspect="1"/>
          </p:cNvSpPr>
          <p:nvPr/>
        </p:nvSpPr>
        <p:spPr>
          <a:xfrm>
            <a:off x="9517743" y="5493237"/>
            <a:ext cx="235770" cy="235770"/>
          </a:xfrm>
          <a:prstGeom prst="ellipse">
            <a:avLst/>
          </a:prstGeom>
          <a:solidFill>
            <a:schemeClr val="accent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245" name="Овал 244"/>
          <p:cNvSpPr>
            <a:spLocks noChangeAspect="1"/>
          </p:cNvSpPr>
          <p:nvPr/>
        </p:nvSpPr>
        <p:spPr>
          <a:xfrm>
            <a:off x="9817671" y="5493237"/>
            <a:ext cx="235770" cy="235770"/>
          </a:xfrm>
          <a:prstGeom prst="ellipse">
            <a:avLst/>
          </a:prstGeom>
          <a:solidFill>
            <a:schemeClr val="accent2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2</a:t>
            </a:r>
            <a:endParaRPr kumimoji="0" lang="ru-RU" sz="1200" b="0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cxnSp>
        <p:nvCxnSpPr>
          <p:cNvPr id="325" name="Соединительная линия уступом 324"/>
          <p:cNvCxnSpPr>
            <a:stCxn id="115" idx="0"/>
            <a:endCxn id="322" idx="1"/>
          </p:cNvCxnSpPr>
          <p:nvPr/>
        </p:nvCxnSpPr>
        <p:spPr>
          <a:xfrm rot="5400000" flipH="1" flipV="1">
            <a:off x="2945380" y="1960625"/>
            <a:ext cx="1917646" cy="1271272"/>
          </a:xfrm>
          <a:prstGeom prst="bentConnector2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1" name="Овал 300"/>
          <p:cNvSpPr>
            <a:spLocks noChangeAspect="1"/>
          </p:cNvSpPr>
          <p:nvPr/>
        </p:nvSpPr>
        <p:spPr>
          <a:xfrm>
            <a:off x="3644456" y="1557956"/>
            <a:ext cx="235770" cy="23577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-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3</a:t>
            </a:r>
          </a:p>
        </p:txBody>
      </p:sp>
      <p:sp>
        <p:nvSpPr>
          <p:cNvPr id="326" name="Прямоугольник 325"/>
          <p:cNvSpPr/>
          <p:nvPr/>
        </p:nvSpPr>
        <p:spPr>
          <a:xfrm>
            <a:off x="5484885" y="1529426"/>
            <a:ext cx="216024" cy="216024"/>
          </a:xfrm>
          <a:prstGeom prst="rect">
            <a:avLst/>
          </a:pr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cxnSp>
        <p:nvCxnSpPr>
          <p:cNvPr id="329" name="Соединительная линия уступом 328"/>
          <p:cNvCxnSpPr>
            <a:stCxn id="328" idx="0"/>
            <a:endCxn id="326" idx="3"/>
          </p:cNvCxnSpPr>
          <p:nvPr/>
        </p:nvCxnSpPr>
        <p:spPr>
          <a:xfrm rot="16200000" flipV="1">
            <a:off x="4880987" y="2457360"/>
            <a:ext cx="1917646" cy="277801"/>
          </a:xfrm>
          <a:prstGeom prst="bentConnector2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4" name="TextBox 283"/>
          <p:cNvSpPr txBox="1"/>
          <p:nvPr/>
        </p:nvSpPr>
        <p:spPr>
          <a:xfrm>
            <a:off x="5076164" y="2522033"/>
            <a:ext cx="1208792" cy="553998"/>
          </a:xfrm>
          <a:prstGeom prst="rect">
            <a:avLst/>
          </a:prstGeom>
          <a:solidFill>
            <a:schemeClr val="bg1">
              <a:alpha val="65000"/>
            </a:schemeClr>
          </a:solidFill>
        </p:spPr>
        <p:txBody>
          <a:bodyPr wrap="none" lIns="0" tIns="0" rIns="0" bIns="0" rtlCol="0">
            <a:spAutoFit/>
          </a:bodyPr>
          <a:lstStyle>
            <a:defPPr>
              <a:defRPr lang="ru-RU"/>
            </a:defPPr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Тарифы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Инвест программа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Схема развития</a:t>
            </a:r>
          </a:p>
        </p:txBody>
      </p:sp>
      <p:sp>
        <p:nvSpPr>
          <p:cNvPr id="176" name="Прямоугольник 175"/>
          <p:cNvSpPr/>
          <p:nvPr/>
        </p:nvSpPr>
        <p:spPr>
          <a:xfrm>
            <a:off x="5506670" y="3555084"/>
            <a:ext cx="2027434" cy="124182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Medium"/>
                <a:ea typeface="+mn-ea"/>
                <a:cs typeface="+mn-cs"/>
              </a:rPr>
              <a:t>МРСК</a:t>
            </a:r>
          </a:p>
        </p:txBody>
      </p:sp>
      <p:sp>
        <p:nvSpPr>
          <p:cNvPr id="275" name="Овал 274"/>
          <p:cNvSpPr>
            <a:spLocks noChangeAspect="1"/>
          </p:cNvSpPr>
          <p:nvPr/>
        </p:nvSpPr>
        <p:spPr>
          <a:xfrm>
            <a:off x="6892827" y="4466022"/>
            <a:ext cx="235770" cy="235770"/>
          </a:xfrm>
          <a:prstGeom prst="ellipse">
            <a:avLst/>
          </a:prstGeom>
          <a:solidFill>
            <a:schemeClr val="accent5"/>
          </a:solidFill>
          <a:ln w="12700"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-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3</a:t>
            </a:r>
          </a:p>
        </p:txBody>
      </p:sp>
      <p:sp>
        <p:nvSpPr>
          <p:cNvPr id="276" name="Овал 275"/>
          <p:cNvSpPr>
            <a:spLocks noChangeAspect="1"/>
          </p:cNvSpPr>
          <p:nvPr/>
        </p:nvSpPr>
        <p:spPr>
          <a:xfrm>
            <a:off x="7169095" y="4466022"/>
            <a:ext cx="235770" cy="235770"/>
          </a:xfrm>
          <a:prstGeom prst="ellipse">
            <a:avLst/>
          </a:prstGeom>
          <a:solidFill>
            <a:schemeClr val="accent4"/>
          </a:solidFill>
          <a:ln w="12700"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4</a:t>
            </a:r>
            <a:endParaRPr kumimoji="0" lang="ru-RU" sz="1200" b="0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226" name="Прямоугольник 225"/>
          <p:cNvSpPr/>
          <p:nvPr/>
        </p:nvSpPr>
        <p:spPr>
          <a:xfrm>
            <a:off x="4539839" y="1529426"/>
            <a:ext cx="1161070" cy="71116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Органы гос. власти</a:t>
            </a:r>
          </a:p>
        </p:txBody>
      </p:sp>
      <p:sp>
        <p:nvSpPr>
          <p:cNvPr id="300" name="Овал 299"/>
          <p:cNvSpPr>
            <a:spLocks noChangeAspect="1"/>
          </p:cNvSpPr>
          <p:nvPr/>
        </p:nvSpPr>
        <p:spPr>
          <a:xfrm>
            <a:off x="5908259" y="1557956"/>
            <a:ext cx="235770" cy="23577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-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3</a:t>
            </a:r>
          </a:p>
        </p:txBody>
      </p:sp>
      <p:sp>
        <p:nvSpPr>
          <p:cNvPr id="225" name="Овал 224"/>
          <p:cNvSpPr>
            <a:spLocks noChangeAspect="1"/>
          </p:cNvSpPr>
          <p:nvPr/>
        </p:nvSpPr>
        <p:spPr>
          <a:xfrm>
            <a:off x="1592388" y="3596157"/>
            <a:ext cx="235770" cy="235770"/>
          </a:xfrm>
          <a:prstGeom prst="ellipse">
            <a:avLst/>
          </a:prstGeom>
          <a:solidFill>
            <a:schemeClr val="accent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332" name="Овал 331"/>
          <p:cNvSpPr>
            <a:spLocks noChangeAspect="1"/>
          </p:cNvSpPr>
          <p:nvPr/>
        </p:nvSpPr>
        <p:spPr>
          <a:xfrm>
            <a:off x="4344842" y="4466022"/>
            <a:ext cx="235770" cy="23577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-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3</a:t>
            </a:r>
          </a:p>
        </p:txBody>
      </p:sp>
      <p:sp>
        <p:nvSpPr>
          <p:cNvPr id="335" name="TextBox 334"/>
          <p:cNvSpPr txBox="1"/>
          <p:nvPr/>
        </p:nvSpPr>
        <p:spPr>
          <a:xfrm>
            <a:off x="3599768" y="2521326"/>
            <a:ext cx="1208792" cy="553998"/>
          </a:xfrm>
          <a:prstGeom prst="rect">
            <a:avLst/>
          </a:prstGeom>
          <a:solidFill>
            <a:schemeClr val="bg1">
              <a:alpha val="65000"/>
            </a:schemeClr>
          </a:solidFill>
        </p:spPr>
        <p:txBody>
          <a:bodyPr wrap="none" lIns="0" tIns="0" rIns="0" bIns="0" rtlCol="0">
            <a:spAutoFit/>
          </a:bodyPr>
          <a:lstStyle>
            <a:defPPr>
              <a:defRPr lang="ru-RU"/>
            </a:defPPr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Тарифы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Инвест программа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Схема развития</a:t>
            </a:r>
          </a:p>
        </p:txBody>
      </p:sp>
      <p:cxnSp>
        <p:nvCxnSpPr>
          <p:cNvPr id="177" name="Прямая со стрелкой 176"/>
          <p:cNvCxnSpPr>
            <a:stCxn id="17" idx="3"/>
            <a:endCxn id="112" idx="1"/>
          </p:cNvCxnSpPr>
          <p:nvPr/>
        </p:nvCxnSpPr>
        <p:spPr>
          <a:xfrm>
            <a:off x="4709007" y="4359569"/>
            <a:ext cx="797663" cy="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3" name="Овал 332"/>
          <p:cNvSpPr>
            <a:spLocks noChangeAspect="1"/>
          </p:cNvSpPr>
          <p:nvPr/>
        </p:nvSpPr>
        <p:spPr>
          <a:xfrm>
            <a:off x="4827339" y="4226895"/>
            <a:ext cx="235770" cy="235770"/>
          </a:xfrm>
          <a:prstGeom prst="ellipse">
            <a:avLst/>
          </a:prstGeom>
          <a:solidFill>
            <a:schemeClr val="accent1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334" name="Овал 333"/>
          <p:cNvSpPr>
            <a:spLocks noChangeAspect="1"/>
          </p:cNvSpPr>
          <p:nvPr/>
        </p:nvSpPr>
        <p:spPr>
          <a:xfrm>
            <a:off x="5099273" y="4226895"/>
            <a:ext cx="235770" cy="235770"/>
          </a:xfrm>
          <a:prstGeom prst="ellipse">
            <a:avLst/>
          </a:prstGeom>
          <a:solidFill>
            <a:schemeClr val="accent2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-15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2</a:t>
            </a:r>
            <a:endParaRPr kumimoji="0" lang="ru-RU" sz="1200" b="0" i="0" u="none" strike="noStrike" kern="1200" cap="none" spc="-15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cxnSp>
        <p:nvCxnSpPr>
          <p:cNvPr id="4" name="Соединительная линия уступом 3"/>
          <p:cNvCxnSpPr/>
          <p:nvPr/>
        </p:nvCxnSpPr>
        <p:spPr>
          <a:xfrm rot="16200000" flipH="1">
            <a:off x="2263861" y="2442365"/>
            <a:ext cx="1206205" cy="1019232"/>
          </a:xfrm>
          <a:prstGeom prst="bentConnector3">
            <a:avLst>
              <a:gd name="adj1" fmla="val -33"/>
            </a:avLst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Соединительная линия уступом 6"/>
          <p:cNvCxnSpPr>
            <a:endCxn id="176" idx="0"/>
          </p:cNvCxnSpPr>
          <p:nvPr/>
        </p:nvCxnSpPr>
        <p:spPr>
          <a:xfrm>
            <a:off x="2357347" y="2279434"/>
            <a:ext cx="4163040" cy="1275650"/>
          </a:xfrm>
          <a:prstGeom prst="bentConnector2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Box 107"/>
          <p:cNvSpPr txBox="1"/>
          <p:nvPr/>
        </p:nvSpPr>
        <p:spPr>
          <a:xfrm>
            <a:off x="2223694" y="1643764"/>
            <a:ext cx="1012398" cy="615553"/>
          </a:xfrm>
          <a:prstGeom prst="rect">
            <a:avLst/>
          </a:prstGeom>
          <a:solidFill>
            <a:schemeClr val="bg1">
              <a:alpha val="65000"/>
            </a:schemeClr>
          </a:solidFill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L="171450" indent="-171450">
              <a:spcBef>
                <a:spcPts val="600"/>
              </a:spcBef>
              <a:buFont typeface="Arial" panose="020B0604020202020204" pitchFamily="34" charset="0"/>
              <a:buChar char="•"/>
              <a:defRPr sz="1100"/>
            </a:lvl1pPr>
          </a:lstStyle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Управление режимами работы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энергосистемы</a:t>
            </a:r>
          </a:p>
        </p:txBody>
      </p:sp>
    </p:spTree>
    <p:extLst>
      <p:ext uri="{BB962C8B-B14F-4D97-AF65-F5344CB8AC3E}">
        <p14:creationId xmlns:p14="http://schemas.microsoft.com/office/powerpoint/2010/main" val="100166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остроение ИТ систем и инфраструктуры в электросетевом комплексе регулируется международными стандартами, ГОСТами, НТД Россетей. Референтная архитектура определена на уровне МЭК, на уровне ГОСТ - нет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378690" y="1079882"/>
            <a:ext cx="101171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МЭК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61850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– серия стандартов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«Сети и системы связи на подстанциях», описывающий форматы потоков данных, виды информации, правила описания элементов энергообъекта и свод правил для организации событийного протокола передачи данных.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368034" y="948694"/>
            <a:ext cx="864096" cy="735194"/>
            <a:chOff x="9340605" y="2078081"/>
            <a:chExt cx="1184685" cy="1268807"/>
          </a:xfrm>
        </p:grpSpPr>
        <p:sp>
          <p:nvSpPr>
            <p:cNvPr id="8" name="Прямоугольник 7"/>
            <p:cNvSpPr/>
            <p:nvPr/>
          </p:nvSpPr>
          <p:spPr>
            <a:xfrm>
              <a:off x="9340605" y="2078081"/>
              <a:ext cx="1184685" cy="1268807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Обычный" charset="0"/>
                <a:ea typeface="+mn-ea"/>
                <a:cs typeface="+mn-cs"/>
              </a:endParaRPr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9549743" y="2118327"/>
              <a:ext cx="723495" cy="722465"/>
            </a:xfrm>
            <a:prstGeom prst="rect">
              <a:avLst/>
            </a:prstGeom>
          </p:spPr>
          <p:txBody>
            <a:bodyPr wrap="none" t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0" i="0" u="none" strike="noStrike" kern="1200" cap="none" spc="-15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F Din Text Cond Pro Medium"/>
                  <a:ea typeface="+mn-ea"/>
                  <a:cs typeface="+mn-cs"/>
                </a:rPr>
                <a:t>41</a:t>
              </a:r>
              <a:endParaRPr kumimoji="0" lang="ru-RU" sz="3200" b="0" i="0" u="none" strike="noStrike" kern="1200" cap="none" spc="-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Medium"/>
                <a:ea typeface="+mn-ea"/>
                <a:cs typeface="+mn-cs"/>
              </a:endParaRPr>
            </a:p>
          </p:txBody>
        </p:sp>
        <p:cxnSp>
          <p:nvCxnSpPr>
            <p:cNvPr id="10" name="Прямая соединительная линия 9"/>
            <p:cNvCxnSpPr/>
            <p:nvPr/>
          </p:nvCxnSpPr>
          <p:spPr>
            <a:xfrm>
              <a:off x="9443408" y="2908911"/>
              <a:ext cx="979078" cy="0"/>
            </a:xfrm>
            <a:prstGeom prst="line">
              <a:avLst/>
            </a:prstGeom>
            <a:ln w="19050" cap="rnd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Прямоугольник 10"/>
            <p:cNvSpPr/>
            <p:nvPr/>
          </p:nvSpPr>
          <p:spPr>
            <a:xfrm>
              <a:off x="9401866" y="2891603"/>
              <a:ext cx="1049797" cy="383905"/>
            </a:xfrm>
            <a:prstGeom prst="rect">
              <a:avLst/>
            </a:prstGeom>
          </p:spPr>
          <p:txBody>
            <a:bodyPr wrap="square" lIns="0" tIns="72000" r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F Din Text Cond Pro Medium"/>
                  <a:ea typeface="+mn-ea"/>
                  <a:cs typeface="+mn-cs"/>
                </a:rPr>
                <a:t>Стандарт</a:t>
              </a: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Medium"/>
                <a:ea typeface="+mn-ea"/>
                <a:cs typeface="+mn-cs"/>
              </a:endParaRP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372308" y="2464162"/>
            <a:ext cx="864096" cy="717735"/>
            <a:chOff x="9340605" y="2078081"/>
            <a:chExt cx="1184685" cy="1268807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9340605" y="2078081"/>
              <a:ext cx="1184685" cy="1268807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Обычный" charset="0"/>
                <a:ea typeface="+mn-ea"/>
                <a:cs typeface="+mn-cs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9667321" y="2118327"/>
              <a:ext cx="488338" cy="722465"/>
            </a:xfrm>
            <a:prstGeom prst="rect">
              <a:avLst/>
            </a:prstGeom>
          </p:spPr>
          <p:txBody>
            <a:bodyPr wrap="none" t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0" i="0" u="none" strike="noStrike" kern="1200" cap="none" spc="-15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F Din Text Cond Pro Medium"/>
                  <a:ea typeface="+mn-ea"/>
                  <a:cs typeface="+mn-cs"/>
                </a:rPr>
                <a:t>7</a:t>
              </a:r>
              <a:endParaRPr kumimoji="0" lang="ru-RU" sz="3200" b="0" i="0" u="none" strike="noStrike" kern="1200" cap="none" spc="-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Medium"/>
                <a:ea typeface="+mn-ea"/>
                <a:cs typeface="+mn-cs"/>
              </a:endParaRPr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>
            <a:xfrm>
              <a:off x="9443408" y="2908911"/>
              <a:ext cx="979078" cy="0"/>
            </a:xfrm>
            <a:prstGeom prst="line">
              <a:avLst/>
            </a:prstGeom>
            <a:ln w="19050" cap="rnd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Прямоугольник 15"/>
            <p:cNvSpPr/>
            <p:nvPr/>
          </p:nvSpPr>
          <p:spPr>
            <a:xfrm>
              <a:off x="9381160" y="2906902"/>
              <a:ext cx="1049797" cy="383904"/>
            </a:xfrm>
            <a:prstGeom prst="rect">
              <a:avLst/>
            </a:prstGeom>
          </p:spPr>
          <p:txBody>
            <a:bodyPr wrap="square" lIns="0" tIns="72000" r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F Din Text Cond Pro Medium"/>
                  <a:ea typeface="+mn-ea"/>
                  <a:cs typeface="+mn-cs"/>
                </a:rPr>
                <a:t>ГОСТов</a:t>
              </a: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Medium"/>
                <a:ea typeface="+mn-ea"/>
                <a:cs typeface="+mn-cs"/>
              </a:endParaRPr>
            </a:p>
          </p:txBody>
        </p:sp>
      </p:grpSp>
      <p:sp>
        <p:nvSpPr>
          <p:cNvPr id="17" name="Прямоугольник 16"/>
          <p:cNvSpPr/>
          <p:nvPr/>
        </p:nvSpPr>
        <p:spPr>
          <a:xfrm>
            <a:off x="1378690" y="2561419"/>
            <a:ext cx="101171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ГОСТ-Р МЭК 61850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– серия стандартов РФ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«Сети и системы связи на подстанциях», описывающий форматы потоков данных, виды информации, правила описания элементов энергообъекта и свод правил для организации событийного протокола передачи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данных, связанных со стандартами МЭК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grpSp>
        <p:nvGrpSpPr>
          <p:cNvPr id="18" name="Группа 17"/>
          <p:cNvGrpSpPr/>
          <p:nvPr/>
        </p:nvGrpSpPr>
        <p:grpSpPr>
          <a:xfrm>
            <a:off x="371078" y="5689146"/>
            <a:ext cx="864096" cy="789976"/>
            <a:chOff x="9340605" y="2078081"/>
            <a:chExt cx="1184685" cy="1274041"/>
          </a:xfrm>
        </p:grpSpPr>
        <p:sp>
          <p:nvSpPr>
            <p:cNvPr id="19" name="Прямоугольник 18"/>
            <p:cNvSpPr/>
            <p:nvPr/>
          </p:nvSpPr>
          <p:spPr>
            <a:xfrm>
              <a:off x="9340605" y="2078081"/>
              <a:ext cx="1184685" cy="1268807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Обычный" charset="0"/>
                <a:ea typeface="+mn-ea"/>
                <a:cs typeface="+mn-cs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9549743" y="2118327"/>
              <a:ext cx="723495" cy="722465"/>
            </a:xfrm>
            <a:prstGeom prst="rect">
              <a:avLst/>
            </a:prstGeom>
          </p:spPr>
          <p:txBody>
            <a:bodyPr wrap="none" t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0" i="0" u="none" strike="noStrike" kern="1200" cap="none" spc="-15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F Din Text Cond Pro Medium"/>
                  <a:ea typeface="+mn-ea"/>
                  <a:cs typeface="+mn-cs"/>
                </a:rPr>
                <a:t>11</a:t>
              </a:r>
              <a:endParaRPr kumimoji="0" lang="ru-RU" sz="3200" b="0" i="0" u="none" strike="noStrike" kern="1200" cap="none" spc="-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Medium"/>
                <a:ea typeface="+mn-ea"/>
                <a:cs typeface="+mn-cs"/>
              </a:endParaRPr>
            </a:p>
          </p:txBody>
        </p:sp>
        <p:cxnSp>
          <p:nvCxnSpPr>
            <p:cNvPr id="21" name="Прямая соединительная линия 20"/>
            <p:cNvCxnSpPr/>
            <p:nvPr/>
          </p:nvCxnSpPr>
          <p:spPr>
            <a:xfrm>
              <a:off x="9443408" y="2908911"/>
              <a:ext cx="979078" cy="0"/>
            </a:xfrm>
            <a:prstGeom prst="line">
              <a:avLst/>
            </a:prstGeom>
            <a:ln w="19050" cap="rnd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Прямоугольник 21"/>
            <p:cNvSpPr/>
            <p:nvPr/>
          </p:nvSpPr>
          <p:spPr>
            <a:xfrm>
              <a:off x="9411335" y="2968217"/>
              <a:ext cx="1049797" cy="383905"/>
            </a:xfrm>
            <a:prstGeom prst="rect">
              <a:avLst/>
            </a:prstGeom>
          </p:spPr>
          <p:txBody>
            <a:bodyPr wrap="square" lIns="0" tIns="72000" r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F Din Text Cond Pro Medium"/>
                  <a:ea typeface="+mn-ea"/>
                  <a:cs typeface="+mn-cs"/>
                </a:rPr>
                <a:t>СТО Россети</a:t>
              </a: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Medium"/>
                <a:ea typeface="+mn-ea"/>
                <a:cs typeface="+mn-cs"/>
              </a:endParaRPr>
            </a:p>
          </p:txBody>
        </p:sp>
      </p:grpSp>
      <p:sp>
        <p:nvSpPr>
          <p:cNvPr id="23" name="Прямоугольник 22"/>
          <p:cNvSpPr/>
          <p:nvPr/>
        </p:nvSpPr>
        <p:spPr>
          <a:xfrm>
            <a:off x="1415480" y="5733256"/>
            <a:ext cx="101171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СТО и распоряжения Россети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– связанные с МЭК 61850 «Сет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и системы связи на подстанциях»,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описывающие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форматы потоков данных, виды информации, правила описания элементов энергообъекта и свод правил для организации событийного протокола передачи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данных, связанных со стандартами МЭК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grpSp>
        <p:nvGrpSpPr>
          <p:cNvPr id="24" name="Группа 23"/>
          <p:cNvGrpSpPr/>
          <p:nvPr/>
        </p:nvGrpSpPr>
        <p:grpSpPr>
          <a:xfrm>
            <a:off x="363524" y="1740778"/>
            <a:ext cx="864096" cy="675180"/>
            <a:chOff x="9340605" y="2078081"/>
            <a:chExt cx="1184685" cy="1268807"/>
          </a:xfrm>
        </p:grpSpPr>
        <p:sp>
          <p:nvSpPr>
            <p:cNvPr id="25" name="Прямоугольник 24"/>
            <p:cNvSpPr/>
            <p:nvPr/>
          </p:nvSpPr>
          <p:spPr>
            <a:xfrm>
              <a:off x="9340605" y="2078081"/>
              <a:ext cx="1184685" cy="1268807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Обычный" charset="0"/>
                <a:ea typeface="+mn-ea"/>
                <a:cs typeface="+mn-cs"/>
              </a:endParaRP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9667321" y="2118327"/>
              <a:ext cx="488338" cy="722465"/>
            </a:xfrm>
            <a:prstGeom prst="rect">
              <a:avLst/>
            </a:prstGeom>
          </p:spPr>
          <p:txBody>
            <a:bodyPr wrap="none" t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1200" cap="none" spc="-15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F Din Text Cond Pro Medium"/>
                  <a:ea typeface="+mn-ea"/>
                  <a:cs typeface="+mn-cs"/>
                </a:rPr>
                <a:t>1</a:t>
              </a:r>
              <a:endParaRPr kumimoji="0" lang="ru-RU" sz="3200" b="0" i="0" u="none" strike="noStrike" kern="1200" cap="none" spc="-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Medium"/>
                <a:ea typeface="+mn-ea"/>
                <a:cs typeface="+mn-cs"/>
              </a:endParaRPr>
            </a:p>
          </p:txBody>
        </p:sp>
        <p:cxnSp>
          <p:nvCxnSpPr>
            <p:cNvPr id="27" name="Прямая соединительная линия 26"/>
            <p:cNvCxnSpPr/>
            <p:nvPr/>
          </p:nvCxnSpPr>
          <p:spPr>
            <a:xfrm>
              <a:off x="9443408" y="2908911"/>
              <a:ext cx="979078" cy="0"/>
            </a:xfrm>
            <a:prstGeom prst="line">
              <a:avLst/>
            </a:prstGeom>
            <a:ln w="19050" cap="rnd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Прямоугольник 27"/>
            <p:cNvSpPr/>
            <p:nvPr/>
          </p:nvSpPr>
          <p:spPr>
            <a:xfrm>
              <a:off x="9402187" y="2849442"/>
              <a:ext cx="1049797" cy="383905"/>
            </a:xfrm>
            <a:prstGeom prst="rect">
              <a:avLst/>
            </a:prstGeom>
          </p:spPr>
          <p:txBody>
            <a:bodyPr wrap="square" lIns="0" tIns="72000" r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F Din Text Cond Pro Medium"/>
                  <a:ea typeface="+mn-ea"/>
                  <a:cs typeface="+mn-cs"/>
                </a:rPr>
                <a:t>Стандарт</a:t>
              </a: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Medium"/>
                <a:ea typeface="+mn-ea"/>
                <a:cs typeface="+mn-cs"/>
              </a:endParaRPr>
            </a:p>
          </p:txBody>
        </p:sp>
      </p:grpSp>
      <p:sp>
        <p:nvSpPr>
          <p:cNvPr id="30" name="Прямоугольник 29"/>
          <p:cNvSpPr/>
          <p:nvPr/>
        </p:nvSpPr>
        <p:spPr>
          <a:xfrm>
            <a:off x="1378690" y="1825760"/>
            <a:ext cx="102310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МЭК</a:t>
            </a: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TR 62357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 «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Power systems management and associated information exchange –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Part 1: Reference architecture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»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- референтная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архитектура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«Управление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энергосистемой и связанный с ним обмен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данными» </a:t>
            </a: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(Российский аналог </a:t>
            </a: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IEC TR 62357</a:t>
            </a:r>
            <a:r>
              <a:rPr kumimoji="0" lang="ru-RU" sz="1400" b="1" i="1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 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отсутствует)</a:t>
            </a:r>
          </a:p>
        </p:txBody>
      </p:sp>
      <p:grpSp>
        <p:nvGrpSpPr>
          <p:cNvPr id="32" name="Группа 31"/>
          <p:cNvGrpSpPr/>
          <p:nvPr/>
        </p:nvGrpSpPr>
        <p:grpSpPr>
          <a:xfrm>
            <a:off x="389776" y="4905939"/>
            <a:ext cx="864096" cy="714918"/>
            <a:chOff x="9340605" y="2078081"/>
            <a:chExt cx="1184685" cy="1274041"/>
          </a:xfrm>
        </p:grpSpPr>
        <p:sp>
          <p:nvSpPr>
            <p:cNvPr id="33" name="Прямоугольник 32"/>
            <p:cNvSpPr/>
            <p:nvPr/>
          </p:nvSpPr>
          <p:spPr>
            <a:xfrm>
              <a:off x="9340605" y="2078081"/>
              <a:ext cx="1184685" cy="1268807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Обычный" charset="0"/>
                <a:ea typeface="+mn-ea"/>
                <a:cs typeface="+mn-cs"/>
              </a:endParaRP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667321" y="2118327"/>
              <a:ext cx="488338" cy="722465"/>
            </a:xfrm>
            <a:prstGeom prst="rect">
              <a:avLst/>
            </a:prstGeom>
          </p:spPr>
          <p:txBody>
            <a:bodyPr wrap="none" t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1200" cap="none" spc="-15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F Din Text Cond Pro Medium"/>
                  <a:ea typeface="+mn-ea"/>
                  <a:cs typeface="+mn-cs"/>
                </a:rPr>
                <a:t>1</a:t>
              </a:r>
              <a:endParaRPr kumimoji="0" lang="ru-RU" sz="3200" b="0" i="0" u="none" strike="noStrike" kern="1200" cap="none" spc="-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Medium"/>
                <a:ea typeface="+mn-ea"/>
                <a:cs typeface="+mn-cs"/>
              </a:endParaRPr>
            </a:p>
          </p:txBody>
        </p:sp>
        <p:cxnSp>
          <p:nvCxnSpPr>
            <p:cNvPr id="35" name="Прямая соединительная линия 34"/>
            <p:cNvCxnSpPr/>
            <p:nvPr/>
          </p:nvCxnSpPr>
          <p:spPr>
            <a:xfrm>
              <a:off x="9443408" y="2908911"/>
              <a:ext cx="979078" cy="0"/>
            </a:xfrm>
            <a:prstGeom prst="line">
              <a:avLst/>
            </a:prstGeom>
            <a:ln w="19050" cap="rnd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Прямоугольник 35"/>
            <p:cNvSpPr/>
            <p:nvPr/>
          </p:nvSpPr>
          <p:spPr>
            <a:xfrm>
              <a:off x="9411335" y="2968217"/>
              <a:ext cx="1049797" cy="383905"/>
            </a:xfrm>
            <a:prstGeom prst="rect">
              <a:avLst/>
            </a:prstGeom>
          </p:spPr>
          <p:txBody>
            <a:bodyPr wrap="square" lIns="0" tIns="72000" r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F Din Text Cond Pro Medium"/>
                  <a:ea typeface="+mn-ea"/>
                  <a:cs typeface="+mn-cs"/>
                </a:rPr>
                <a:t>ГОСТ</a:t>
              </a: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Medium"/>
                <a:ea typeface="+mn-ea"/>
                <a:cs typeface="+mn-cs"/>
              </a:endParaRPr>
            </a:p>
          </p:txBody>
        </p:sp>
      </p:grpSp>
      <p:sp>
        <p:nvSpPr>
          <p:cNvPr id="37" name="Прямоугольник 36"/>
          <p:cNvSpPr/>
          <p:nvPr/>
        </p:nvSpPr>
        <p:spPr>
          <a:xfrm>
            <a:off x="1415480" y="4990456"/>
            <a:ext cx="102310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ГОСТ 34.201-89 «Комплекс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стандартов на автоматизированные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системы»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-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виды, комплектность и обозначение документов при создании автоматизированных систем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426812" y="4192264"/>
            <a:ext cx="1044116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ГОСТ-Р -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перечень ГОСТ, регламентирующих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CIM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-модель электроэнергетической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системы Российской Федерации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384078" y="4047391"/>
            <a:ext cx="864096" cy="750486"/>
            <a:chOff x="9340605" y="2078081"/>
            <a:chExt cx="1184685" cy="1274041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340605" y="2078081"/>
              <a:ext cx="1184685" cy="1268807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Обычный" charset="0"/>
                <a:ea typeface="+mn-ea"/>
                <a:cs typeface="+mn-cs"/>
              </a:endParaRP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549743" y="2118327"/>
              <a:ext cx="723495" cy="722465"/>
            </a:xfrm>
            <a:prstGeom prst="rect">
              <a:avLst/>
            </a:prstGeom>
          </p:spPr>
          <p:txBody>
            <a:bodyPr wrap="none" t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0" i="0" u="none" strike="noStrike" kern="1200" cap="none" spc="-15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F Din Text Cond Pro Medium"/>
                  <a:ea typeface="+mn-ea"/>
                  <a:cs typeface="+mn-cs"/>
                </a:rPr>
                <a:t>14</a:t>
              </a:r>
              <a:endParaRPr kumimoji="0" lang="ru-RU" sz="3200" b="0" i="0" u="none" strike="noStrike" kern="1200" cap="none" spc="-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Medium"/>
                <a:ea typeface="+mn-ea"/>
                <a:cs typeface="+mn-cs"/>
              </a:endParaRPr>
            </a:p>
          </p:txBody>
        </p:sp>
        <p:cxnSp>
          <p:nvCxnSpPr>
            <p:cNvPr id="41" name="Прямая соединительная линия 40"/>
            <p:cNvCxnSpPr/>
            <p:nvPr/>
          </p:nvCxnSpPr>
          <p:spPr>
            <a:xfrm>
              <a:off x="9443408" y="2908911"/>
              <a:ext cx="979078" cy="0"/>
            </a:xfrm>
            <a:prstGeom prst="line">
              <a:avLst/>
            </a:prstGeom>
            <a:ln w="19050" cap="rnd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Прямоугольник 41"/>
            <p:cNvSpPr/>
            <p:nvPr/>
          </p:nvSpPr>
          <p:spPr>
            <a:xfrm>
              <a:off x="9411335" y="2968217"/>
              <a:ext cx="1049797" cy="383905"/>
            </a:xfrm>
            <a:prstGeom prst="rect">
              <a:avLst/>
            </a:prstGeom>
          </p:spPr>
          <p:txBody>
            <a:bodyPr wrap="square" lIns="0" tIns="72000" r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F Din Text Cond Pro Medium"/>
                  <a:ea typeface="+mn-ea"/>
                  <a:cs typeface="+mn-cs"/>
                </a:rPr>
                <a:t>ГОСТов</a:t>
              </a: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Medium"/>
                <a:ea typeface="+mn-ea"/>
                <a:cs typeface="+mn-cs"/>
              </a:endParaRPr>
            </a:p>
          </p:txBody>
        </p:sp>
      </p:grpSp>
      <p:grpSp>
        <p:nvGrpSpPr>
          <p:cNvPr id="58" name="Группа 57"/>
          <p:cNvGrpSpPr/>
          <p:nvPr/>
        </p:nvGrpSpPr>
        <p:grpSpPr>
          <a:xfrm>
            <a:off x="372307" y="3222500"/>
            <a:ext cx="864096" cy="780558"/>
            <a:chOff x="9340605" y="2078081"/>
            <a:chExt cx="1184685" cy="1325092"/>
          </a:xfrm>
        </p:grpSpPr>
        <p:sp>
          <p:nvSpPr>
            <p:cNvPr id="59" name="Прямоугольник 58"/>
            <p:cNvSpPr/>
            <p:nvPr/>
          </p:nvSpPr>
          <p:spPr>
            <a:xfrm>
              <a:off x="9340605" y="2078081"/>
              <a:ext cx="1184685" cy="1268807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Обычный" charset="0"/>
                <a:ea typeface="+mn-ea"/>
                <a:cs typeface="+mn-cs"/>
              </a:endParaRPr>
            </a:p>
          </p:txBody>
        </p:sp>
        <p:sp>
          <p:nvSpPr>
            <p:cNvPr id="60" name="Прямоугольник 59"/>
            <p:cNvSpPr/>
            <p:nvPr/>
          </p:nvSpPr>
          <p:spPr>
            <a:xfrm>
              <a:off x="9667322" y="2118327"/>
              <a:ext cx="488336" cy="835982"/>
            </a:xfrm>
            <a:prstGeom prst="rect">
              <a:avLst/>
            </a:prstGeom>
          </p:spPr>
          <p:txBody>
            <a:bodyPr wrap="none" t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0" i="0" u="none" strike="noStrike" kern="1200" cap="none" spc="-15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F Din Text Cond Pro Medium"/>
                  <a:ea typeface="+mn-ea"/>
                  <a:cs typeface="+mn-cs"/>
                </a:rPr>
                <a:t>1</a:t>
              </a:r>
              <a:endParaRPr kumimoji="0" lang="ru-RU" sz="3200" b="0" i="0" u="none" strike="noStrike" kern="1200" cap="none" spc="-15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F Din Text Cond Pro Medium"/>
                <a:ea typeface="+mn-ea"/>
                <a:cs typeface="+mn-cs"/>
              </a:endParaRPr>
            </a:p>
          </p:txBody>
        </p:sp>
        <p:cxnSp>
          <p:nvCxnSpPr>
            <p:cNvPr id="61" name="Прямая соединительная линия 60"/>
            <p:cNvCxnSpPr/>
            <p:nvPr/>
          </p:nvCxnSpPr>
          <p:spPr>
            <a:xfrm>
              <a:off x="9443408" y="2908911"/>
              <a:ext cx="979078" cy="0"/>
            </a:xfrm>
            <a:prstGeom prst="line">
              <a:avLst/>
            </a:prstGeom>
            <a:ln w="19050" cap="rnd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Прямоугольник 61"/>
            <p:cNvSpPr/>
            <p:nvPr/>
          </p:nvSpPr>
          <p:spPr>
            <a:xfrm>
              <a:off x="9411335" y="2968217"/>
              <a:ext cx="1049797" cy="434956"/>
            </a:xfrm>
            <a:prstGeom prst="rect">
              <a:avLst/>
            </a:prstGeom>
          </p:spPr>
          <p:txBody>
            <a:bodyPr wrap="square" lIns="0" tIns="72000" r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F Din Text Cond Pro Medium"/>
                  <a:ea typeface="+mn-ea"/>
                  <a:cs typeface="+mn-cs"/>
                </a:rPr>
                <a:t>ФЗ</a:t>
              </a:r>
              <a:endPara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Medium"/>
                <a:ea typeface="+mn-ea"/>
                <a:cs typeface="+mn-cs"/>
              </a:endParaRPr>
            </a:p>
          </p:txBody>
        </p:sp>
      </p:grpSp>
      <p:sp>
        <p:nvSpPr>
          <p:cNvPr id="63" name="Прямоугольник 62"/>
          <p:cNvSpPr/>
          <p:nvPr/>
        </p:nvSpPr>
        <p:spPr>
          <a:xfrm>
            <a:off x="1399723" y="3446386"/>
            <a:ext cx="1011712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N 187-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ФЗ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– Федеральный закон "О безопасности критической информационной инфраструктуры Российской Федерации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"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4328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191344" y="692696"/>
          <a:ext cx="11593291" cy="52745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89963">
                  <a:extLst>
                    <a:ext uri="{9D8B030D-6E8A-4147-A177-3AD203B41FA5}">
                      <a16:colId xmlns:a16="http://schemas.microsoft.com/office/drawing/2014/main" val="2758553372"/>
                    </a:ext>
                  </a:extLst>
                </a:gridCol>
                <a:gridCol w="3379682">
                  <a:extLst>
                    <a:ext uri="{9D8B030D-6E8A-4147-A177-3AD203B41FA5}">
                      <a16:colId xmlns:a16="http://schemas.microsoft.com/office/drawing/2014/main" val="915425082"/>
                    </a:ext>
                  </a:extLst>
                </a:gridCol>
                <a:gridCol w="869294">
                  <a:extLst>
                    <a:ext uri="{9D8B030D-6E8A-4147-A177-3AD203B41FA5}">
                      <a16:colId xmlns:a16="http://schemas.microsoft.com/office/drawing/2014/main" val="3241557835"/>
                    </a:ext>
                  </a:extLst>
                </a:gridCol>
                <a:gridCol w="869294">
                  <a:extLst>
                    <a:ext uri="{9D8B030D-6E8A-4147-A177-3AD203B41FA5}">
                      <a16:colId xmlns:a16="http://schemas.microsoft.com/office/drawing/2014/main" val="1521753402"/>
                    </a:ext>
                  </a:extLst>
                </a:gridCol>
                <a:gridCol w="869294">
                  <a:extLst>
                    <a:ext uri="{9D8B030D-6E8A-4147-A177-3AD203B41FA5}">
                      <a16:colId xmlns:a16="http://schemas.microsoft.com/office/drawing/2014/main" val="4053845813"/>
                    </a:ext>
                  </a:extLst>
                </a:gridCol>
                <a:gridCol w="869294">
                  <a:extLst>
                    <a:ext uri="{9D8B030D-6E8A-4147-A177-3AD203B41FA5}">
                      <a16:colId xmlns:a16="http://schemas.microsoft.com/office/drawing/2014/main" val="3691737040"/>
                    </a:ext>
                  </a:extLst>
                </a:gridCol>
                <a:gridCol w="869294">
                  <a:extLst>
                    <a:ext uri="{9D8B030D-6E8A-4147-A177-3AD203B41FA5}">
                      <a16:colId xmlns:a16="http://schemas.microsoft.com/office/drawing/2014/main" val="2747622178"/>
                    </a:ext>
                  </a:extLst>
                </a:gridCol>
                <a:gridCol w="869294">
                  <a:extLst>
                    <a:ext uri="{9D8B030D-6E8A-4147-A177-3AD203B41FA5}">
                      <a16:colId xmlns:a16="http://schemas.microsoft.com/office/drawing/2014/main" val="2958738585"/>
                    </a:ext>
                  </a:extLst>
                </a:gridCol>
                <a:gridCol w="869294">
                  <a:extLst>
                    <a:ext uri="{9D8B030D-6E8A-4147-A177-3AD203B41FA5}">
                      <a16:colId xmlns:a16="http://schemas.microsoft.com/office/drawing/2014/main" val="2885496433"/>
                    </a:ext>
                  </a:extLst>
                </a:gridCol>
                <a:gridCol w="869294">
                  <a:extLst>
                    <a:ext uri="{9D8B030D-6E8A-4147-A177-3AD203B41FA5}">
                      <a16:colId xmlns:a16="http://schemas.microsoft.com/office/drawing/2014/main" val="4095204516"/>
                    </a:ext>
                  </a:extLst>
                </a:gridCol>
                <a:gridCol w="869294">
                  <a:extLst>
                    <a:ext uri="{9D8B030D-6E8A-4147-A177-3AD203B41FA5}">
                      <a16:colId xmlns:a16="http://schemas.microsoft.com/office/drawing/2014/main" val="1848257157"/>
                    </a:ext>
                  </a:extLst>
                </a:gridCol>
              </a:tblGrid>
              <a:tr h="362582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№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Название методологии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SGAM IEC</a:t>
                      </a:r>
                      <a:endParaRPr lang="en-US" sz="1100" b="0" i="0" u="none" strike="noStrike" dirty="0">
                        <a:solidFill>
                          <a:schemeClr val="bg1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b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TOGAF</a:t>
                      </a:r>
                      <a:endParaRPr lang="en-US" sz="1100" b="0" i="0" u="none" strike="noStrike" dirty="0">
                        <a:solidFill>
                          <a:schemeClr val="bg1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b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HPUM</a:t>
                      </a:r>
                      <a:endParaRPr lang="en-US" sz="1100" b="0" i="0" u="none" strike="noStrike" dirty="0">
                        <a:solidFill>
                          <a:schemeClr val="bg1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b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NIST Smart Grid</a:t>
                      </a:r>
                      <a:endParaRPr lang="en-US" sz="1100" b="0" i="0" u="none" strike="noStrike" dirty="0">
                        <a:solidFill>
                          <a:schemeClr val="bg1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b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OBIT</a:t>
                      </a:r>
                      <a:endParaRPr lang="en-US" sz="1100" b="0" i="0" u="none" strike="noStrike" dirty="0">
                        <a:solidFill>
                          <a:schemeClr val="bg1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b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eTOM</a:t>
                      </a:r>
                      <a:endParaRPr lang="en-US" sz="1100" b="0" i="0" u="none" strike="noStrike" dirty="0">
                        <a:solidFill>
                          <a:schemeClr val="bg1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b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Zachman Framework</a:t>
                      </a:r>
                      <a:endParaRPr lang="en-US" sz="1100" b="0" i="0" u="none" strike="noStrike" dirty="0">
                        <a:solidFill>
                          <a:schemeClr val="bg1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DMBoK</a:t>
                      </a:r>
                      <a:endParaRPr lang="en-US" sz="1100" b="0" i="0" u="none" strike="noStrike" dirty="0">
                        <a:solidFill>
                          <a:schemeClr val="bg1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b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PF Din Text Cond Pro Light" panose="02000000000000000000" pitchFamily="2" charset="0"/>
                        </a:rPr>
                        <a:t>ГОСТ 34</a:t>
                      </a:r>
                      <a:endParaRPr lang="en-US" sz="1100" b="0" i="0" u="none" strike="noStrike" dirty="0">
                        <a:solidFill>
                          <a:schemeClr val="bg1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b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6661811"/>
                  </a:ext>
                </a:extLst>
              </a:tr>
              <a:tr h="107796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Полное название методологии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Smart Grids Architecture Model (SGAM) Framework</a:t>
                      </a:r>
                      <a:endParaRPr lang="en-US" sz="1100" b="0" i="0" u="none" strike="noStrike" dirty="0">
                        <a:solidFill>
                          <a:schemeClr val="bg1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The Open Group Architecture Framework (TOGAF)</a:t>
                      </a:r>
                      <a:endParaRPr lang="en-US" sz="1100" b="0" i="0" u="none" strike="noStrike" dirty="0">
                        <a:solidFill>
                          <a:schemeClr val="bg1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Accenture's High Performance Utility Model</a:t>
                      </a:r>
                      <a:endParaRPr lang="en-US" sz="1100" b="0" i="0" u="none" strike="noStrike" dirty="0">
                        <a:solidFill>
                          <a:schemeClr val="bg1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NIST Smart Grid Program U.S. Department of Commerce</a:t>
                      </a:r>
                      <a:endParaRPr lang="en-US" sz="1100" b="0" i="0" u="none" strike="noStrike" dirty="0">
                        <a:solidFill>
                          <a:schemeClr val="bg1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COBIT an ISACA Framework</a:t>
                      </a:r>
                      <a:endParaRPr lang="en-US" sz="1100" b="0" i="0" u="none" strike="noStrike" dirty="0">
                        <a:solidFill>
                          <a:schemeClr val="bg1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eTOM business process framework для телекоммуникационной индустрии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Framework for Enterprise Architecture</a:t>
                      </a:r>
                      <a:endParaRPr lang="en-US" sz="1100" b="0" i="0" u="none" strike="noStrike" dirty="0">
                        <a:solidFill>
                          <a:schemeClr val="bg1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DAMA DMBOK свод знаний по управлению данными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PF Din Text Cond Pro Light" panose="02000000000000000000" pitchFamily="2" charset="0"/>
                        </a:rPr>
                        <a:t>Комплекс стандартов на информационные системы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834613"/>
                  </a:ext>
                </a:extLst>
              </a:tr>
              <a:tr h="89911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Параметры/Разработчик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Международная электротехническая комиссия (МЭК)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The Open Group</a:t>
                      </a:r>
                      <a:endParaRPr lang="en-US" sz="1100" b="0" i="0" u="none" strike="noStrike" dirty="0">
                        <a:solidFill>
                          <a:schemeClr val="bg1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Accenture</a:t>
                      </a:r>
                      <a:endParaRPr lang="en-US" sz="1100" b="0" i="0" u="none" strike="noStrike" dirty="0">
                        <a:solidFill>
                          <a:schemeClr val="bg1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Национальный институт стандартов и технологий США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Методология управления ИТ ISACA США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TMForum</a:t>
                      </a:r>
                      <a:endParaRPr lang="en-US" sz="1100" b="0" i="0" u="none" strike="noStrike" dirty="0">
                        <a:solidFill>
                          <a:schemeClr val="bg1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John Zachman, IBM</a:t>
                      </a:r>
                      <a:endParaRPr lang="en-US" sz="1100" b="0" i="0" u="none" strike="noStrike" dirty="0">
                        <a:solidFill>
                          <a:schemeClr val="bg1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Международная ассоция </a:t>
                      </a:r>
                      <a:r>
                        <a:rPr lang="en-US" sz="1100" u="none" strike="noStrike" dirty="0">
                          <a:solidFill>
                            <a:schemeClr val="bg1"/>
                          </a:solidFill>
                          <a:effectLst/>
                        </a:rPr>
                        <a:t>Data Management Community</a:t>
                      </a:r>
                      <a:endParaRPr lang="en-US" sz="1100" b="0" i="0" u="none" strike="noStrike" dirty="0">
                        <a:solidFill>
                          <a:schemeClr val="bg1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PF Din Text Cond Pro Light" panose="02000000000000000000" pitchFamily="2" charset="0"/>
                        </a:rPr>
                        <a:t>ГОСТ</a:t>
                      </a:r>
                      <a:endParaRPr lang="en-US" sz="1100" b="0" i="0" u="none" strike="noStrike" dirty="0">
                        <a:solidFill>
                          <a:schemeClr val="bg1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4176077"/>
                  </a:ext>
                </a:extLst>
              </a:tr>
              <a:tr h="28490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>
                          <a:effectLst/>
                        </a:rPr>
                        <a:t>Отраслевая специфика (энергетика)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7287688"/>
                  </a:ext>
                </a:extLst>
              </a:tr>
              <a:tr h="36258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>
                          <a:effectLst/>
                        </a:rPr>
                        <a:t>Увязка со стратегией (цели и задачи, показатели эффективности)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4833368"/>
                  </a:ext>
                </a:extLst>
              </a:tr>
              <a:tr h="28490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smtClean="0">
                          <a:effectLst/>
                        </a:rPr>
                        <a:t>Референтные </a:t>
                      </a:r>
                      <a:r>
                        <a:rPr lang="ru-RU" sz="1200" u="none" strike="noStrike" dirty="0">
                          <a:effectLst/>
                        </a:rPr>
                        <a:t>для отрасли бизнес-процессы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9048629"/>
                  </a:ext>
                </a:extLst>
              </a:tr>
              <a:tr h="28490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>
                          <a:effectLst/>
                        </a:rPr>
                        <a:t>Референтная архитектура бизнес-приложений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8869078"/>
                  </a:ext>
                </a:extLst>
              </a:tr>
              <a:tr h="28490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>
                          <a:effectLst/>
                        </a:rPr>
                        <a:t>Референтная архитектура </a:t>
                      </a:r>
                      <a:r>
                        <a:rPr lang="ru-RU" sz="1200" u="none" strike="noStrike" dirty="0" smtClean="0">
                          <a:effectLst/>
                        </a:rPr>
                        <a:t>систем объектового уровня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3999683"/>
                  </a:ext>
                </a:extLst>
              </a:tr>
              <a:tr h="28490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>
                          <a:effectLst/>
                        </a:rPr>
                        <a:t>Описание информационного обмена между системами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0513667"/>
                  </a:ext>
                </a:extLst>
              </a:tr>
              <a:tr h="28490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>
                          <a:effectLst/>
                        </a:rPr>
                        <a:t>Описание </a:t>
                      </a:r>
                      <a:r>
                        <a:rPr lang="ru-RU" sz="1200" u="none" strike="noStrike" dirty="0" smtClean="0">
                          <a:effectLst/>
                        </a:rPr>
                        <a:t>процесса управления </a:t>
                      </a:r>
                      <a:r>
                        <a:rPr lang="ru-RU" sz="1200" u="none" strike="noStrike" dirty="0">
                          <a:effectLst/>
                        </a:rPr>
                        <a:t>данными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6332347"/>
                  </a:ext>
                </a:extLst>
              </a:tr>
              <a:tr h="28490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</a:rPr>
                        <a:t>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 smtClean="0">
                          <a:effectLst/>
                        </a:rPr>
                        <a:t>ИТ</a:t>
                      </a:r>
                      <a:r>
                        <a:rPr lang="ru-RU" sz="1200" u="none" strike="noStrike" baseline="0" dirty="0" smtClean="0">
                          <a:effectLst/>
                        </a:rPr>
                        <a:t> и</a:t>
                      </a:r>
                      <a:r>
                        <a:rPr lang="ru-RU" sz="1200" u="none" strike="noStrike" dirty="0" smtClean="0">
                          <a:effectLst/>
                        </a:rPr>
                        <a:t>нфраструктур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4666486"/>
                  </a:ext>
                </a:extLst>
              </a:tr>
              <a:tr h="28490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PF Din Text Cond Pro Light" panose="02000000000000000000" pitchFamily="2" charset="0"/>
                        </a:rPr>
                        <a:t>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писание процесса обеспечения ИБ</a:t>
                      </a:r>
                      <a:endParaRPr lang="ru-RU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0672191"/>
                  </a:ext>
                </a:extLst>
              </a:tr>
              <a:tr h="28490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dirty="0">
                          <a:effectLst/>
                        </a:rPr>
                        <a:t>Описание жизненного цикла архитектуры и инфраструктуры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PF Din Text Cond Pro Light" panose="02000000000000000000" pitchFamily="2" charset="0"/>
                      </a:endParaRPr>
                    </a:p>
                  </a:txBody>
                  <a:tcPr marL="5001" marR="5001" marT="5001" marB="0" anchor="ctr">
                    <a:lnL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7884809"/>
                  </a:ext>
                </a:extLst>
              </a:tr>
            </a:tbl>
          </a:graphicData>
        </a:graphic>
      </p:graphicFrame>
      <p:sp>
        <p:nvSpPr>
          <p:cNvPr id="218" name="Rectangle: Rounded Corners 197">
            <a:extLst>
              <a:ext uri="{FF2B5EF4-FFF2-40B4-BE49-F238E27FC236}">
                <a16:creationId xmlns:a16="http://schemas.microsoft.com/office/drawing/2014/main" id="{8C4C6DC8-1013-440B-A79A-9B4649935A18}"/>
              </a:ext>
            </a:extLst>
          </p:cNvPr>
          <p:cNvSpPr/>
          <p:nvPr/>
        </p:nvSpPr>
        <p:spPr>
          <a:xfrm>
            <a:off x="3825265" y="609542"/>
            <a:ext cx="1994595" cy="6072734"/>
          </a:xfrm>
          <a:prstGeom prst="roundRect">
            <a:avLst>
              <a:gd name="adj" fmla="val 6405"/>
            </a:avLst>
          </a:prstGeom>
          <a:solidFill>
            <a:srgbClr val="92D05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инятое решение</a:t>
            </a:r>
          </a:p>
        </p:txBody>
      </p:sp>
      <p:sp>
        <p:nvSpPr>
          <p:cNvPr id="225" name="Rectangle: Rounded Corners 197">
            <a:extLst>
              <a:ext uri="{FF2B5EF4-FFF2-40B4-BE49-F238E27FC236}">
                <a16:creationId xmlns:a16="http://schemas.microsoft.com/office/drawing/2014/main" id="{8C4C6DC8-1013-440B-A79A-9B4649935A18}"/>
              </a:ext>
            </a:extLst>
          </p:cNvPr>
          <p:cNvSpPr/>
          <p:nvPr/>
        </p:nvSpPr>
        <p:spPr>
          <a:xfrm>
            <a:off x="9972823" y="648642"/>
            <a:ext cx="1004133" cy="6033633"/>
          </a:xfrm>
          <a:prstGeom prst="roundRect">
            <a:avLst>
              <a:gd name="adj" fmla="val 6405"/>
            </a:avLst>
          </a:prstGeom>
          <a:solidFill>
            <a:srgbClr val="92D05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 данные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9" name="Rectangle: Rounded Corners 197">
            <a:extLst>
              <a:ext uri="{FF2B5EF4-FFF2-40B4-BE49-F238E27FC236}">
                <a16:creationId xmlns:a16="http://schemas.microsoft.com/office/drawing/2014/main" id="{8C4C6DC8-1013-440B-A79A-9B4649935A18}"/>
              </a:ext>
            </a:extLst>
          </p:cNvPr>
          <p:cNvSpPr/>
          <p:nvPr/>
        </p:nvSpPr>
        <p:spPr>
          <a:xfrm>
            <a:off x="5807484" y="609541"/>
            <a:ext cx="765769" cy="3395770"/>
          </a:xfrm>
          <a:prstGeom prst="roundRect">
            <a:avLst>
              <a:gd name="adj" fmla="val 6405"/>
            </a:avLst>
          </a:prstGeom>
          <a:solidFill>
            <a:srgbClr val="92D05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08000" rtlCol="0"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35560" y="156364"/>
            <a:ext cx="9486901" cy="431355"/>
          </a:xfrm>
        </p:spPr>
        <p:txBody>
          <a:bodyPr/>
          <a:lstStyle/>
          <a:p>
            <a:r>
              <a:rPr lang="ru-RU" dirty="0" smtClean="0"/>
              <a:t>Системы предприятий электроэнергетики должны базироваться на МЭК</a:t>
            </a:r>
            <a:r>
              <a:rPr lang="ru-RU" dirty="0"/>
              <a:t> </a:t>
            </a:r>
            <a:r>
              <a:rPr lang="ru-RU" dirty="0" smtClean="0"/>
              <a:t>(т.к. ГОСТ Р базируются на МЭК) и быть дополнены недостающими уровнями, отсутствующими в МЭК</a:t>
            </a:r>
            <a:endParaRPr lang="ru-RU" dirty="0"/>
          </a:p>
        </p:txBody>
      </p:sp>
      <p:sp>
        <p:nvSpPr>
          <p:cNvPr id="37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4229509" y="3733416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Oval 206">
            <a:extLst>
              <a:ext uri="{FF2B5EF4-FFF2-40B4-BE49-F238E27FC236}">
                <a16:creationId xmlns:a16="http://schemas.microsoft.com/office/drawing/2014/main" id="{AE5B77A7-96D1-4239-BE8B-5A6C941A6992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4194039" y="3073373"/>
            <a:ext cx="216000" cy="2160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5" name="Группа 44"/>
          <p:cNvGrpSpPr>
            <a:grpSpLocks noChangeAspect="1"/>
          </p:cNvGrpSpPr>
          <p:nvPr/>
        </p:nvGrpSpPr>
        <p:grpSpPr>
          <a:xfrm>
            <a:off x="4216461" y="3432653"/>
            <a:ext cx="216000" cy="216000"/>
            <a:chOff x="11214058" y="3928574"/>
            <a:chExt cx="384175" cy="384175"/>
          </a:xfrm>
        </p:grpSpPr>
        <p:sp>
          <p:nvSpPr>
            <p:cNvPr id="46" name="Oval 253">
              <a:extLst>
                <a:ext uri="{FF2B5EF4-FFF2-40B4-BE49-F238E27FC236}">
                  <a16:creationId xmlns:a16="http://schemas.microsoft.com/office/drawing/2014/main" id="{B1BA5709-B53C-402A-B964-B869B8F2D647}"/>
                </a:ext>
              </a:extLst>
            </p:cNvPr>
            <p:cNvSpPr/>
            <p:nvPr>
              <p:custDataLst>
                <p:tags r:id="rId120"/>
              </p:custDataLst>
            </p:nvPr>
          </p:nvSpPr>
          <p:spPr bwMode="auto">
            <a:xfrm>
              <a:off x="11214058" y="3928574"/>
              <a:ext cx="384175" cy="38417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Arc 254">
              <a:extLst>
                <a:ext uri="{FF2B5EF4-FFF2-40B4-BE49-F238E27FC236}">
                  <a16:creationId xmlns:a16="http://schemas.microsoft.com/office/drawing/2014/main" id="{0EF22205-A6B5-444B-A5B0-5EB43306F615}"/>
                </a:ext>
              </a:extLst>
            </p:cNvPr>
            <p:cNvSpPr/>
            <p:nvPr>
              <p:custDataLst>
                <p:tags r:id="rId121"/>
              </p:custDataLst>
            </p:nvPr>
          </p:nvSpPr>
          <p:spPr bwMode="gray">
            <a:xfrm>
              <a:off x="11214058" y="3928574"/>
              <a:ext cx="384174" cy="384174"/>
            </a:xfrm>
            <a:prstGeom prst="arc">
              <a:avLst>
                <a:gd name="adj1" fmla="val 16200000"/>
                <a:gd name="adj2" fmla="val 28989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8" name="Oval 206">
            <a:extLst>
              <a:ext uri="{FF2B5EF4-FFF2-40B4-BE49-F238E27FC236}">
                <a16:creationId xmlns:a16="http://schemas.microsoft.com/office/drawing/2014/main" id="{AE5B77A7-96D1-4239-BE8B-5A6C941A6992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auto">
          <a:xfrm>
            <a:off x="6115692" y="3080341"/>
            <a:ext cx="216000" cy="2160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auto">
          <a:xfrm>
            <a:off x="4224711" y="4022470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Oval 206">
            <a:extLst>
              <a:ext uri="{FF2B5EF4-FFF2-40B4-BE49-F238E27FC236}">
                <a16:creationId xmlns:a16="http://schemas.microsoft.com/office/drawing/2014/main" id="{AE5B77A7-96D1-4239-BE8B-5A6C941A6992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 bwMode="auto">
          <a:xfrm>
            <a:off x="4216460" y="4313538"/>
            <a:ext cx="216000" cy="2160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Oval 206">
            <a:extLst>
              <a:ext uri="{FF2B5EF4-FFF2-40B4-BE49-F238E27FC236}">
                <a16:creationId xmlns:a16="http://schemas.microsoft.com/office/drawing/2014/main" id="{AE5B77A7-96D1-4239-BE8B-5A6C941A6992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 bwMode="auto">
          <a:xfrm>
            <a:off x="4224711" y="4601949"/>
            <a:ext cx="216000" cy="2160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3" name="Группа 52"/>
          <p:cNvGrpSpPr>
            <a:grpSpLocks noChangeAspect="1"/>
          </p:cNvGrpSpPr>
          <p:nvPr/>
        </p:nvGrpSpPr>
        <p:grpSpPr>
          <a:xfrm>
            <a:off x="4224711" y="4895852"/>
            <a:ext cx="216000" cy="216000"/>
            <a:chOff x="11214058" y="3928574"/>
            <a:chExt cx="384175" cy="384175"/>
          </a:xfrm>
        </p:grpSpPr>
        <p:sp>
          <p:nvSpPr>
            <p:cNvPr id="54" name="Oval 253">
              <a:extLst>
                <a:ext uri="{FF2B5EF4-FFF2-40B4-BE49-F238E27FC236}">
                  <a16:creationId xmlns:a16="http://schemas.microsoft.com/office/drawing/2014/main" id="{B1BA5709-B53C-402A-B964-B869B8F2D647}"/>
                </a:ext>
              </a:extLst>
            </p:cNvPr>
            <p:cNvSpPr/>
            <p:nvPr>
              <p:custDataLst>
                <p:tags r:id="rId118"/>
              </p:custDataLst>
            </p:nvPr>
          </p:nvSpPr>
          <p:spPr bwMode="auto">
            <a:xfrm>
              <a:off x="11214058" y="3928574"/>
              <a:ext cx="384175" cy="38417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Arc 254">
              <a:extLst>
                <a:ext uri="{FF2B5EF4-FFF2-40B4-BE49-F238E27FC236}">
                  <a16:creationId xmlns:a16="http://schemas.microsoft.com/office/drawing/2014/main" id="{0EF22205-A6B5-444B-A5B0-5EB43306F615}"/>
                </a:ext>
              </a:extLst>
            </p:cNvPr>
            <p:cNvSpPr/>
            <p:nvPr>
              <p:custDataLst>
                <p:tags r:id="rId119"/>
              </p:custDataLst>
            </p:nvPr>
          </p:nvSpPr>
          <p:spPr bwMode="gray">
            <a:xfrm>
              <a:off x="11214058" y="3928574"/>
              <a:ext cx="384174" cy="384174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6" name="Группа 55"/>
          <p:cNvGrpSpPr>
            <a:grpSpLocks noChangeAspect="1"/>
          </p:cNvGrpSpPr>
          <p:nvPr/>
        </p:nvGrpSpPr>
        <p:grpSpPr>
          <a:xfrm>
            <a:off x="4224711" y="5180958"/>
            <a:ext cx="216000" cy="216000"/>
            <a:chOff x="11214058" y="3928574"/>
            <a:chExt cx="384175" cy="384175"/>
          </a:xfrm>
        </p:grpSpPr>
        <p:sp>
          <p:nvSpPr>
            <p:cNvPr id="57" name="Oval 253">
              <a:extLst>
                <a:ext uri="{FF2B5EF4-FFF2-40B4-BE49-F238E27FC236}">
                  <a16:creationId xmlns:a16="http://schemas.microsoft.com/office/drawing/2014/main" id="{B1BA5709-B53C-402A-B964-B869B8F2D647}"/>
                </a:ext>
              </a:extLst>
            </p:cNvPr>
            <p:cNvSpPr/>
            <p:nvPr>
              <p:custDataLst>
                <p:tags r:id="rId116"/>
              </p:custDataLst>
            </p:nvPr>
          </p:nvSpPr>
          <p:spPr bwMode="auto">
            <a:xfrm>
              <a:off x="11214058" y="3928574"/>
              <a:ext cx="384175" cy="38417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Arc 254">
              <a:extLst>
                <a:ext uri="{FF2B5EF4-FFF2-40B4-BE49-F238E27FC236}">
                  <a16:creationId xmlns:a16="http://schemas.microsoft.com/office/drawing/2014/main" id="{0EF22205-A6B5-444B-A5B0-5EB43306F615}"/>
                </a:ext>
              </a:extLst>
            </p:cNvPr>
            <p:cNvSpPr/>
            <p:nvPr>
              <p:custDataLst>
                <p:tags r:id="rId117"/>
              </p:custDataLst>
            </p:nvPr>
          </p:nvSpPr>
          <p:spPr bwMode="gray">
            <a:xfrm>
              <a:off x="11214058" y="3928574"/>
              <a:ext cx="384174" cy="384174"/>
            </a:xfrm>
            <a:prstGeom prst="arc">
              <a:avLst>
                <a:gd name="adj1" fmla="val 16200000"/>
                <a:gd name="adj2" fmla="val 28989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9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 bwMode="auto">
          <a:xfrm>
            <a:off x="4260891" y="5737860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0" name="Группа 59"/>
          <p:cNvGrpSpPr>
            <a:grpSpLocks noChangeAspect="1"/>
          </p:cNvGrpSpPr>
          <p:nvPr/>
        </p:nvGrpSpPr>
        <p:grpSpPr>
          <a:xfrm>
            <a:off x="5133015" y="3087951"/>
            <a:ext cx="216000" cy="216000"/>
            <a:chOff x="11214058" y="3288900"/>
            <a:chExt cx="384175" cy="384175"/>
          </a:xfrm>
        </p:grpSpPr>
        <p:sp>
          <p:nvSpPr>
            <p:cNvPr id="61" name="Oval 207">
              <a:extLst>
                <a:ext uri="{FF2B5EF4-FFF2-40B4-BE49-F238E27FC236}">
                  <a16:creationId xmlns:a16="http://schemas.microsoft.com/office/drawing/2014/main" id="{7D52072E-9AD1-44AD-90D1-B0296C356535}"/>
                </a:ext>
              </a:extLst>
            </p:cNvPr>
            <p:cNvSpPr/>
            <p:nvPr>
              <p:custDataLst>
                <p:tags r:id="rId114"/>
              </p:custDataLst>
            </p:nvPr>
          </p:nvSpPr>
          <p:spPr bwMode="auto">
            <a:xfrm>
              <a:off x="11214058" y="3288900"/>
              <a:ext cx="384175" cy="38417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Arc 208">
              <a:extLst>
                <a:ext uri="{FF2B5EF4-FFF2-40B4-BE49-F238E27FC236}">
                  <a16:creationId xmlns:a16="http://schemas.microsoft.com/office/drawing/2014/main" id="{FB0E0B04-B418-422E-A1D2-392F1190A073}"/>
                </a:ext>
              </a:extLst>
            </p:cNvPr>
            <p:cNvSpPr/>
            <p:nvPr>
              <p:custDataLst>
                <p:tags r:id="rId115"/>
              </p:custDataLst>
            </p:nvPr>
          </p:nvSpPr>
          <p:spPr bwMode="gray">
            <a:xfrm>
              <a:off x="11214058" y="3288900"/>
              <a:ext cx="384174" cy="384174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3" name="Oval 206">
            <a:extLst>
              <a:ext uri="{FF2B5EF4-FFF2-40B4-BE49-F238E27FC236}">
                <a16:creationId xmlns:a16="http://schemas.microsoft.com/office/drawing/2014/main" id="{AE5B77A7-96D1-4239-BE8B-5A6C941A6992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 bwMode="auto">
          <a:xfrm>
            <a:off x="5139837" y="3432653"/>
            <a:ext cx="216000" cy="2160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65" name="Группа 64"/>
          <p:cNvGrpSpPr>
            <a:grpSpLocks noChangeAspect="1"/>
          </p:cNvGrpSpPr>
          <p:nvPr/>
        </p:nvGrpSpPr>
        <p:grpSpPr>
          <a:xfrm>
            <a:off x="5148881" y="4022470"/>
            <a:ext cx="216000" cy="216000"/>
            <a:chOff x="11214058" y="3928574"/>
            <a:chExt cx="384175" cy="384175"/>
          </a:xfrm>
        </p:grpSpPr>
        <p:sp>
          <p:nvSpPr>
            <p:cNvPr id="66" name="Oval 253">
              <a:extLst>
                <a:ext uri="{FF2B5EF4-FFF2-40B4-BE49-F238E27FC236}">
                  <a16:creationId xmlns:a16="http://schemas.microsoft.com/office/drawing/2014/main" id="{B1BA5709-B53C-402A-B964-B869B8F2D647}"/>
                </a:ext>
              </a:extLst>
            </p:cNvPr>
            <p:cNvSpPr/>
            <p:nvPr>
              <p:custDataLst>
                <p:tags r:id="rId112"/>
              </p:custDataLst>
            </p:nvPr>
          </p:nvSpPr>
          <p:spPr bwMode="auto">
            <a:xfrm>
              <a:off x="11214058" y="3928574"/>
              <a:ext cx="384175" cy="38417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Arc 254">
              <a:extLst>
                <a:ext uri="{FF2B5EF4-FFF2-40B4-BE49-F238E27FC236}">
                  <a16:creationId xmlns:a16="http://schemas.microsoft.com/office/drawing/2014/main" id="{0EF22205-A6B5-444B-A5B0-5EB43306F615}"/>
                </a:ext>
              </a:extLst>
            </p:cNvPr>
            <p:cNvSpPr/>
            <p:nvPr>
              <p:custDataLst>
                <p:tags r:id="rId113"/>
              </p:custDataLst>
            </p:nvPr>
          </p:nvSpPr>
          <p:spPr bwMode="gray">
            <a:xfrm>
              <a:off x="11214058" y="3928574"/>
              <a:ext cx="384174" cy="384174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68" name="Группа 67"/>
          <p:cNvGrpSpPr>
            <a:grpSpLocks noChangeAspect="1"/>
          </p:cNvGrpSpPr>
          <p:nvPr/>
        </p:nvGrpSpPr>
        <p:grpSpPr>
          <a:xfrm>
            <a:off x="5159246" y="4313538"/>
            <a:ext cx="216000" cy="216000"/>
            <a:chOff x="11214058" y="3928574"/>
            <a:chExt cx="384175" cy="384175"/>
          </a:xfrm>
        </p:grpSpPr>
        <p:sp>
          <p:nvSpPr>
            <p:cNvPr id="69" name="Oval 253">
              <a:extLst>
                <a:ext uri="{FF2B5EF4-FFF2-40B4-BE49-F238E27FC236}">
                  <a16:creationId xmlns:a16="http://schemas.microsoft.com/office/drawing/2014/main" id="{B1BA5709-B53C-402A-B964-B869B8F2D647}"/>
                </a:ext>
              </a:extLst>
            </p:cNvPr>
            <p:cNvSpPr/>
            <p:nvPr>
              <p:custDataLst>
                <p:tags r:id="rId110"/>
              </p:custDataLst>
            </p:nvPr>
          </p:nvSpPr>
          <p:spPr bwMode="auto">
            <a:xfrm>
              <a:off x="11214058" y="3928574"/>
              <a:ext cx="384175" cy="38417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Arc 254">
              <a:extLst>
                <a:ext uri="{FF2B5EF4-FFF2-40B4-BE49-F238E27FC236}">
                  <a16:creationId xmlns:a16="http://schemas.microsoft.com/office/drawing/2014/main" id="{0EF22205-A6B5-444B-A5B0-5EB43306F615}"/>
                </a:ext>
              </a:extLst>
            </p:cNvPr>
            <p:cNvSpPr/>
            <p:nvPr>
              <p:custDataLst>
                <p:tags r:id="rId111"/>
              </p:custDataLst>
            </p:nvPr>
          </p:nvSpPr>
          <p:spPr bwMode="gray">
            <a:xfrm>
              <a:off x="11214058" y="3928574"/>
              <a:ext cx="384174" cy="384174"/>
            </a:xfrm>
            <a:prstGeom prst="arc">
              <a:avLst>
                <a:gd name="adj1" fmla="val 16200000"/>
                <a:gd name="adj2" fmla="val 28989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1" name="Группа 70"/>
          <p:cNvGrpSpPr>
            <a:grpSpLocks noChangeAspect="1"/>
          </p:cNvGrpSpPr>
          <p:nvPr/>
        </p:nvGrpSpPr>
        <p:grpSpPr>
          <a:xfrm>
            <a:off x="5173202" y="4601949"/>
            <a:ext cx="216000" cy="216000"/>
            <a:chOff x="11214058" y="3928574"/>
            <a:chExt cx="384175" cy="384175"/>
          </a:xfrm>
        </p:grpSpPr>
        <p:sp>
          <p:nvSpPr>
            <p:cNvPr id="72" name="Oval 253">
              <a:extLst>
                <a:ext uri="{FF2B5EF4-FFF2-40B4-BE49-F238E27FC236}">
                  <a16:creationId xmlns:a16="http://schemas.microsoft.com/office/drawing/2014/main" id="{B1BA5709-B53C-402A-B964-B869B8F2D647}"/>
                </a:ext>
              </a:extLst>
            </p:cNvPr>
            <p:cNvSpPr/>
            <p:nvPr>
              <p:custDataLst>
                <p:tags r:id="rId108"/>
              </p:custDataLst>
            </p:nvPr>
          </p:nvSpPr>
          <p:spPr bwMode="auto">
            <a:xfrm>
              <a:off x="11214058" y="3928574"/>
              <a:ext cx="384175" cy="38417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Arc 254">
              <a:extLst>
                <a:ext uri="{FF2B5EF4-FFF2-40B4-BE49-F238E27FC236}">
                  <a16:creationId xmlns:a16="http://schemas.microsoft.com/office/drawing/2014/main" id="{0EF22205-A6B5-444B-A5B0-5EB43306F615}"/>
                </a:ext>
              </a:extLst>
            </p:cNvPr>
            <p:cNvSpPr/>
            <p:nvPr>
              <p:custDataLst>
                <p:tags r:id="rId109"/>
              </p:custDataLst>
            </p:nvPr>
          </p:nvSpPr>
          <p:spPr bwMode="gray">
            <a:xfrm>
              <a:off x="11214058" y="3928574"/>
              <a:ext cx="384174" cy="384174"/>
            </a:xfrm>
            <a:prstGeom prst="arc">
              <a:avLst>
                <a:gd name="adj1" fmla="val 16200000"/>
                <a:gd name="adj2" fmla="val 28989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4" name="Группа 73"/>
          <p:cNvGrpSpPr>
            <a:grpSpLocks noChangeAspect="1"/>
          </p:cNvGrpSpPr>
          <p:nvPr/>
        </p:nvGrpSpPr>
        <p:grpSpPr>
          <a:xfrm>
            <a:off x="5167106" y="4895900"/>
            <a:ext cx="216000" cy="216000"/>
            <a:chOff x="11214058" y="3928574"/>
            <a:chExt cx="384175" cy="384175"/>
          </a:xfrm>
        </p:grpSpPr>
        <p:sp>
          <p:nvSpPr>
            <p:cNvPr id="75" name="Oval 253">
              <a:extLst>
                <a:ext uri="{FF2B5EF4-FFF2-40B4-BE49-F238E27FC236}">
                  <a16:creationId xmlns:a16="http://schemas.microsoft.com/office/drawing/2014/main" id="{B1BA5709-B53C-402A-B964-B869B8F2D647}"/>
                </a:ext>
              </a:extLst>
            </p:cNvPr>
            <p:cNvSpPr/>
            <p:nvPr>
              <p:custDataLst>
                <p:tags r:id="rId106"/>
              </p:custDataLst>
            </p:nvPr>
          </p:nvSpPr>
          <p:spPr bwMode="auto">
            <a:xfrm>
              <a:off x="11214058" y="3928574"/>
              <a:ext cx="384175" cy="38417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Arc 254">
              <a:extLst>
                <a:ext uri="{FF2B5EF4-FFF2-40B4-BE49-F238E27FC236}">
                  <a16:creationId xmlns:a16="http://schemas.microsoft.com/office/drawing/2014/main" id="{0EF22205-A6B5-444B-A5B0-5EB43306F615}"/>
                </a:ext>
              </a:extLst>
            </p:cNvPr>
            <p:cNvSpPr/>
            <p:nvPr>
              <p:custDataLst>
                <p:tags r:id="rId107"/>
              </p:custDataLst>
            </p:nvPr>
          </p:nvSpPr>
          <p:spPr bwMode="gray">
            <a:xfrm>
              <a:off x="11214058" y="3928574"/>
              <a:ext cx="384174" cy="384174"/>
            </a:xfrm>
            <a:prstGeom prst="arc">
              <a:avLst>
                <a:gd name="adj1" fmla="val 16200000"/>
                <a:gd name="adj2" fmla="val 28989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7" name="Группа 76"/>
          <p:cNvGrpSpPr>
            <a:grpSpLocks noChangeAspect="1"/>
          </p:cNvGrpSpPr>
          <p:nvPr/>
        </p:nvGrpSpPr>
        <p:grpSpPr>
          <a:xfrm>
            <a:off x="5174658" y="5182937"/>
            <a:ext cx="216000" cy="216000"/>
            <a:chOff x="11214058" y="3288900"/>
            <a:chExt cx="384175" cy="384175"/>
          </a:xfrm>
        </p:grpSpPr>
        <p:sp>
          <p:nvSpPr>
            <p:cNvPr id="78" name="Oval 207">
              <a:extLst>
                <a:ext uri="{FF2B5EF4-FFF2-40B4-BE49-F238E27FC236}">
                  <a16:creationId xmlns:a16="http://schemas.microsoft.com/office/drawing/2014/main" id="{7D52072E-9AD1-44AD-90D1-B0296C356535}"/>
                </a:ext>
              </a:extLst>
            </p:cNvPr>
            <p:cNvSpPr/>
            <p:nvPr>
              <p:custDataLst>
                <p:tags r:id="rId104"/>
              </p:custDataLst>
            </p:nvPr>
          </p:nvSpPr>
          <p:spPr bwMode="auto">
            <a:xfrm>
              <a:off x="11214058" y="3288900"/>
              <a:ext cx="384175" cy="38417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Arc 208">
              <a:extLst>
                <a:ext uri="{FF2B5EF4-FFF2-40B4-BE49-F238E27FC236}">
                  <a16:creationId xmlns:a16="http://schemas.microsoft.com/office/drawing/2014/main" id="{FB0E0B04-B418-422E-A1D2-392F1190A073}"/>
                </a:ext>
              </a:extLst>
            </p:cNvPr>
            <p:cNvSpPr/>
            <p:nvPr>
              <p:custDataLst>
                <p:tags r:id="rId105"/>
              </p:custDataLst>
            </p:nvPr>
          </p:nvSpPr>
          <p:spPr bwMode="gray">
            <a:xfrm>
              <a:off x="11214058" y="3288900"/>
              <a:ext cx="384174" cy="384174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80" name="Oval 206">
            <a:extLst>
              <a:ext uri="{FF2B5EF4-FFF2-40B4-BE49-F238E27FC236}">
                <a16:creationId xmlns:a16="http://schemas.microsoft.com/office/drawing/2014/main" id="{AE5B77A7-96D1-4239-BE8B-5A6C941A6992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 bwMode="auto">
          <a:xfrm>
            <a:off x="5194027" y="5738240"/>
            <a:ext cx="216000" cy="2160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 bwMode="auto">
          <a:xfrm>
            <a:off x="5148112" y="3741340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Oval 206">
            <a:extLst>
              <a:ext uri="{FF2B5EF4-FFF2-40B4-BE49-F238E27FC236}">
                <a16:creationId xmlns:a16="http://schemas.microsoft.com/office/drawing/2014/main" id="{AE5B77A7-96D1-4239-BE8B-5A6C941A6992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 bwMode="auto">
          <a:xfrm>
            <a:off x="6106645" y="3415097"/>
            <a:ext cx="216000" cy="2160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3" name="Oval 206">
            <a:extLst>
              <a:ext uri="{FF2B5EF4-FFF2-40B4-BE49-F238E27FC236}">
                <a16:creationId xmlns:a16="http://schemas.microsoft.com/office/drawing/2014/main" id="{AE5B77A7-96D1-4239-BE8B-5A6C941A6992}"/>
              </a:ext>
            </a:extLst>
          </p:cNvPr>
          <p:cNvSpPr>
            <a:spLocks noChangeAspect="1"/>
          </p:cNvSpPr>
          <p:nvPr>
            <p:custDataLst>
              <p:tags r:id="rId12"/>
            </p:custDataLst>
          </p:nvPr>
        </p:nvSpPr>
        <p:spPr bwMode="auto">
          <a:xfrm>
            <a:off x="6108955" y="3748047"/>
            <a:ext cx="216000" cy="2160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4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13"/>
            </p:custDataLst>
          </p:nvPr>
        </p:nvSpPr>
        <p:spPr bwMode="auto">
          <a:xfrm>
            <a:off x="6115692" y="4029267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5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14"/>
            </p:custDataLst>
          </p:nvPr>
        </p:nvSpPr>
        <p:spPr bwMode="auto">
          <a:xfrm>
            <a:off x="6109691" y="4314379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6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15"/>
            </p:custDataLst>
          </p:nvPr>
        </p:nvSpPr>
        <p:spPr bwMode="auto">
          <a:xfrm>
            <a:off x="6108955" y="4615759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7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16"/>
            </p:custDataLst>
          </p:nvPr>
        </p:nvSpPr>
        <p:spPr bwMode="auto">
          <a:xfrm>
            <a:off x="6108485" y="4895851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8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 bwMode="auto">
          <a:xfrm>
            <a:off x="6115692" y="5182091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9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18"/>
            </p:custDataLst>
          </p:nvPr>
        </p:nvSpPr>
        <p:spPr bwMode="auto">
          <a:xfrm>
            <a:off x="6108955" y="5736621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0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19"/>
            </p:custDataLst>
          </p:nvPr>
        </p:nvSpPr>
        <p:spPr bwMode="auto">
          <a:xfrm>
            <a:off x="6799623" y="3740166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1" name="Oval 206">
            <a:extLst>
              <a:ext uri="{FF2B5EF4-FFF2-40B4-BE49-F238E27FC236}">
                <a16:creationId xmlns:a16="http://schemas.microsoft.com/office/drawing/2014/main" id="{AE5B77A7-96D1-4239-BE8B-5A6C941A6992}"/>
              </a:ext>
            </a:extLst>
          </p:cNvPr>
          <p:cNvSpPr>
            <a:spLocks noChangeAspect="1"/>
          </p:cNvSpPr>
          <p:nvPr>
            <p:custDataLst>
              <p:tags r:id="rId20"/>
            </p:custDataLst>
          </p:nvPr>
        </p:nvSpPr>
        <p:spPr bwMode="auto">
          <a:xfrm>
            <a:off x="6784526" y="3067269"/>
            <a:ext cx="216000" cy="2160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92" name="Группа 91"/>
          <p:cNvGrpSpPr>
            <a:grpSpLocks noChangeAspect="1"/>
          </p:cNvGrpSpPr>
          <p:nvPr/>
        </p:nvGrpSpPr>
        <p:grpSpPr>
          <a:xfrm>
            <a:off x="6806948" y="3426549"/>
            <a:ext cx="216000" cy="216000"/>
            <a:chOff x="11214058" y="3928574"/>
            <a:chExt cx="384175" cy="384175"/>
          </a:xfrm>
        </p:grpSpPr>
        <p:sp>
          <p:nvSpPr>
            <p:cNvPr id="93" name="Oval 253">
              <a:extLst>
                <a:ext uri="{FF2B5EF4-FFF2-40B4-BE49-F238E27FC236}">
                  <a16:creationId xmlns:a16="http://schemas.microsoft.com/office/drawing/2014/main" id="{B1BA5709-B53C-402A-B964-B869B8F2D647}"/>
                </a:ext>
              </a:extLst>
            </p:cNvPr>
            <p:cNvSpPr/>
            <p:nvPr>
              <p:custDataLst>
                <p:tags r:id="rId102"/>
              </p:custDataLst>
            </p:nvPr>
          </p:nvSpPr>
          <p:spPr bwMode="auto">
            <a:xfrm>
              <a:off x="11214058" y="3928574"/>
              <a:ext cx="384175" cy="38417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Arc 254">
              <a:extLst>
                <a:ext uri="{FF2B5EF4-FFF2-40B4-BE49-F238E27FC236}">
                  <a16:creationId xmlns:a16="http://schemas.microsoft.com/office/drawing/2014/main" id="{0EF22205-A6B5-444B-A5B0-5EB43306F615}"/>
                </a:ext>
              </a:extLst>
            </p:cNvPr>
            <p:cNvSpPr/>
            <p:nvPr>
              <p:custDataLst>
                <p:tags r:id="rId103"/>
              </p:custDataLst>
            </p:nvPr>
          </p:nvSpPr>
          <p:spPr bwMode="gray">
            <a:xfrm>
              <a:off x="11214058" y="3928574"/>
              <a:ext cx="384174" cy="384174"/>
            </a:xfrm>
            <a:prstGeom prst="arc">
              <a:avLst>
                <a:gd name="adj1" fmla="val 16200000"/>
                <a:gd name="adj2" fmla="val 28989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5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21"/>
            </p:custDataLst>
          </p:nvPr>
        </p:nvSpPr>
        <p:spPr bwMode="auto">
          <a:xfrm>
            <a:off x="6796581" y="4016723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6" name="Oval 206">
            <a:extLst>
              <a:ext uri="{FF2B5EF4-FFF2-40B4-BE49-F238E27FC236}">
                <a16:creationId xmlns:a16="http://schemas.microsoft.com/office/drawing/2014/main" id="{AE5B77A7-96D1-4239-BE8B-5A6C941A6992}"/>
              </a:ext>
            </a:extLst>
          </p:cNvPr>
          <p:cNvSpPr>
            <a:spLocks noChangeAspect="1"/>
          </p:cNvSpPr>
          <p:nvPr>
            <p:custDataLst>
              <p:tags r:id="rId22"/>
            </p:custDataLst>
          </p:nvPr>
        </p:nvSpPr>
        <p:spPr bwMode="auto">
          <a:xfrm>
            <a:off x="6806947" y="4307434"/>
            <a:ext cx="216000" cy="2160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7" name="Oval 206">
            <a:extLst>
              <a:ext uri="{FF2B5EF4-FFF2-40B4-BE49-F238E27FC236}">
                <a16:creationId xmlns:a16="http://schemas.microsoft.com/office/drawing/2014/main" id="{AE5B77A7-96D1-4239-BE8B-5A6C941A6992}"/>
              </a:ext>
            </a:extLst>
          </p:cNvPr>
          <p:cNvSpPr>
            <a:spLocks noChangeAspect="1"/>
          </p:cNvSpPr>
          <p:nvPr>
            <p:custDataLst>
              <p:tags r:id="rId23"/>
            </p:custDataLst>
          </p:nvPr>
        </p:nvSpPr>
        <p:spPr bwMode="auto">
          <a:xfrm>
            <a:off x="6815198" y="4595845"/>
            <a:ext cx="216000" cy="2160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98" name="Группа 97"/>
          <p:cNvGrpSpPr>
            <a:grpSpLocks noChangeAspect="1"/>
          </p:cNvGrpSpPr>
          <p:nvPr/>
        </p:nvGrpSpPr>
        <p:grpSpPr>
          <a:xfrm>
            <a:off x="6815198" y="4889748"/>
            <a:ext cx="216000" cy="216000"/>
            <a:chOff x="11214058" y="3928574"/>
            <a:chExt cx="384175" cy="384175"/>
          </a:xfrm>
        </p:grpSpPr>
        <p:sp>
          <p:nvSpPr>
            <p:cNvPr id="99" name="Oval 253">
              <a:extLst>
                <a:ext uri="{FF2B5EF4-FFF2-40B4-BE49-F238E27FC236}">
                  <a16:creationId xmlns:a16="http://schemas.microsoft.com/office/drawing/2014/main" id="{B1BA5709-B53C-402A-B964-B869B8F2D647}"/>
                </a:ext>
              </a:extLst>
            </p:cNvPr>
            <p:cNvSpPr/>
            <p:nvPr>
              <p:custDataLst>
                <p:tags r:id="rId100"/>
              </p:custDataLst>
            </p:nvPr>
          </p:nvSpPr>
          <p:spPr bwMode="auto">
            <a:xfrm>
              <a:off x="11214058" y="3928574"/>
              <a:ext cx="384175" cy="38417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Arc 254">
              <a:extLst>
                <a:ext uri="{FF2B5EF4-FFF2-40B4-BE49-F238E27FC236}">
                  <a16:creationId xmlns:a16="http://schemas.microsoft.com/office/drawing/2014/main" id="{0EF22205-A6B5-444B-A5B0-5EB43306F615}"/>
                </a:ext>
              </a:extLst>
            </p:cNvPr>
            <p:cNvSpPr/>
            <p:nvPr>
              <p:custDataLst>
                <p:tags r:id="rId101"/>
              </p:custDataLst>
            </p:nvPr>
          </p:nvSpPr>
          <p:spPr bwMode="gray">
            <a:xfrm>
              <a:off x="11214058" y="3928574"/>
              <a:ext cx="384174" cy="384174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01" name="Группа 100"/>
          <p:cNvGrpSpPr>
            <a:grpSpLocks noChangeAspect="1"/>
          </p:cNvGrpSpPr>
          <p:nvPr/>
        </p:nvGrpSpPr>
        <p:grpSpPr>
          <a:xfrm>
            <a:off x="6815198" y="5174854"/>
            <a:ext cx="216000" cy="216000"/>
            <a:chOff x="11214058" y="3928574"/>
            <a:chExt cx="384175" cy="384175"/>
          </a:xfrm>
        </p:grpSpPr>
        <p:sp>
          <p:nvSpPr>
            <p:cNvPr id="102" name="Oval 253">
              <a:extLst>
                <a:ext uri="{FF2B5EF4-FFF2-40B4-BE49-F238E27FC236}">
                  <a16:creationId xmlns:a16="http://schemas.microsoft.com/office/drawing/2014/main" id="{B1BA5709-B53C-402A-B964-B869B8F2D647}"/>
                </a:ext>
              </a:extLst>
            </p:cNvPr>
            <p:cNvSpPr/>
            <p:nvPr>
              <p:custDataLst>
                <p:tags r:id="rId98"/>
              </p:custDataLst>
            </p:nvPr>
          </p:nvSpPr>
          <p:spPr bwMode="auto">
            <a:xfrm>
              <a:off x="11214058" y="3928574"/>
              <a:ext cx="384175" cy="38417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" name="Arc 254">
              <a:extLst>
                <a:ext uri="{FF2B5EF4-FFF2-40B4-BE49-F238E27FC236}">
                  <a16:creationId xmlns:a16="http://schemas.microsoft.com/office/drawing/2014/main" id="{0EF22205-A6B5-444B-A5B0-5EB43306F615}"/>
                </a:ext>
              </a:extLst>
            </p:cNvPr>
            <p:cNvSpPr/>
            <p:nvPr>
              <p:custDataLst>
                <p:tags r:id="rId99"/>
              </p:custDataLst>
            </p:nvPr>
          </p:nvSpPr>
          <p:spPr bwMode="gray">
            <a:xfrm>
              <a:off x="11214058" y="3928574"/>
              <a:ext cx="384174" cy="384174"/>
            </a:xfrm>
            <a:prstGeom prst="arc">
              <a:avLst>
                <a:gd name="adj1" fmla="val 16200000"/>
                <a:gd name="adj2" fmla="val 28989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4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24"/>
            </p:custDataLst>
          </p:nvPr>
        </p:nvSpPr>
        <p:spPr bwMode="auto">
          <a:xfrm>
            <a:off x="6836024" y="5732136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05" name="Группа 104"/>
          <p:cNvGrpSpPr>
            <a:grpSpLocks noChangeAspect="1"/>
          </p:cNvGrpSpPr>
          <p:nvPr/>
        </p:nvGrpSpPr>
        <p:grpSpPr>
          <a:xfrm>
            <a:off x="7723502" y="3081847"/>
            <a:ext cx="216000" cy="216000"/>
            <a:chOff x="11214058" y="3288900"/>
            <a:chExt cx="384175" cy="384175"/>
          </a:xfrm>
        </p:grpSpPr>
        <p:sp>
          <p:nvSpPr>
            <p:cNvPr id="106" name="Oval 207">
              <a:extLst>
                <a:ext uri="{FF2B5EF4-FFF2-40B4-BE49-F238E27FC236}">
                  <a16:creationId xmlns:a16="http://schemas.microsoft.com/office/drawing/2014/main" id="{7D52072E-9AD1-44AD-90D1-B0296C356535}"/>
                </a:ext>
              </a:extLst>
            </p:cNvPr>
            <p:cNvSpPr/>
            <p:nvPr>
              <p:custDataLst>
                <p:tags r:id="rId96"/>
              </p:custDataLst>
            </p:nvPr>
          </p:nvSpPr>
          <p:spPr bwMode="auto">
            <a:xfrm>
              <a:off x="11214058" y="3288900"/>
              <a:ext cx="384175" cy="38417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" name="Arc 208">
              <a:extLst>
                <a:ext uri="{FF2B5EF4-FFF2-40B4-BE49-F238E27FC236}">
                  <a16:creationId xmlns:a16="http://schemas.microsoft.com/office/drawing/2014/main" id="{FB0E0B04-B418-422E-A1D2-392F1190A073}"/>
                </a:ext>
              </a:extLst>
            </p:cNvPr>
            <p:cNvSpPr/>
            <p:nvPr>
              <p:custDataLst>
                <p:tags r:id="rId97"/>
              </p:custDataLst>
            </p:nvPr>
          </p:nvSpPr>
          <p:spPr bwMode="gray">
            <a:xfrm>
              <a:off x="11214058" y="3288900"/>
              <a:ext cx="384174" cy="384174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8" name="Oval 206">
            <a:extLst>
              <a:ext uri="{FF2B5EF4-FFF2-40B4-BE49-F238E27FC236}">
                <a16:creationId xmlns:a16="http://schemas.microsoft.com/office/drawing/2014/main" id="{AE5B77A7-96D1-4239-BE8B-5A6C941A6992}"/>
              </a:ext>
            </a:extLst>
          </p:cNvPr>
          <p:cNvSpPr>
            <a:spLocks noChangeAspect="1"/>
          </p:cNvSpPr>
          <p:nvPr>
            <p:custDataLst>
              <p:tags r:id="rId25"/>
            </p:custDataLst>
          </p:nvPr>
        </p:nvSpPr>
        <p:spPr bwMode="auto">
          <a:xfrm>
            <a:off x="7730324" y="3426549"/>
            <a:ext cx="216000" cy="2160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09" name="Группа 108"/>
          <p:cNvGrpSpPr>
            <a:grpSpLocks noChangeAspect="1"/>
          </p:cNvGrpSpPr>
          <p:nvPr/>
        </p:nvGrpSpPr>
        <p:grpSpPr>
          <a:xfrm>
            <a:off x="7739368" y="4016366"/>
            <a:ext cx="216000" cy="216000"/>
            <a:chOff x="11214058" y="3928574"/>
            <a:chExt cx="384175" cy="384175"/>
          </a:xfrm>
        </p:grpSpPr>
        <p:sp>
          <p:nvSpPr>
            <p:cNvPr id="110" name="Oval 253">
              <a:extLst>
                <a:ext uri="{FF2B5EF4-FFF2-40B4-BE49-F238E27FC236}">
                  <a16:creationId xmlns:a16="http://schemas.microsoft.com/office/drawing/2014/main" id="{B1BA5709-B53C-402A-B964-B869B8F2D647}"/>
                </a:ext>
              </a:extLst>
            </p:cNvPr>
            <p:cNvSpPr/>
            <p:nvPr>
              <p:custDataLst>
                <p:tags r:id="rId94"/>
              </p:custDataLst>
            </p:nvPr>
          </p:nvSpPr>
          <p:spPr bwMode="auto">
            <a:xfrm>
              <a:off x="11214058" y="3928574"/>
              <a:ext cx="384175" cy="38417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" name="Arc 254">
              <a:extLst>
                <a:ext uri="{FF2B5EF4-FFF2-40B4-BE49-F238E27FC236}">
                  <a16:creationId xmlns:a16="http://schemas.microsoft.com/office/drawing/2014/main" id="{0EF22205-A6B5-444B-A5B0-5EB43306F615}"/>
                </a:ext>
              </a:extLst>
            </p:cNvPr>
            <p:cNvSpPr/>
            <p:nvPr>
              <p:custDataLst>
                <p:tags r:id="rId95"/>
              </p:custDataLst>
            </p:nvPr>
          </p:nvSpPr>
          <p:spPr bwMode="gray">
            <a:xfrm>
              <a:off x="11214058" y="3928574"/>
              <a:ext cx="384174" cy="384174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12" name="Группа 111"/>
          <p:cNvGrpSpPr>
            <a:grpSpLocks noChangeAspect="1"/>
          </p:cNvGrpSpPr>
          <p:nvPr/>
        </p:nvGrpSpPr>
        <p:grpSpPr>
          <a:xfrm>
            <a:off x="7749733" y="4307434"/>
            <a:ext cx="216000" cy="216000"/>
            <a:chOff x="11214058" y="3928574"/>
            <a:chExt cx="384175" cy="384175"/>
          </a:xfrm>
        </p:grpSpPr>
        <p:sp>
          <p:nvSpPr>
            <p:cNvPr id="113" name="Oval 253">
              <a:extLst>
                <a:ext uri="{FF2B5EF4-FFF2-40B4-BE49-F238E27FC236}">
                  <a16:creationId xmlns:a16="http://schemas.microsoft.com/office/drawing/2014/main" id="{B1BA5709-B53C-402A-B964-B869B8F2D647}"/>
                </a:ext>
              </a:extLst>
            </p:cNvPr>
            <p:cNvSpPr/>
            <p:nvPr>
              <p:custDataLst>
                <p:tags r:id="rId92"/>
              </p:custDataLst>
            </p:nvPr>
          </p:nvSpPr>
          <p:spPr bwMode="auto">
            <a:xfrm>
              <a:off x="11214058" y="3928574"/>
              <a:ext cx="384175" cy="38417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" name="Arc 254">
              <a:extLst>
                <a:ext uri="{FF2B5EF4-FFF2-40B4-BE49-F238E27FC236}">
                  <a16:creationId xmlns:a16="http://schemas.microsoft.com/office/drawing/2014/main" id="{0EF22205-A6B5-444B-A5B0-5EB43306F615}"/>
                </a:ext>
              </a:extLst>
            </p:cNvPr>
            <p:cNvSpPr/>
            <p:nvPr>
              <p:custDataLst>
                <p:tags r:id="rId93"/>
              </p:custDataLst>
            </p:nvPr>
          </p:nvSpPr>
          <p:spPr bwMode="gray">
            <a:xfrm>
              <a:off x="11214058" y="3928574"/>
              <a:ext cx="384174" cy="384174"/>
            </a:xfrm>
            <a:prstGeom prst="arc">
              <a:avLst>
                <a:gd name="adj1" fmla="val 16200000"/>
                <a:gd name="adj2" fmla="val 28989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15" name="Группа 114"/>
          <p:cNvGrpSpPr>
            <a:grpSpLocks noChangeAspect="1"/>
          </p:cNvGrpSpPr>
          <p:nvPr/>
        </p:nvGrpSpPr>
        <p:grpSpPr>
          <a:xfrm>
            <a:off x="7763689" y="4595845"/>
            <a:ext cx="216000" cy="216000"/>
            <a:chOff x="11214058" y="3928574"/>
            <a:chExt cx="384175" cy="384175"/>
          </a:xfrm>
        </p:grpSpPr>
        <p:sp>
          <p:nvSpPr>
            <p:cNvPr id="116" name="Oval 253">
              <a:extLst>
                <a:ext uri="{FF2B5EF4-FFF2-40B4-BE49-F238E27FC236}">
                  <a16:creationId xmlns:a16="http://schemas.microsoft.com/office/drawing/2014/main" id="{B1BA5709-B53C-402A-B964-B869B8F2D647}"/>
                </a:ext>
              </a:extLst>
            </p:cNvPr>
            <p:cNvSpPr/>
            <p:nvPr>
              <p:custDataLst>
                <p:tags r:id="rId90"/>
              </p:custDataLst>
            </p:nvPr>
          </p:nvSpPr>
          <p:spPr bwMode="auto">
            <a:xfrm>
              <a:off x="11214058" y="3928574"/>
              <a:ext cx="384175" cy="38417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" name="Arc 254">
              <a:extLst>
                <a:ext uri="{FF2B5EF4-FFF2-40B4-BE49-F238E27FC236}">
                  <a16:creationId xmlns:a16="http://schemas.microsoft.com/office/drawing/2014/main" id="{0EF22205-A6B5-444B-A5B0-5EB43306F615}"/>
                </a:ext>
              </a:extLst>
            </p:cNvPr>
            <p:cNvSpPr/>
            <p:nvPr>
              <p:custDataLst>
                <p:tags r:id="rId91"/>
              </p:custDataLst>
            </p:nvPr>
          </p:nvSpPr>
          <p:spPr bwMode="gray">
            <a:xfrm>
              <a:off x="11214058" y="3928574"/>
              <a:ext cx="384174" cy="384174"/>
            </a:xfrm>
            <a:prstGeom prst="arc">
              <a:avLst>
                <a:gd name="adj1" fmla="val 16200000"/>
                <a:gd name="adj2" fmla="val 28989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18" name="Группа 117"/>
          <p:cNvGrpSpPr>
            <a:grpSpLocks noChangeAspect="1"/>
          </p:cNvGrpSpPr>
          <p:nvPr/>
        </p:nvGrpSpPr>
        <p:grpSpPr>
          <a:xfrm>
            <a:off x="7757593" y="4889796"/>
            <a:ext cx="216000" cy="216000"/>
            <a:chOff x="11214058" y="3928574"/>
            <a:chExt cx="384175" cy="384175"/>
          </a:xfrm>
        </p:grpSpPr>
        <p:sp>
          <p:nvSpPr>
            <p:cNvPr id="119" name="Oval 253">
              <a:extLst>
                <a:ext uri="{FF2B5EF4-FFF2-40B4-BE49-F238E27FC236}">
                  <a16:creationId xmlns:a16="http://schemas.microsoft.com/office/drawing/2014/main" id="{B1BA5709-B53C-402A-B964-B869B8F2D647}"/>
                </a:ext>
              </a:extLst>
            </p:cNvPr>
            <p:cNvSpPr/>
            <p:nvPr>
              <p:custDataLst>
                <p:tags r:id="rId88"/>
              </p:custDataLst>
            </p:nvPr>
          </p:nvSpPr>
          <p:spPr bwMode="auto">
            <a:xfrm>
              <a:off x="11214058" y="3928574"/>
              <a:ext cx="384175" cy="38417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0" name="Arc 254">
              <a:extLst>
                <a:ext uri="{FF2B5EF4-FFF2-40B4-BE49-F238E27FC236}">
                  <a16:creationId xmlns:a16="http://schemas.microsoft.com/office/drawing/2014/main" id="{0EF22205-A6B5-444B-A5B0-5EB43306F615}"/>
                </a:ext>
              </a:extLst>
            </p:cNvPr>
            <p:cNvSpPr/>
            <p:nvPr>
              <p:custDataLst>
                <p:tags r:id="rId89"/>
              </p:custDataLst>
            </p:nvPr>
          </p:nvSpPr>
          <p:spPr bwMode="gray">
            <a:xfrm>
              <a:off x="11214058" y="3928574"/>
              <a:ext cx="384174" cy="384174"/>
            </a:xfrm>
            <a:prstGeom prst="arc">
              <a:avLst>
                <a:gd name="adj1" fmla="val 16200000"/>
                <a:gd name="adj2" fmla="val 28989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21" name="Группа 120"/>
          <p:cNvGrpSpPr>
            <a:grpSpLocks noChangeAspect="1"/>
          </p:cNvGrpSpPr>
          <p:nvPr/>
        </p:nvGrpSpPr>
        <p:grpSpPr>
          <a:xfrm>
            <a:off x="7765145" y="5176833"/>
            <a:ext cx="216000" cy="216000"/>
            <a:chOff x="11214058" y="3288900"/>
            <a:chExt cx="384175" cy="384175"/>
          </a:xfrm>
        </p:grpSpPr>
        <p:sp>
          <p:nvSpPr>
            <p:cNvPr id="122" name="Oval 207">
              <a:extLst>
                <a:ext uri="{FF2B5EF4-FFF2-40B4-BE49-F238E27FC236}">
                  <a16:creationId xmlns:a16="http://schemas.microsoft.com/office/drawing/2014/main" id="{7D52072E-9AD1-44AD-90D1-B0296C356535}"/>
                </a:ext>
              </a:extLst>
            </p:cNvPr>
            <p:cNvSpPr/>
            <p:nvPr>
              <p:custDataLst>
                <p:tags r:id="rId86"/>
              </p:custDataLst>
            </p:nvPr>
          </p:nvSpPr>
          <p:spPr bwMode="auto">
            <a:xfrm>
              <a:off x="11214058" y="3288900"/>
              <a:ext cx="384175" cy="38417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3" name="Arc 208">
              <a:extLst>
                <a:ext uri="{FF2B5EF4-FFF2-40B4-BE49-F238E27FC236}">
                  <a16:creationId xmlns:a16="http://schemas.microsoft.com/office/drawing/2014/main" id="{FB0E0B04-B418-422E-A1D2-392F1190A073}"/>
                </a:ext>
              </a:extLst>
            </p:cNvPr>
            <p:cNvSpPr/>
            <p:nvPr>
              <p:custDataLst>
                <p:tags r:id="rId87"/>
              </p:custDataLst>
            </p:nvPr>
          </p:nvSpPr>
          <p:spPr bwMode="gray">
            <a:xfrm>
              <a:off x="11214058" y="3288900"/>
              <a:ext cx="384174" cy="384174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24" name="Oval 206">
            <a:extLst>
              <a:ext uri="{FF2B5EF4-FFF2-40B4-BE49-F238E27FC236}">
                <a16:creationId xmlns:a16="http://schemas.microsoft.com/office/drawing/2014/main" id="{AE5B77A7-96D1-4239-BE8B-5A6C941A6992}"/>
              </a:ext>
            </a:extLst>
          </p:cNvPr>
          <p:cNvSpPr>
            <a:spLocks noChangeAspect="1"/>
          </p:cNvSpPr>
          <p:nvPr>
            <p:custDataLst>
              <p:tags r:id="rId26"/>
            </p:custDataLst>
          </p:nvPr>
        </p:nvSpPr>
        <p:spPr bwMode="auto">
          <a:xfrm>
            <a:off x="7780236" y="5742377"/>
            <a:ext cx="216000" cy="2160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5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27"/>
            </p:custDataLst>
          </p:nvPr>
        </p:nvSpPr>
        <p:spPr bwMode="auto">
          <a:xfrm>
            <a:off x="7738599" y="3735236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8" name="Oval 206">
            <a:extLst>
              <a:ext uri="{FF2B5EF4-FFF2-40B4-BE49-F238E27FC236}">
                <a16:creationId xmlns:a16="http://schemas.microsoft.com/office/drawing/2014/main" id="{AE5B77A7-96D1-4239-BE8B-5A6C941A6992}"/>
              </a:ext>
            </a:extLst>
          </p:cNvPr>
          <p:cNvSpPr>
            <a:spLocks noChangeAspect="1"/>
          </p:cNvSpPr>
          <p:nvPr>
            <p:custDataLst>
              <p:tags r:id="rId28"/>
            </p:custDataLst>
          </p:nvPr>
        </p:nvSpPr>
        <p:spPr bwMode="auto">
          <a:xfrm>
            <a:off x="8608190" y="3386146"/>
            <a:ext cx="216000" cy="2160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0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29"/>
            </p:custDataLst>
          </p:nvPr>
        </p:nvSpPr>
        <p:spPr bwMode="auto">
          <a:xfrm>
            <a:off x="8597806" y="3994745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1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30"/>
            </p:custDataLst>
          </p:nvPr>
        </p:nvSpPr>
        <p:spPr bwMode="auto">
          <a:xfrm>
            <a:off x="8603677" y="4282047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2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31"/>
            </p:custDataLst>
          </p:nvPr>
        </p:nvSpPr>
        <p:spPr bwMode="auto">
          <a:xfrm>
            <a:off x="8611928" y="4590008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3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32"/>
            </p:custDataLst>
          </p:nvPr>
        </p:nvSpPr>
        <p:spPr bwMode="auto">
          <a:xfrm>
            <a:off x="8611928" y="4868127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4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33"/>
            </p:custDataLst>
          </p:nvPr>
        </p:nvSpPr>
        <p:spPr bwMode="auto">
          <a:xfrm>
            <a:off x="8615781" y="5153226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5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34"/>
            </p:custDataLst>
          </p:nvPr>
        </p:nvSpPr>
        <p:spPr bwMode="auto">
          <a:xfrm>
            <a:off x="8611928" y="5718971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56" name="Группа 155"/>
          <p:cNvGrpSpPr>
            <a:grpSpLocks noChangeAspect="1"/>
          </p:cNvGrpSpPr>
          <p:nvPr/>
        </p:nvGrpSpPr>
        <p:grpSpPr>
          <a:xfrm>
            <a:off x="8614805" y="3046726"/>
            <a:ext cx="216000" cy="216000"/>
            <a:chOff x="11214058" y="3928574"/>
            <a:chExt cx="384175" cy="384175"/>
          </a:xfrm>
        </p:grpSpPr>
        <p:sp>
          <p:nvSpPr>
            <p:cNvPr id="157" name="Oval 253">
              <a:extLst>
                <a:ext uri="{FF2B5EF4-FFF2-40B4-BE49-F238E27FC236}">
                  <a16:creationId xmlns:a16="http://schemas.microsoft.com/office/drawing/2014/main" id="{B1BA5709-B53C-402A-B964-B869B8F2D647}"/>
                </a:ext>
              </a:extLst>
            </p:cNvPr>
            <p:cNvSpPr/>
            <p:nvPr>
              <p:custDataLst>
                <p:tags r:id="rId84"/>
              </p:custDataLst>
            </p:nvPr>
          </p:nvSpPr>
          <p:spPr bwMode="auto">
            <a:xfrm>
              <a:off x="11214058" y="3928574"/>
              <a:ext cx="384175" cy="38417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8" name="Arc 254">
              <a:extLst>
                <a:ext uri="{FF2B5EF4-FFF2-40B4-BE49-F238E27FC236}">
                  <a16:creationId xmlns:a16="http://schemas.microsoft.com/office/drawing/2014/main" id="{0EF22205-A6B5-444B-A5B0-5EB43306F615}"/>
                </a:ext>
              </a:extLst>
            </p:cNvPr>
            <p:cNvSpPr/>
            <p:nvPr>
              <p:custDataLst>
                <p:tags r:id="rId85"/>
              </p:custDataLst>
            </p:nvPr>
          </p:nvSpPr>
          <p:spPr bwMode="gray">
            <a:xfrm>
              <a:off x="11214058" y="3928574"/>
              <a:ext cx="384174" cy="384174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59" name="Группа 158"/>
          <p:cNvGrpSpPr>
            <a:grpSpLocks noChangeAspect="1"/>
          </p:cNvGrpSpPr>
          <p:nvPr/>
        </p:nvGrpSpPr>
        <p:grpSpPr>
          <a:xfrm>
            <a:off x="8598581" y="3725555"/>
            <a:ext cx="216000" cy="216000"/>
            <a:chOff x="11214058" y="3928574"/>
            <a:chExt cx="384175" cy="384175"/>
          </a:xfrm>
        </p:grpSpPr>
        <p:sp>
          <p:nvSpPr>
            <p:cNvPr id="160" name="Oval 253">
              <a:extLst>
                <a:ext uri="{FF2B5EF4-FFF2-40B4-BE49-F238E27FC236}">
                  <a16:creationId xmlns:a16="http://schemas.microsoft.com/office/drawing/2014/main" id="{B1BA5709-B53C-402A-B964-B869B8F2D647}"/>
                </a:ext>
              </a:extLst>
            </p:cNvPr>
            <p:cNvSpPr/>
            <p:nvPr>
              <p:custDataLst>
                <p:tags r:id="rId82"/>
              </p:custDataLst>
            </p:nvPr>
          </p:nvSpPr>
          <p:spPr bwMode="auto">
            <a:xfrm>
              <a:off x="11214058" y="3928574"/>
              <a:ext cx="384175" cy="38417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1" name="Arc 254">
              <a:extLst>
                <a:ext uri="{FF2B5EF4-FFF2-40B4-BE49-F238E27FC236}">
                  <a16:creationId xmlns:a16="http://schemas.microsoft.com/office/drawing/2014/main" id="{0EF22205-A6B5-444B-A5B0-5EB43306F615}"/>
                </a:ext>
              </a:extLst>
            </p:cNvPr>
            <p:cNvSpPr/>
            <p:nvPr>
              <p:custDataLst>
                <p:tags r:id="rId83"/>
              </p:custDataLst>
            </p:nvPr>
          </p:nvSpPr>
          <p:spPr bwMode="gray">
            <a:xfrm>
              <a:off x="11214058" y="3928574"/>
              <a:ext cx="384174" cy="384174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62" name="Группа 161"/>
          <p:cNvGrpSpPr>
            <a:grpSpLocks noChangeAspect="1"/>
          </p:cNvGrpSpPr>
          <p:nvPr/>
        </p:nvGrpSpPr>
        <p:grpSpPr>
          <a:xfrm>
            <a:off x="9473951" y="3060227"/>
            <a:ext cx="216000" cy="216000"/>
            <a:chOff x="11214058" y="3288900"/>
            <a:chExt cx="384175" cy="384175"/>
          </a:xfrm>
        </p:grpSpPr>
        <p:sp>
          <p:nvSpPr>
            <p:cNvPr id="163" name="Oval 207">
              <a:extLst>
                <a:ext uri="{FF2B5EF4-FFF2-40B4-BE49-F238E27FC236}">
                  <a16:creationId xmlns:a16="http://schemas.microsoft.com/office/drawing/2014/main" id="{7D52072E-9AD1-44AD-90D1-B0296C356535}"/>
                </a:ext>
              </a:extLst>
            </p:cNvPr>
            <p:cNvSpPr/>
            <p:nvPr>
              <p:custDataLst>
                <p:tags r:id="rId80"/>
              </p:custDataLst>
            </p:nvPr>
          </p:nvSpPr>
          <p:spPr bwMode="auto">
            <a:xfrm>
              <a:off x="11214058" y="3288900"/>
              <a:ext cx="384175" cy="38417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4" name="Arc 208">
              <a:extLst>
                <a:ext uri="{FF2B5EF4-FFF2-40B4-BE49-F238E27FC236}">
                  <a16:creationId xmlns:a16="http://schemas.microsoft.com/office/drawing/2014/main" id="{FB0E0B04-B418-422E-A1D2-392F1190A073}"/>
                </a:ext>
              </a:extLst>
            </p:cNvPr>
            <p:cNvSpPr/>
            <p:nvPr>
              <p:custDataLst>
                <p:tags r:id="rId81"/>
              </p:custDataLst>
            </p:nvPr>
          </p:nvSpPr>
          <p:spPr bwMode="gray">
            <a:xfrm>
              <a:off x="11214058" y="3288900"/>
              <a:ext cx="384174" cy="384174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65" name="Oval 206">
            <a:extLst>
              <a:ext uri="{FF2B5EF4-FFF2-40B4-BE49-F238E27FC236}">
                <a16:creationId xmlns:a16="http://schemas.microsoft.com/office/drawing/2014/main" id="{AE5B77A7-96D1-4239-BE8B-5A6C941A6992}"/>
              </a:ext>
            </a:extLst>
          </p:cNvPr>
          <p:cNvSpPr>
            <a:spLocks noChangeAspect="1"/>
          </p:cNvSpPr>
          <p:nvPr>
            <p:custDataLst>
              <p:tags r:id="rId35"/>
            </p:custDataLst>
          </p:nvPr>
        </p:nvSpPr>
        <p:spPr bwMode="auto">
          <a:xfrm>
            <a:off x="9480773" y="3404929"/>
            <a:ext cx="216000" cy="2160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6" name="Группа 165"/>
          <p:cNvGrpSpPr>
            <a:grpSpLocks noChangeAspect="1"/>
          </p:cNvGrpSpPr>
          <p:nvPr/>
        </p:nvGrpSpPr>
        <p:grpSpPr>
          <a:xfrm>
            <a:off x="9489817" y="3994746"/>
            <a:ext cx="216000" cy="216000"/>
            <a:chOff x="11214058" y="3928574"/>
            <a:chExt cx="384175" cy="384175"/>
          </a:xfrm>
        </p:grpSpPr>
        <p:sp>
          <p:nvSpPr>
            <p:cNvPr id="167" name="Oval 253">
              <a:extLst>
                <a:ext uri="{FF2B5EF4-FFF2-40B4-BE49-F238E27FC236}">
                  <a16:creationId xmlns:a16="http://schemas.microsoft.com/office/drawing/2014/main" id="{B1BA5709-B53C-402A-B964-B869B8F2D647}"/>
                </a:ext>
              </a:extLst>
            </p:cNvPr>
            <p:cNvSpPr/>
            <p:nvPr>
              <p:custDataLst>
                <p:tags r:id="rId78"/>
              </p:custDataLst>
            </p:nvPr>
          </p:nvSpPr>
          <p:spPr bwMode="auto">
            <a:xfrm>
              <a:off x="11214058" y="3928574"/>
              <a:ext cx="384175" cy="38417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8" name="Arc 254">
              <a:extLst>
                <a:ext uri="{FF2B5EF4-FFF2-40B4-BE49-F238E27FC236}">
                  <a16:creationId xmlns:a16="http://schemas.microsoft.com/office/drawing/2014/main" id="{0EF22205-A6B5-444B-A5B0-5EB43306F615}"/>
                </a:ext>
              </a:extLst>
            </p:cNvPr>
            <p:cNvSpPr/>
            <p:nvPr>
              <p:custDataLst>
                <p:tags r:id="rId79"/>
              </p:custDataLst>
            </p:nvPr>
          </p:nvSpPr>
          <p:spPr bwMode="gray">
            <a:xfrm>
              <a:off x="11214058" y="3928574"/>
              <a:ext cx="384174" cy="384174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72" name="Группа 171"/>
          <p:cNvGrpSpPr>
            <a:grpSpLocks noChangeAspect="1"/>
          </p:cNvGrpSpPr>
          <p:nvPr/>
        </p:nvGrpSpPr>
        <p:grpSpPr>
          <a:xfrm>
            <a:off x="9514138" y="4574225"/>
            <a:ext cx="216000" cy="216000"/>
            <a:chOff x="11214058" y="3928574"/>
            <a:chExt cx="384175" cy="384175"/>
          </a:xfrm>
        </p:grpSpPr>
        <p:sp>
          <p:nvSpPr>
            <p:cNvPr id="173" name="Oval 253">
              <a:extLst>
                <a:ext uri="{FF2B5EF4-FFF2-40B4-BE49-F238E27FC236}">
                  <a16:creationId xmlns:a16="http://schemas.microsoft.com/office/drawing/2014/main" id="{B1BA5709-B53C-402A-B964-B869B8F2D647}"/>
                </a:ext>
              </a:extLst>
            </p:cNvPr>
            <p:cNvSpPr/>
            <p:nvPr>
              <p:custDataLst>
                <p:tags r:id="rId76"/>
              </p:custDataLst>
            </p:nvPr>
          </p:nvSpPr>
          <p:spPr bwMode="auto">
            <a:xfrm>
              <a:off x="11214058" y="3928574"/>
              <a:ext cx="384175" cy="38417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4" name="Arc 254">
              <a:extLst>
                <a:ext uri="{FF2B5EF4-FFF2-40B4-BE49-F238E27FC236}">
                  <a16:creationId xmlns:a16="http://schemas.microsoft.com/office/drawing/2014/main" id="{0EF22205-A6B5-444B-A5B0-5EB43306F615}"/>
                </a:ext>
              </a:extLst>
            </p:cNvPr>
            <p:cNvSpPr/>
            <p:nvPr>
              <p:custDataLst>
                <p:tags r:id="rId77"/>
              </p:custDataLst>
            </p:nvPr>
          </p:nvSpPr>
          <p:spPr bwMode="gray">
            <a:xfrm>
              <a:off x="11214058" y="3928574"/>
              <a:ext cx="384174" cy="384174"/>
            </a:xfrm>
            <a:prstGeom prst="arc">
              <a:avLst>
                <a:gd name="adj1" fmla="val 16200000"/>
                <a:gd name="adj2" fmla="val 28989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75" name="Группа 174"/>
          <p:cNvGrpSpPr>
            <a:grpSpLocks noChangeAspect="1"/>
          </p:cNvGrpSpPr>
          <p:nvPr/>
        </p:nvGrpSpPr>
        <p:grpSpPr>
          <a:xfrm>
            <a:off x="9508042" y="4868176"/>
            <a:ext cx="216000" cy="216000"/>
            <a:chOff x="11214058" y="3928574"/>
            <a:chExt cx="384175" cy="384175"/>
          </a:xfrm>
        </p:grpSpPr>
        <p:sp>
          <p:nvSpPr>
            <p:cNvPr id="176" name="Oval 253">
              <a:extLst>
                <a:ext uri="{FF2B5EF4-FFF2-40B4-BE49-F238E27FC236}">
                  <a16:creationId xmlns:a16="http://schemas.microsoft.com/office/drawing/2014/main" id="{B1BA5709-B53C-402A-B964-B869B8F2D647}"/>
                </a:ext>
              </a:extLst>
            </p:cNvPr>
            <p:cNvSpPr/>
            <p:nvPr>
              <p:custDataLst>
                <p:tags r:id="rId74"/>
              </p:custDataLst>
            </p:nvPr>
          </p:nvSpPr>
          <p:spPr bwMode="auto">
            <a:xfrm>
              <a:off x="11214058" y="3928574"/>
              <a:ext cx="384175" cy="38417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7" name="Arc 254">
              <a:extLst>
                <a:ext uri="{FF2B5EF4-FFF2-40B4-BE49-F238E27FC236}">
                  <a16:creationId xmlns:a16="http://schemas.microsoft.com/office/drawing/2014/main" id="{0EF22205-A6B5-444B-A5B0-5EB43306F615}"/>
                </a:ext>
              </a:extLst>
            </p:cNvPr>
            <p:cNvSpPr/>
            <p:nvPr>
              <p:custDataLst>
                <p:tags r:id="rId75"/>
              </p:custDataLst>
            </p:nvPr>
          </p:nvSpPr>
          <p:spPr bwMode="gray">
            <a:xfrm>
              <a:off x="11214058" y="3928574"/>
              <a:ext cx="384174" cy="384174"/>
            </a:xfrm>
            <a:prstGeom prst="arc">
              <a:avLst>
                <a:gd name="adj1" fmla="val 16200000"/>
                <a:gd name="adj2" fmla="val 28989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78" name="Группа 177"/>
          <p:cNvGrpSpPr>
            <a:grpSpLocks noChangeAspect="1"/>
          </p:cNvGrpSpPr>
          <p:nvPr/>
        </p:nvGrpSpPr>
        <p:grpSpPr>
          <a:xfrm>
            <a:off x="9515594" y="5155213"/>
            <a:ext cx="216000" cy="216000"/>
            <a:chOff x="11214058" y="3288900"/>
            <a:chExt cx="384175" cy="384175"/>
          </a:xfrm>
        </p:grpSpPr>
        <p:sp>
          <p:nvSpPr>
            <p:cNvPr id="179" name="Oval 207">
              <a:extLst>
                <a:ext uri="{FF2B5EF4-FFF2-40B4-BE49-F238E27FC236}">
                  <a16:creationId xmlns:a16="http://schemas.microsoft.com/office/drawing/2014/main" id="{7D52072E-9AD1-44AD-90D1-B0296C356535}"/>
                </a:ext>
              </a:extLst>
            </p:cNvPr>
            <p:cNvSpPr/>
            <p:nvPr>
              <p:custDataLst>
                <p:tags r:id="rId72"/>
              </p:custDataLst>
            </p:nvPr>
          </p:nvSpPr>
          <p:spPr bwMode="auto">
            <a:xfrm>
              <a:off x="11214058" y="3288900"/>
              <a:ext cx="384175" cy="38417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0" name="Arc 208">
              <a:extLst>
                <a:ext uri="{FF2B5EF4-FFF2-40B4-BE49-F238E27FC236}">
                  <a16:creationId xmlns:a16="http://schemas.microsoft.com/office/drawing/2014/main" id="{FB0E0B04-B418-422E-A1D2-392F1190A073}"/>
                </a:ext>
              </a:extLst>
            </p:cNvPr>
            <p:cNvSpPr/>
            <p:nvPr>
              <p:custDataLst>
                <p:tags r:id="rId73"/>
              </p:custDataLst>
            </p:nvPr>
          </p:nvSpPr>
          <p:spPr bwMode="gray">
            <a:xfrm>
              <a:off x="11214058" y="3288900"/>
              <a:ext cx="384174" cy="384174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82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36"/>
            </p:custDataLst>
          </p:nvPr>
        </p:nvSpPr>
        <p:spPr bwMode="auto">
          <a:xfrm>
            <a:off x="9489048" y="3713616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83" name="Группа 182"/>
          <p:cNvGrpSpPr>
            <a:grpSpLocks noChangeAspect="1"/>
          </p:cNvGrpSpPr>
          <p:nvPr/>
        </p:nvGrpSpPr>
        <p:grpSpPr>
          <a:xfrm>
            <a:off x="9545448" y="5717746"/>
            <a:ext cx="216000" cy="216000"/>
            <a:chOff x="11214058" y="3288900"/>
            <a:chExt cx="384175" cy="384175"/>
          </a:xfrm>
        </p:grpSpPr>
        <p:sp>
          <p:nvSpPr>
            <p:cNvPr id="184" name="Oval 207">
              <a:extLst>
                <a:ext uri="{FF2B5EF4-FFF2-40B4-BE49-F238E27FC236}">
                  <a16:creationId xmlns:a16="http://schemas.microsoft.com/office/drawing/2014/main" id="{7D52072E-9AD1-44AD-90D1-B0296C356535}"/>
                </a:ext>
              </a:extLst>
            </p:cNvPr>
            <p:cNvSpPr/>
            <p:nvPr>
              <p:custDataLst>
                <p:tags r:id="rId70"/>
              </p:custDataLst>
            </p:nvPr>
          </p:nvSpPr>
          <p:spPr bwMode="auto">
            <a:xfrm>
              <a:off x="11214058" y="3288900"/>
              <a:ext cx="384175" cy="38417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5" name="Arc 208">
              <a:extLst>
                <a:ext uri="{FF2B5EF4-FFF2-40B4-BE49-F238E27FC236}">
                  <a16:creationId xmlns:a16="http://schemas.microsoft.com/office/drawing/2014/main" id="{FB0E0B04-B418-422E-A1D2-392F1190A073}"/>
                </a:ext>
              </a:extLst>
            </p:cNvPr>
            <p:cNvSpPr/>
            <p:nvPr>
              <p:custDataLst>
                <p:tags r:id="rId71"/>
              </p:custDataLst>
            </p:nvPr>
          </p:nvSpPr>
          <p:spPr bwMode="gray">
            <a:xfrm>
              <a:off x="11214058" y="3288900"/>
              <a:ext cx="384174" cy="384174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86" name="Oval 206">
            <a:extLst>
              <a:ext uri="{FF2B5EF4-FFF2-40B4-BE49-F238E27FC236}">
                <a16:creationId xmlns:a16="http://schemas.microsoft.com/office/drawing/2014/main" id="{AE5B77A7-96D1-4239-BE8B-5A6C941A6992}"/>
              </a:ext>
            </a:extLst>
          </p:cNvPr>
          <p:cNvSpPr>
            <a:spLocks noChangeAspect="1"/>
          </p:cNvSpPr>
          <p:nvPr>
            <p:custDataLst>
              <p:tags r:id="rId37"/>
            </p:custDataLst>
          </p:nvPr>
        </p:nvSpPr>
        <p:spPr bwMode="auto">
          <a:xfrm>
            <a:off x="4229937" y="5454241"/>
            <a:ext cx="216000" cy="2160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87" name="Группа 186"/>
          <p:cNvGrpSpPr>
            <a:grpSpLocks noChangeAspect="1"/>
          </p:cNvGrpSpPr>
          <p:nvPr/>
        </p:nvGrpSpPr>
        <p:grpSpPr>
          <a:xfrm>
            <a:off x="5179884" y="5457250"/>
            <a:ext cx="216000" cy="216000"/>
            <a:chOff x="11214058" y="3288900"/>
            <a:chExt cx="384175" cy="384175"/>
          </a:xfrm>
        </p:grpSpPr>
        <p:sp>
          <p:nvSpPr>
            <p:cNvPr id="188" name="Oval 207">
              <a:extLst>
                <a:ext uri="{FF2B5EF4-FFF2-40B4-BE49-F238E27FC236}">
                  <a16:creationId xmlns:a16="http://schemas.microsoft.com/office/drawing/2014/main" id="{7D52072E-9AD1-44AD-90D1-B0296C356535}"/>
                </a:ext>
              </a:extLst>
            </p:cNvPr>
            <p:cNvSpPr/>
            <p:nvPr>
              <p:custDataLst>
                <p:tags r:id="rId68"/>
              </p:custDataLst>
            </p:nvPr>
          </p:nvSpPr>
          <p:spPr bwMode="auto">
            <a:xfrm>
              <a:off x="11214058" y="3288900"/>
              <a:ext cx="384175" cy="38417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9" name="Arc 208">
              <a:extLst>
                <a:ext uri="{FF2B5EF4-FFF2-40B4-BE49-F238E27FC236}">
                  <a16:creationId xmlns:a16="http://schemas.microsoft.com/office/drawing/2014/main" id="{FB0E0B04-B418-422E-A1D2-392F1190A073}"/>
                </a:ext>
              </a:extLst>
            </p:cNvPr>
            <p:cNvSpPr/>
            <p:nvPr>
              <p:custDataLst>
                <p:tags r:id="rId69"/>
              </p:custDataLst>
            </p:nvPr>
          </p:nvSpPr>
          <p:spPr bwMode="gray">
            <a:xfrm>
              <a:off x="11214058" y="3288900"/>
              <a:ext cx="384174" cy="384174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90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38"/>
            </p:custDataLst>
          </p:nvPr>
        </p:nvSpPr>
        <p:spPr bwMode="auto">
          <a:xfrm>
            <a:off x="6106645" y="5450137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1" name="Oval 206">
            <a:extLst>
              <a:ext uri="{FF2B5EF4-FFF2-40B4-BE49-F238E27FC236}">
                <a16:creationId xmlns:a16="http://schemas.microsoft.com/office/drawing/2014/main" id="{AE5B77A7-96D1-4239-BE8B-5A6C941A6992}"/>
              </a:ext>
            </a:extLst>
          </p:cNvPr>
          <p:cNvSpPr>
            <a:spLocks noChangeAspect="1"/>
          </p:cNvSpPr>
          <p:nvPr>
            <p:custDataLst>
              <p:tags r:id="rId39"/>
            </p:custDataLst>
          </p:nvPr>
        </p:nvSpPr>
        <p:spPr bwMode="auto">
          <a:xfrm>
            <a:off x="6836024" y="5463816"/>
            <a:ext cx="216000" cy="2160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92" name="Группа 191"/>
          <p:cNvGrpSpPr>
            <a:grpSpLocks noChangeAspect="1"/>
          </p:cNvGrpSpPr>
          <p:nvPr/>
        </p:nvGrpSpPr>
        <p:grpSpPr>
          <a:xfrm>
            <a:off x="7785971" y="5466825"/>
            <a:ext cx="216000" cy="216000"/>
            <a:chOff x="11214058" y="3288900"/>
            <a:chExt cx="384175" cy="384175"/>
          </a:xfrm>
        </p:grpSpPr>
        <p:sp>
          <p:nvSpPr>
            <p:cNvPr id="193" name="Oval 207">
              <a:extLst>
                <a:ext uri="{FF2B5EF4-FFF2-40B4-BE49-F238E27FC236}">
                  <a16:creationId xmlns:a16="http://schemas.microsoft.com/office/drawing/2014/main" id="{7D52072E-9AD1-44AD-90D1-B0296C356535}"/>
                </a:ext>
              </a:extLst>
            </p:cNvPr>
            <p:cNvSpPr/>
            <p:nvPr>
              <p:custDataLst>
                <p:tags r:id="rId66"/>
              </p:custDataLst>
            </p:nvPr>
          </p:nvSpPr>
          <p:spPr bwMode="auto">
            <a:xfrm>
              <a:off x="11214058" y="3288900"/>
              <a:ext cx="384175" cy="38417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4" name="Arc 208">
              <a:extLst>
                <a:ext uri="{FF2B5EF4-FFF2-40B4-BE49-F238E27FC236}">
                  <a16:creationId xmlns:a16="http://schemas.microsoft.com/office/drawing/2014/main" id="{FB0E0B04-B418-422E-A1D2-392F1190A073}"/>
                </a:ext>
              </a:extLst>
            </p:cNvPr>
            <p:cNvSpPr/>
            <p:nvPr>
              <p:custDataLst>
                <p:tags r:id="rId67"/>
              </p:custDataLst>
            </p:nvPr>
          </p:nvSpPr>
          <p:spPr bwMode="gray">
            <a:xfrm>
              <a:off x="11214058" y="3288900"/>
              <a:ext cx="384174" cy="384174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95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40"/>
            </p:custDataLst>
          </p:nvPr>
        </p:nvSpPr>
        <p:spPr bwMode="auto">
          <a:xfrm>
            <a:off x="8616366" y="5441375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99" name="Группа 198"/>
          <p:cNvGrpSpPr>
            <a:grpSpLocks noChangeAspect="1"/>
          </p:cNvGrpSpPr>
          <p:nvPr/>
        </p:nvGrpSpPr>
        <p:grpSpPr>
          <a:xfrm>
            <a:off x="9515827" y="5443752"/>
            <a:ext cx="216000" cy="216000"/>
            <a:chOff x="11214058" y="3928574"/>
            <a:chExt cx="384175" cy="384175"/>
          </a:xfrm>
        </p:grpSpPr>
        <p:sp>
          <p:nvSpPr>
            <p:cNvPr id="200" name="Oval 253">
              <a:extLst>
                <a:ext uri="{FF2B5EF4-FFF2-40B4-BE49-F238E27FC236}">
                  <a16:creationId xmlns:a16="http://schemas.microsoft.com/office/drawing/2014/main" id="{B1BA5709-B53C-402A-B964-B869B8F2D647}"/>
                </a:ext>
              </a:extLst>
            </p:cNvPr>
            <p:cNvSpPr/>
            <p:nvPr>
              <p:custDataLst>
                <p:tags r:id="rId64"/>
              </p:custDataLst>
            </p:nvPr>
          </p:nvSpPr>
          <p:spPr bwMode="auto">
            <a:xfrm>
              <a:off x="11214058" y="3928574"/>
              <a:ext cx="384175" cy="38417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1" name="Arc 254">
              <a:extLst>
                <a:ext uri="{FF2B5EF4-FFF2-40B4-BE49-F238E27FC236}">
                  <a16:creationId xmlns:a16="http://schemas.microsoft.com/office/drawing/2014/main" id="{0EF22205-A6B5-444B-A5B0-5EB43306F615}"/>
                </a:ext>
              </a:extLst>
            </p:cNvPr>
            <p:cNvSpPr/>
            <p:nvPr>
              <p:custDataLst>
                <p:tags r:id="rId65"/>
              </p:custDataLst>
            </p:nvPr>
          </p:nvSpPr>
          <p:spPr bwMode="gray">
            <a:xfrm>
              <a:off x="11214058" y="3928574"/>
              <a:ext cx="384174" cy="384174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02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41"/>
            </p:custDataLst>
          </p:nvPr>
        </p:nvSpPr>
        <p:spPr bwMode="auto">
          <a:xfrm>
            <a:off x="9505886" y="4280224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3" name="Oval 206">
            <a:extLst>
              <a:ext uri="{FF2B5EF4-FFF2-40B4-BE49-F238E27FC236}">
                <a16:creationId xmlns:a16="http://schemas.microsoft.com/office/drawing/2014/main" id="{AE5B77A7-96D1-4239-BE8B-5A6C941A6992}"/>
              </a:ext>
            </a:extLst>
          </p:cNvPr>
          <p:cNvSpPr>
            <a:spLocks noChangeAspect="1"/>
          </p:cNvSpPr>
          <p:nvPr>
            <p:custDataLst>
              <p:tags r:id="rId42"/>
            </p:custDataLst>
          </p:nvPr>
        </p:nvSpPr>
        <p:spPr bwMode="auto">
          <a:xfrm>
            <a:off x="10347921" y="3072009"/>
            <a:ext cx="216000" cy="2160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6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43"/>
            </p:custDataLst>
          </p:nvPr>
        </p:nvSpPr>
        <p:spPr bwMode="auto">
          <a:xfrm>
            <a:off x="10336847" y="4024109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7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44"/>
            </p:custDataLst>
          </p:nvPr>
        </p:nvSpPr>
        <p:spPr bwMode="auto">
          <a:xfrm>
            <a:off x="10342718" y="4311411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8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45"/>
            </p:custDataLst>
          </p:nvPr>
        </p:nvSpPr>
        <p:spPr bwMode="auto">
          <a:xfrm>
            <a:off x="10350969" y="4619372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0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46"/>
            </p:custDataLst>
          </p:nvPr>
        </p:nvSpPr>
        <p:spPr bwMode="auto">
          <a:xfrm>
            <a:off x="10347921" y="5181827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1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47"/>
            </p:custDataLst>
          </p:nvPr>
        </p:nvSpPr>
        <p:spPr bwMode="auto">
          <a:xfrm>
            <a:off x="10347921" y="5733971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3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48"/>
            </p:custDataLst>
          </p:nvPr>
        </p:nvSpPr>
        <p:spPr bwMode="auto">
          <a:xfrm>
            <a:off x="10336627" y="3724402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4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49"/>
            </p:custDataLst>
          </p:nvPr>
        </p:nvSpPr>
        <p:spPr bwMode="auto">
          <a:xfrm>
            <a:off x="10336627" y="3427902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5" name="Oval 206">
            <a:extLst>
              <a:ext uri="{FF2B5EF4-FFF2-40B4-BE49-F238E27FC236}">
                <a16:creationId xmlns:a16="http://schemas.microsoft.com/office/drawing/2014/main" id="{AE5B77A7-96D1-4239-BE8B-5A6C941A6992}"/>
              </a:ext>
            </a:extLst>
          </p:cNvPr>
          <p:cNvSpPr>
            <a:spLocks noChangeAspect="1"/>
          </p:cNvSpPr>
          <p:nvPr>
            <p:custDataLst>
              <p:tags r:id="rId50"/>
            </p:custDataLst>
          </p:nvPr>
        </p:nvSpPr>
        <p:spPr bwMode="auto">
          <a:xfrm>
            <a:off x="10347921" y="4889748"/>
            <a:ext cx="216000" cy="2160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Левая фигурная скобка 2"/>
          <p:cNvSpPr/>
          <p:nvPr/>
        </p:nvSpPr>
        <p:spPr>
          <a:xfrm rot="16200000">
            <a:off x="4726117" y="5079883"/>
            <a:ext cx="103968" cy="1944216"/>
          </a:xfrm>
          <a:prstGeom prst="leftBrac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698457" y="6050383"/>
            <a:ext cx="2404504" cy="26161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МЭК рассматривает две методологии в связке</a:t>
            </a:r>
          </a:p>
        </p:txBody>
      </p:sp>
      <p:sp>
        <p:nvSpPr>
          <p:cNvPr id="216" name="Левая фигурная скобка 215"/>
          <p:cNvSpPr/>
          <p:nvPr/>
        </p:nvSpPr>
        <p:spPr>
          <a:xfrm rot="16200000">
            <a:off x="8005794" y="5060584"/>
            <a:ext cx="103968" cy="1944216"/>
          </a:xfrm>
          <a:prstGeom prst="leftBrac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sp>
        <p:nvSpPr>
          <p:cNvPr id="217" name="TextBox 216"/>
          <p:cNvSpPr txBox="1"/>
          <p:nvPr/>
        </p:nvSpPr>
        <p:spPr>
          <a:xfrm>
            <a:off x="6799610" y="6003948"/>
            <a:ext cx="2407710" cy="26161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NIST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 рассматривает две методологии в связке</a:t>
            </a:r>
          </a:p>
        </p:txBody>
      </p:sp>
      <p:sp>
        <p:nvSpPr>
          <p:cNvPr id="224" name="Oval 206">
            <a:extLst>
              <a:ext uri="{FF2B5EF4-FFF2-40B4-BE49-F238E27FC236}">
                <a16:creationId xmlns:a16="http://schemas.microsoft.com/office/drawing/2014/main" id="{AE5B77A7-96D1-4239-BE8B-5A6C941A6992}"/>
              </a:ext>
            </a:extLst>
          </p:cNvPr>
          <p:cNvSpPr>
            <a:spLocks noChangeAspect="1"/>
          </p:cNvSpPr>
          <p:nvPr>
            <p:custDataLst>
              <p:tags r:id="rId51"/>
            </p:custDataLst>
          </p:nvPr>
        </p:nvSpPr>
        <p:spPr bwMode="auto">
          <a:xfrm>
            <a:off x="10347921" y="5458257"/>
            <a:ext cx="216000" cy="216000"/>
          </a:xfrm>
          <a:prstGeom prst="ellipse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49" name="Группа 148"/>
          <p:cNvGrpSpPr>
            <a:grpSpLocks noChangeAspect="1"/>
          </p:cNvGrpSpPr>
          <p:nvPr/>
        </p:nvGrpSpPr>
        <p:grpSpPr>
          <a:xfrm>
            <a:off x="11213718" y="3060227"/>
            <a:ext cx="216000" cy="216000"/>
            <a:chOff x="11214058" y="3928574"/>
            <a:chExt cx="384175" cy="384175"/>
          </a:xfrm>
        </p:grpSpPr>
        <p:sp>
          <p:nvSpPr>
            <p:cNvPr id="169" name="Oval 253">
              <a:extLst>
                <a:ext uri="{FF2B5EF4-FFF2-40B4-BE49-F238E27FC236}">
                  <a16:creationId xmlns:a16="http://schemas.microsoft.com/office/drawing/2014/main" id="{B1BA5709-B53C-402A-B964-B869B8F2D647}"/>
                </a:ext>
              </a:extLst>
            </p:cNvPr>
            <p:cNvSpPr/>
            <p:nvPr>
              <p:custDataLst>
                <p:tags r:id="rId62"/>
              </p:custDataLst>
            </p:nvPr>
          </p:nvSpPr>
          <p:spPr bwMode="auto">
            <a:xfrm>
              <a:off x="11214058" y="3928574"/>
              <a:ext cx="384175" cy="38417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0" name="Arc 254">
              <a:extLst>
                <a:ext uri="{FF2B5EF4-FFF2-40B4-BE49-F238E27FC236}">
                  <a16:creationId xmlns:a16="http://schemas.microsoft.com/office/drawing/2014/main" id="{0EF22205-A6B5-444B-A5B0-5EB43306F615}"/>
                </a:ext>
              </a:extLst>
            </p:cNvPr>
            <p:cNvSpPr/>
            <p:nvPr>
              <p:custDataLst>
                <p:tags r:id="rId63"/>
              </p:custDataLst>
            </p:nvPr>
          </p:nvSpPr>
          <p:spPr bwMode="gray">
            <a:xfrm>
              <a:off x="11214058" y="3928574"/>
              <a:ext cx="384174" cy="384174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71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52"/>
            </p:custDataLst>
          </p:nvPr>
        </p:nvSpPr>
        <p:spPr bwMode="auto">
          <a:xfrm>
            <a:off x="11213718" y="3388356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1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53"/>
            </p:custDataLst>
          </p:nvPr>
        </p:nvSpPr>
        <p:spPr bwMode="auto">
          <a:xfrm>
            <a:off x="11213718" y="3729289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6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54"/>
            </p:custDataLst>
          </p:nvPr>
        </p:nvSpPr>
        <p:spPr bwMode="auto">
          <a:xfrm>
            <a:off x="11226552" y="4013146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7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55"/>
            </p:custDataLst>
          </p:nvPr>
        </p:nvSpPr>
        <p:spPr bwMode="auto">
          <a:xfrm>
            <a:off x="11219844" y="4282024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8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56"/>
            </p:custDataLst>
          </p:nvPr>
        </p:nvSpPr>
        <p:spPr bwMode="auto">
          <a:xfrm>
            <a:off x="11220344" y="4574208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4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57"/>
            </p:custDataLst>
          </p:nvPr>
        </p:nvSpPr>
        <p:spPr bwMode="auto">
          <a:xfrm>
            <a:off x="11220344" y="4858065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5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58"/>
            </p:custDataLst>
          </p:nvPr>
        </p:nvSpPr>
        <p:spPr bwMode="auto">
          <a:xfrm>
            <a:off x="11213717" y="5148335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9" name="Oval 211">
            <a:extLst>
              <a:ext uri="{FF2B5EF4-FFF2-40B4-BE49-F238E27FC236}">
                <a16:creationId xmlns:a16="http://schemas.microsoft.com/office/drawing/2014/main" id="{7DD3D872-FE62-463A-80D2-4F891237990E}"/>
              </a:ext>
            </a:extLst>
          </p:cNvPr>
          <p:cNvSpPr>
            <a:spLocks noChangeAspect="1"/>
          </p:cNvSpPr>
          <p:nvPr>
            <p:custDataLst>
              <p:tags r:id="rId59"/>
            </p:custDataLst>
          </p:nvPr>
        </p:nvSpPr>
        <p:spPr bwMode="auto">
          <a:xfrm>
            <a:off x="11213717" y="5429927"/>
            <a:ext cx="216000" cy="216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12" name="Группа 211"/>
          <p:cNvGrpSpPr>
            <a:grpSpLocks noChangeAspect="1"/>
          </p:cNvGrpSpPr>
          <p:nvPr/>
        </p:nvGrpSpPr>
        <p:grpSpPr>
          <a:xfrm>
            <a:off x="11213717" y="5718971"/>
            <a:ext cx="216000" cy="216000"/>
            <a:chOff x="11214058" y="3928574"/>
            <a:chExt cx="384175" cy="384175"/>
          </a:xfrm>
        </p:grpSpPr>
        <p:sp>
          <p:nvSpPr>
            <p:cNvPr id="220" name="Oval 253">
              <a:extLst>
                <a:ext uri="{FF2B5EF4-FFF2-40B4-BE49-F238E27FC236}">
                  <a16:creationId xmlns:a16="http://schemas.microsoft.com/office/drawing/2014/main" id="{B1BA5709-B53C-402A-B964-B869B8F2D647}"/>
                </a:ext>
              </a:extLst>
            </p:cNvPr>
            <p:cNvSpPr/>
            <p:nvPr>
              <p:custDataLst>
                <p:tags r:id="rId60"/>
              </p:custDataLst>
            </p:nvPr>
          </p:nvSpPr>
          <p:spPr bwMode="auto">
            <a:xfrm>
              <a:off x="11214058" y="3928574"/>
              <a:ext cx="384175" cy="384175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1" name="Arc 254">
              <a:extLst>
                <a:ext uri="{FF2B5EF4-FFF2-40B4-BE49-F238E27FC236}">
                  <a16:creationId xmlns:a16="http://schemas.microsoft.com/office/drawing/2014/main" id="{0EF22205-A6B5-444B-A5B0-5EB43306F615}"/>
                </a:ext>
              </a:extLst>
            </p:cNvPr>
            <p:cNvSpPr/>
            <p:nvPr>
              <p:custDataLst>
                <p:tags r:id="rId61"/>
              </p:custDataLst>
            </p:nvPr>
          </p:nvSpPr>
          <p:spPr bwMode="gray">
            <a:xfrm>
              <a:off x="11214058" y="3928574"/>
              <a:ext cx="384174" cy="384174"/>
            </a:xfrm>
            <a:prstGeom prst="arc">
              <a:avLst>
                <a:gd name="adj1" fmla="val 16200000"/>
                <a:gd name="adj2" fmla="val 28989"/>
              </a:avLst>
            </a:prstGeom>
            <a:solidFill>
              <a:schemeClr val="accent2"/>
            </a:solidFill>
            <a:ln w="9525" cap="flat" cmpd="sng" algn="ctr">
              <a:solidFill>
                <a:schemeClr val="accent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9516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04187" y="2466556"/>
            <a:ext cx="2529565" cy="114912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7284" y="371963"/>
            <a:ext cx="7679485" cy="619937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еферентная архитектура ПАО Россети базируется на МЭК 62357 и дополняется </a:t>
            </a:r>
            <a:r>
              <a:rPr lang="en-US" dirty="0" smtClean="0"/>
              <a:t>HPUM, TOGAF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631504" y="6473499"/>
            <a:ext cx="5086649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Рисунок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 «Модель архитектуры ПАО «Россети» на базе  МЭК 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62357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, дополненная 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HPUM, TOGAF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»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PF Din Text Cond Pro Light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04188" y="908720"/>
            <a:ext cx="2529565" cy="129349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10" name="Соединительная линия уступом 9"/>
          <p:cNvCxnSpPr>
            <a:endCxn id="5" idx="1"/>
          </p:cNvCxnSpPr>
          <p:nvPr/>
        </p:nvCxnSpPr>
        <p:spPr>
          <a:xfrm flipV="1">
            <a:off x="6312024" y="1555470"/>
            <a:ext cx="1592164" cy="413037"/>
          </a:xfrm>
          <a:prstGeom prst="bentConnector3">
            <a:avLst/>
          </a:prstGeom>
          <a:ln w="12700">
            <a:solidFill>
              <a:schemeClr val="accent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Соединительная линия уступом 10"/>
          <p:cNvCxnSpPr/>
          <p:nvPr/>
        </p:nvCxnSpPr>
        <p:spPr>
          <a:xfrm>
            <a:off x="6312024" y="2564904"/>
            <a:ext cx="1592163" cy="446396"/>
          </a:xfrm>
          <a:prstGeom prst="bentConnector3">
            <a:avLst/>
          </a:prstGeom>
          <a:ln w="12700">
            <a:solidFill>
              <a:srgbClr val="FEBB4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/>
          <p:cNvSpPr/>
          <p:nvPr/>
        </p:nvSpPr>
        <p:spPr>
          <a:xfrm>
            <a:off x="7904187" y="3820381"/>
            <a:ext cx="2529565" cy="1192795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kern="1200" dirty="0" smtClean="0">
                <a:solidFill>
                  <a:srgbClr val="3C3C3C"/>
                </a:solidFill>
                <a:latin typeface="Arial Narrow" panose="020B0606020202030204" pitchFamily="34" charset="0"/>
              </a:rPr>
              <a:t>В проработке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17" name="Соединительная линия уступом 16"/>
          <p:cNvCxnSpPr>
            <a:endCxn id="16" idx="1"/>
          </p:cNvCxnSpPr>
          <p:nvPr/>
        </p:nvCxnSpPr>
        <p:spPr>
          <a:xfrm>
            <a:off x="6312024" y="3108113"/>
            <a:ext cx="1592163" cy="1308666"/>
          </a:xfrm>
          <a:prstGeom prst="bentConnector3">
            <a:avLst/>
          </a:prstGeom>
          <a:ln w="12700">
            <a:solidFill>
              <a:srgbClr val="AD4E2E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рямоугольник 19"/>
          <p:cNvSpPr/>
          <p:nvPr/>
        </p:nvSpPr>
        <p:spPr>
          <a:xfrm>
            <a:off x="7904188" y="5183400"/>
            <a:ext cx="2529565" cy="1192795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kern="1200" dirty="0" smtClean="0">
                <a:solidFill>
                  <a:srgbClr val="3C3C3C"/>
                </a:solidFill>
                <a:latin typeface="Arial Narrow" panose="020B0606020202030204" pitchFamily="34" charset="0"/>
              </a:rPr>
              <a:t>В проработке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21" name="Соединительная линия уступом 20"/>
          <p:cNvCxnSpPr>
            <a:endCxn id="20" idx="1"/>
          </p:cNvCxnSpPr>
          <p:nvPr/>
        </p:nvCxnSpPr>
        <p:spPr>
          <a:xfrm rot="16200000" flipH="1">
            <a:off x="6336286" y="4219696"/>
            <a:ext cx="2090887" cy="1044916"/>
          </a:xfrm>
          <a:prstGeom prst="bentConnector2">
            <a:avLst/>
          </a:prstGeom>
          <a:ln w="12700">
            <a:solidFill>
              <a:srgbClr val="339C8E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 flipH="1">
            <a:off x="6312023" y="3696709"/>
            <a:ext cx="547246" cy="0"/>
          </a:xfrm>
          <a:prstGeom prst="line">
            <a:avLst/>
          </a:prstGeom>
          <a:ln w="12700">
            <a:solidFill>
              <a:srgbClr val="339C8E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10632504" y="1401581"/>
            <a:ext cx="1224136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Бизнес-функции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10632504" y="2749690"/>
            <a:ext cx="1224136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Информационные потоки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0632504" y="4155168"/>
            <a:ext cx="1224136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Информационные системы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0632504" y="5525987"/>
            <a:ext cx="1094852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PF Din Text Cond Pro Light"/>
                <a:ea typeface="+mn-ea"/>
                <a:cs typeface="+mn-cs"/>
              </a:rPr>
              <a:t>ИТ инфраструктура</a:t>
            </a:r>
          </a:p>
        </p:txBody>
      </p:sp>
    </p:spTree>
    <p:extLst>
      <p:ext uri="{BB962C8B-B14F-4D97-AF65-F5344CB8AC3E}">
        <p14:creationId xmlns:p14="http://schemas.microsoft.com/office/powerpoint/2010/main" val="3703318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Layer">
            <a:extLst>
              <a:ext uri="{FF2B5EF4-FFF2-40B4-BE49-F238E27FC236}">
                <a16:creationId xmlns:a16="http://schemas.microsoft.com/office/drawing/2014/main" id="{C5E1A844-575F-4BD7-A872-A725DF9C5D67}"/>
              </a:ext>
            </a:extLst>
          </p:cNvPr>
          <p:cNvSpPr>
            <a:spLocks noChangeAspect="1"/>
          </p:cNvSpPr>
          <p:nvPr/>
        </p:nvSpPr>
        <p:spPr bwMode="gray">
          <a:xfrm>
            <a:off x="1587" y="0"/>
            <a:ext cx="12190413" cy="6858000"/>
          </a:xfrm>
          <a:prstGeom prst="rect">
            <a:avLst/>
          </a:prstGeom>
          <a:gradFill>
            <a:gsLst>
              <a:gs pos="0">
                <a:srgbClr val="2C3E50">
                  <a:lumMod val="75000"/>
                  <a:alpha val="85000"/>
                </a:srgbClr>
              </a:gs>
              <a:gs pos="100000">
                <a:srgbClr val="2C3E50">
                  <a:lumMod val="75000"/>
                  <a:alpha val="65000"/>
                </a:srgbClr>
              </a:gs>
            </a:gsLst>
            <a:lin ang="3600000" scaled="0"/>
          </a:gra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101" name="Bildplatzhalter">
            <a:extLst>
              <a:ext uri="{FF2B5EF4-FFF2-40B4-BE49-F238E27FC236}">
                <a16:creationId xmlns:a16="http://schemas.microsoft.com/office/drawing/2014/main" id="{0DE40F5E-DC05-4D75-AAC6-07FC54631F7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7815" b="7815"/>
          <a:stretch>
            <a:fillRect/>
          </a:stretch>
        </p:blipFill>
        <p:spPr bwMode="gray">
          <a:xfrm>
            <a:off x="0" y="0"/>
            <a:ext cx="12190413" cy="6858000"/>
          </a:xfrm>
          <a:prstGeom prst="rect">
            <a:avLst/>
          </a:prstGeom>
        </p:spPr>
      </p:pic>
      <p:sp>
        <p:nvSpPr>
          <p:cNvPr id="124" name="Layer">
            <a:extLst>
              <a:ext uri="{FF2B5EF4-FFF2-40B4-BE49-F238E27FC236}">
                <a16:creationId xmlns:a16="http://schemas.microsoft.com/office/drawing/2014/main" id="{C5E1A844-575F-4BD7-A872-A725DF9C5D67}"/>
              </a:ext>
            </a:extLst>
          </p:cNvPr>
          <p:cNvSpPr>
            <a:spLocks noChangeAspect="1"/>
          </p:cNvSpPr>
          <p:nvPr/>
        </p:nvSpPr>
        <p:spPr bwMode="gray">
          <a:xfrm>
            <a:off x="-22550" y="0"/>
            <a:ext cx="12190413" cy="6858000"/>
          </a:xfrm>
          <a:prstGeom prst="rect">
            <a:avLst/>
          </a:prstGeom>
          <a:gradFill>
            <a:gsLst>
              <a:gs pos="0">
                <a:srgbClr val="2C3E50">
                  <a:lumMod val="75000"/>
                  <a:alpha val="85000"/>
                </a:srgbClr>
              </a:gs>
              <a:gs pos="100000">
                <a:srgbClr val="2C3E50">
                  <a:lumMod val="75000"/>
                  <a:alpha val="65000"/>
                </a:srgbClr>
              </a:gs>
            </a:gsLst>
            <a:lin ang="3600000" scaled="0"/>
          </a:gradFill>
          <a:ln w="25400" cap="flat" cmpd="sng" algn="ctr">
            <a:noFill/>
            <a:prstDash val="solid"/>
          </a:ln>
          <a:effectLst/>
        </p:spPr>
        <p:txBody>
          <a:bodyPr lIns="36000" tIns="36000" rIns="36000" bIns="36000"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106" name="Заголовок 1"/>
          <p:cNvSpPr>
            <a:spLocks noGrp="1"/>
          </p:cNvSpPr>
          <p:nvPr>
            <p:ph type="ctrTitle"/>
          </p:nvPr>
        </p:nvSpPr>
        <p:spPr>
          <a:xfrm>
            <a:off x="2175477" y="386678"/>
            <a:ext cx="7794356" cy="591026"/>
          </a:xfrm>
        </p:spPr>
        <p:txBody>
          <a:bodyPr lIns="0" tIns="0" rIns="0" bIns="0" anchor="t" anchorCtr="0">
            <a:noAutofit/>
          </a:bodyPr>
          <a:lstStyle/>
          <a:p>
            <a:r>
              <a:rPr lang="ru-RU" sz="4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Автоматизация</a:t>
            </a:r>
            <a:br>
              <a:rPr lang="ru-RU" sz="4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4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/>
            </a:r>
            <a:br>
              <a:rPr lang="ru-RU" sz="4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4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en-US" sz="4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/>
            </a:r>
            <a:br>
              <a:rPr lang="en-US" sz="4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endParaRPr lang="ru-RU" sz="44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07" name="Заголовок 1"/>
          <p:cNvSpPr txBox="1">
            <a:spLocks/>
          </p:cNvSpPr>
          <p:nvPr/>
        </p:nvSpPr>
        <p:spPr>
          <a:xfrm>
            <a:off x="5523502" y="1088897"/>
            <a:ext cx="1098306" cy="551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4400" dirty="0">
                <a:solidFill>
                  <a:srgbClr val="FF264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S</a:t>
            </a:r>
            <a:endParaRPr lang="ru-RU" sz="4400" dirty="0">
              <a:solidFill>
                <a:srgbClr val="FF2649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08" name="Заголовок 1"/>
          <p:cNvSpPr txBox="1">
            <a:spLocks/>
          </p:cNvSpPr>
          <p:nvPr/>
        </p:nvSpPr>
        <p:spPr>
          <a:xfrm>
            <a:off x="1165312" y="1578624"/>
            <a:ext cx="9814686" cy="17607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z="4400" dirty="0" err="1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Цифровизация</a:t>
            </a:r>
            <a:r>
              <a:rPr lang="ru-RU" sz="4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endParaRPr lang="en-US" sz="44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US" sz="4400" dirty="0">
                <a:solidFill>
                  <a:srgbClr val="FF264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VS</a:t>
            </a:r>
          </a:p>
          <a:p>
            <a:r>
              <a:rPr lang="en-US" sz="4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SG</a:t>
            </a:r>
            <a:br>
              <a:rPr lang="en-US" sz="44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endParaRPr lang="ru-RU" sz="44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3046218" y="3339356"/>
            <a:ext cx="6052874" cy="757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z="4000" dirty="0">
                <a:solidFill>
                  <a:srgbClr val="5B9BD5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Вызовы и возможности</a:t>
            </a:r>
          </a:p>
        </p:txBody>
      </p:sp>
      <p:sp>
        <p:nvSpPr>
          <p:cNvPr id="24" name="Freeform 31"/>
          <p:cNvSpPr>
            <a:spLocks noEditPoints="1"/>
          </p:cNvSpPr>
          <p:nvPr/>
        </p:nvSpPr>
        <p:spPr bwMode="auto">
          <a:xfrm rot="5400000">
            <a:off x="1380021" y="3573222"/>
            <a:ext cx="1337101" cy="4062382"/>
          </a:xfrm>
          <a:custGeom>
            <a:avLst/>
            <a:gdLst>
              <a:gd name="T0" fmla="*/ 18 w 188"/>
              <a:gd name="T1" fmla="*/ 53 h 572"/>
              <a:gd name="T2" fmla="*/ 22 w 188"/>
              <a:gd name="T3" fmla="*/ 57 h 572"/>
              <a:gd name="T4" fmla="*/ 0 w 188"/>
              <a:gd name="T5" fmla="*/ 294 h 572"/>
              <a:gd name="T6" fmla="*/ 7 w 188"/>
              <a:gd name="T7" fmla="*/ 408 h 572"/>
              <a:gd name="T8" fmla="*/ 11 w 188"/>
              <a:gd name="T9" fmla="*/ 411 h 572"/>
              <a:gd name="T10" fmla="*/ 26 w 188"/>
              <a:gd name="T11" fmla="*/ 411 h 572"/>
              <a:gd name="T12" fmla="*/ 26 w 188"/>
              <a:gd name="T13" fmla="*/ 290 h 572"/>
              <a:gd name="T14" fmla="*/ 39 w 188"/>
              <a:gd name="T15" fmla="*/ 23 h 572"/>
              <a:gd name="T16" fmla="*/ 33 w 188"/>
              <a:gd name="T17" fmla="*/ 0 h 572"/>
              <a:gd name="T18" fmla="*/ 36 w 188"/>
              <a:gd name="T19" fmla="*/ 4 h 572"/>
              <a:gd name="T20" fmla="*/ 22 w 188"/>
              <a:gd name="T21" fmla="*/ 422 h 572"/>
              <a:gd name="T22" fmla="*/ 26 w 188"/>
              <a:gd name="T23" fmla="*/ 418 h 572"/>
              <a:gd name="T24" fmla="*/ 39 w 188"/>
              <a:gd name="T25" fmla="*/ 242 h 572"/>
              <a:gd name="T26" fmla="*/ 45 w 188"/>
              <a:gd name="T27" fmla="*/ 475 h 572"/>
              <a:gd name="T28" fmla="*/ 50 w 188"/>
              <a:gd name="T29" fmla="*/ 252 h 572"/>
              <a:gd name="T30" fmla="*/ 61 w 188"/>
              <a:gd name="T31" fmla="*/ 433 h 572"/>
              <a:gd name="T32" fmla="*/ 75 w 188"/>
              <a:gd name="T33" fmla="*/ 267 h 572"/>
              <a:gd name="T34" fmla="*/ 87 w 188"/>
              <a:gd name="T35" fmla="*/ 469 h 572"/>
              <a:gd name="T36" fmla="*/ 50 w 188"/>
              <a:gd name="T37" fmla="*/ 6 h 572"/>
              <a:gd name="T38" fmla="*/ 54 w 188"/>
              <a:gd name="T39" fmla="*/ 10 h 572"/>
              <a:gd name="T40" fmla="*/ 57 w 188"/>
              <a:gd name="T41" fmla="*/ 52 h 572"/>
              <a:gd name="T42" fmla="*/ 61 w 188"/>
              <a:gd name="T43" fmla="*/ 49 h 572"/>
              <a:gd name="T44" fmla="*/ 61 w 188"/>
              <a:gd name="T45" fmla="*/ 257 h 572"/>
              <a:gd name="T46" fmla="*/ 73 w 188"/>
              <a:gd name="T47" fmla="*/ 472 h 572"/>
              <a:gd name="T48" fmla="*/ 76 w 188"/>
              <a:gd name="T49" fmla="*/ 52 h 572"/>
              <a:gd name="T50" fmla="*/ 87 w 188"/>
              <a:gd name="T51" fmla="*/ 15 h 572"/>
              <a:gd name="T52" fmla="*/ 91 w 188"/>
              <a:gd name="T53" fmla="*/ 19 h 572"/>
              <a:gd name="T54" fmla="*/ 41 w 188"/>
              <a:gd name="T55" fmla="*/ 478 h 572"/>
              <a:gd name="T56" fmla="*/ 45 w 188"/>
              <a:gd name="T57" fmla="*/ 474 h 572"/>
              <a:gd name="T58" fmla="*/ 61 w 188"/>
              <a:gd name="T59" fmla="*/ 438 h 572"/>
              <a:gd name="T60" fmla="*/ 73 w 188"/>
              <a:gd name="T61" fmla="*/ 470 h 572"/>
              <a:gd name="T62" fmla="*/ 76 w 188"/>
              <a:gd name="T63" fmla="*/ 474 h 572"/>
              <a:gd name="T64" fmla="*/ 130 w 188"/>
              <a:gd name="T65" fmla="*/ 526 h 572"/>
              <a:gd name="T66" fmla="*/ 134 w 188"/>
              <a:gd name="T67" fmla="*/ 522 h 572"/>
              <a:gd name="T68" fmla="*/ 97 w 188"/>
              <a:gd name="T69" fmla="*/ 272 h 572"/>
              <a:gd name="T70" fmla="*/ 151 w 188"/>
              <a:gd name="T71" fmla="*/ 546 h 572"/>
              <a:gd name="T72" fmla="*/ 117 w 188"/>
              <a:gd name="T73" fmla="*/ 70 h 572"/>
              <a:gd name="T74" fmla="*/ 105 w 188"/>
              <a:gd name="T75" fmla="*/ 280 h 572"/>
              <a:gd name="T76" fmla="*/ 159 w 188"/>
              <a:gd name="T77" fmla="*/ 566 h 572"/>
              <a:gd name="T78" fmla="*/ 134 w 188"/>
              <a:gd name="T79" fmla="*/ 379 h 572"/>
              <a:gd name="T80" fmla="*/ 105 w 188"/>
              <a:gd name="T81" fmla="*/ 46 h 572"/>
              <a:gd name="T82" fmla="*/ 108 w 188"/>
              <a:gd name="T83" fmla="*/ 50 h 572"/>
              <a:gd name="T84" fmla="*/ 114 w 188"/>
              <a:gd name="T85" fmla="*/ 19 h 572"/>
              <a:gd name="T86" fmla="*/ 117 w 188"/>
              <a:gd name="T87" fmla="*/ 15 h 572"/>
              <a:gd name="T88" fmla="*/ 157 w 188"/>
              <a:gd name="T89" fmla="*/ 145 h 572"/>
              <a:gd name="T90" fmla="*/ 155 w 188"/>
              <a:gd name="T91" fmla="*/ 449 h 572"/>
              <a:gd name="T92" fmla="*/ 159 w 188"/>
              <a:gd name="T93" fmla="*/ 452 h 572"/>
              <a:gd name="T94" fmla="*/ 144 w 188"/>
              <a:gd name="T95" fmla="*/ 550 h 572"/>
              <a:gd name="T96" fmla="*/ 142 w 188"/>
              <a:gd name="T97" fmla="*/ 555 h 572"/>
              <a:gd name="T98" fmla="*/ 157 w 188"/>
              <a:gd name="T99" fmla="*/ 565 h 572"/>
              <a:gd name="T100" fmla="*/ 183 w 188"/>
              <a:gd name="T101" fmla="*/ 491 h 572"/>
              <a:gd name="T102" fmla="*/ 185 w 188"/>
              <a:gd name="T103" fmla="*/ 485 h 572"/>
              <a:gd name="T104" fmla="*/ 188 w 188"/>
              <a:gd name="T105" fmla="*/ 489 h 572"/>
              <a:gd name="T106" fmla="*/ 169 w 188"/>
              <a:gd name="T107" fmla="*/ 539 h 572"/>
              <a:gd name="T108" fmla="*/ 173 w 188"/>
              <a:gd name="T109" fmla="*/ 535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88" h="572">
                <a:moveTo>
                  <a:pt x="26" y="53"/>
                </a:moveTo>
                <a:cubicBezTo>
                  <a:pt x="26" y="55"/>
                  <a:pt x="24" y="57"/>
                  <a:pt x="22" y="57"/>
                </a:cubicBezTo>
                <a:cubicBezTo>
                  <a:pt x="20" y="57"/>
                  <a:pt x="18" y="55"/>
                  <a:pt x="18" y="53"/>
                </a:cubicBezTo>
                <a:cubicBezTo>
                  <a:pt x="18" y="51"/>
                  <a:pt x="20" y="50"/>
                  <a:pt x="22" y="50"/>
                </a:cubicBezTo>
                <a:cubicBezTo>
                  <a:pt x="24" y="50"/>
                  <a:pt x="26" y="51"/>
                  <a:pt x="26" y="53"/>
                </a:cubicBezTo>
                <a:close/>
                <a:moveTo>
                  <a:pt x="22" y="57"/>
                </a:moveTo>
                <a:cubicBezTo>
                  <a:pt x="22" y="68"/>
                  <a:pt x="22" y="210"/>
                  <a:pt x="22" y="210"/>
                </a:cubicBezTo>
                <a:cubicBezTo>
                  <a:pt x="0" y="231"/>
                  <a:pt x="0" y="231"/>
                  <a:pt x="0" y="231"/>
                </a:cubicBezTo>
                <a:cubicBezTo>
                  <a:pt x="0" y="241"/>
                  <a:pt x="0" y="294"/>
                  <a:pt x="0" y="294"/>
                </a:cubicBezTo>
                <a:cubicBezTo>
                  <a:pt x="7" y="303"/>
                  <a:pt x="7" y="303"/>
                  <a:pt x="7" y="303"/>
                </a:cubicBezTo>
                <a:cubicBezTo>
                  <a:pt x="7" y="408"/>
                  <a:pt x="7" y="408"/>
                  <a:pt x="7" y="408"/>
                </a:cubicBezTo>
                <a:moveTo>
                  <a:pt x="7" y="408"/>
                </a:moveTo>
                <a:cubicBezTo>
                  <a:pt x="5" y="408"/>
                  <a:pt x="4" y="409"/>
                  <a:pt x="4" y="411"/>
                </a:cubicBezTo>
                <a:cubicBezTo>
                  <a:pt x="4" y="413"/>
                  <a:pt x="5" y="415"/>
                  <a:pt x="7" y="415"/>
                </a:cubicBezTo>
                <a:cubicBezTo>
                  <a:pt x="9" y="415"/>
                  <a:pt x="11" y="413"/>
                  <a:pt x="11" y="411"/>
                </a:cubicBezTo>
                <a:cubicBezTo>
                  <a:pt x="11" y="409"/>
                  <a:pt x="9" y="408"/>
                  <a:pt x="7" y="408"/>
                </a:cubicBezTo>
                <a:close/>
                <a:moveTo>
                  <a:pt x="26" y="420"/>
                </a:moveTo>
                <a:cubicBezTo>
                  <a:pt x="26" y="411"/>
                  <a:pt x="26" y="411"/>
                  <a:pt x="26" y="411"/>
                </a:cubicBezTo>
                <a:cubicBezTo>
                  <a:pt x="15" y="404"/>
                  <a:pt x="15" y="404"/>
                  <a:pt x="15" y="404"/>
                </a:cubicBezTo>
                <a:cubicBezTo>
                  <a:pt x="15" y="300"/>
                  <a:pt x="15" y="300"/>
                  <a:pt x="15" y="300"/>
                </a:cubicBezTo>
                <a:cubicBezTo>
                  <a:pt x="26" y="290"/>
                  <a:pt x="26" y="290"/>
                  <a:pt x="26" y="290"/>
                </a:cubicBezTo>
                <a:cubicBezTo>
                  <a:pt x="26" y="236"/>
                  <a:pt x="26" y="236"/>
                  <a:pt x="26" y="236"/>
                </a:cubicBezTo>
                <a:cubicBezTo>
                  <a:pt x="39" y="224"/>
                  <a:pt x="39" y="224"/>
                  <a:pt x="39" y="224"/>
                </a:cubicBezTo>
                <a:cubicBezTo>
                  <a:pt x="39" y="23"/>
                  <a:pt x="39" y="23"/>
                  <a:pt x="39" y="23"/>
                </a:cubicBezTo>
                <a:cubicBezTo>
                  <a:pt x="32" y="17"/>
                  <a:pt x="32" y="17"/>
                  <a:pt x="32" y="17"/>
                </a:cubicBezTo>
                <a:cubicBezTo>
                  <a:pt x="32" y="8"/>
                  <a:pt x="32" y="8"/>
                  <a:pt x="32" y="8"/>
                </a:cubicBezTo>
                <a:moveTo>
                  <a:pt x="33" y="0"/>
                </a:moveTo>
                <a:cubicBezTo>
                  <a:pt x="31" y="0"/>
                  <a:pt x="29" y="2"/>
                  <a:pt x="29" y="4"/>
                </a:cubicBezTo>
                <a:cubicBezTo>
                  <a:pt x="29" y="6"/>
                  <a:pt x="31" y="8"/>
                  <a:pt x="33" y="8"/>
                </a:cubicBezTo>
                <a:cubicBezTo>
                  <a:pt x="35" y="8"/>
                  <a:pt x="36" y="6"/>
                  <a:pt x="36" y="4"/>
                </a:cubicBezTo>
                <a:cubicBezTo>
                  <a:pt x="36" y="2"/>
                  <a:pt x="35" y="0"/>
                  <a:pt x="33" y="0"/>
                </a:cubicBezTo>
                <a:close/>
                <a:moveTo>
                  <a:pt x="26" y="418"/>
                </a:moveTo>
                <a:cubicBezTo>
                  <a:pt x="24" y="418"/>
                  <a:pt x="22" y="420"/>
                  <a:pt x="22" y="422"/>
                </a:cubicBezTo>
                <a:cubicBezTo>
                  <a:pt x="22" y="424"/>
                  <a:pt x="24" y="426"/>
                  <a:pt x="26" y="426"/>
                </a:cubicBezTo>
                <a:cubicBezTo>
                  <a:pt x="28" y="426"/>
                  <a:pt x="29" y="424"/>
                  <a:pt x="29" y="422"/>
                </a:cubicBezTo>
                <a:cubicBezTo>
                  <a:pt x="29" y="420"/>
                  <a:pt x="28" y="418"/>
                  <a:pt x="26" y="418"/>
                </a:cubicBezTo>
                <a:close/>
                <a:moveTo>
                  <a:pt x="50" y="12"/>
                </a:moveTo>
                <a:cubicBezTo>
                  <a:pt x="50" y="232"/>
                  <a:pt x="50" y="232"/>
                  <a:pt x="50" y="232"/>
                </a:cubicBezTo>
                <a:cubicBezTo>
                  <a:pt x="39" y="242"/>
                  <a:pt x="39" y="242"/>
                  <a:pt x="39" y="242"/>
                </a:cubicBezTo>
                <a:cubicBezTo>
                  <a:pt x="39" y="377"/>
                  <a:pt x="39" y="377"/>
                  <a:pt x="39" y="377"/>
                </a:cubicBezTo>
                <a:cubicBezTo>
                  <a:pt x="45" y="386"/>
                  <a:pt x="45" y="386"/>
                  <a:pt x="45" y="386"/>
                </a:cubicBezTo>
                <a:cubicBezTo>
                  <a:pt x="45" y="475"/>
                  <a:pt x="45" y="475"/>
                  <a:pt x="45" y="475"/>
                </a:cubicBezTo>
                <a:moveTo>
                  <a:pt x="61" y="53"/>
                </a:moveTo>
                <a:cubicBezTo>
                  <a:pt x="61" y="241"/>
                  <a:pt x="61" y="241"/>
                  <a:pt x="61" y="241"/>
                </a:cubicBezTo>
                <a:cubicBezTo>
                  <a:pt x="50" y="252"/>
                  <a:pt x="50" y="252"/>
                  <a:pt x="50" y="252"/>
                </a:cubicBezTo>
                <a:cubicBezTo>
                  <a:pt x="50" y="370"/>
                  <a:pt x="50" y="370"/>
                  <a:pt x="50" y="370"/>
                </a:cubicBezTo>
                <a:cubicBezTo>
                  <a:pt x="61" y="380"/>
                  <a:pt x="61" y="380"/>
                  <a:pt x="61" y="380"/>
                </a:cubicBezTo>
                <a:cubicBezTo>
                  <a:pt x="61" y="433"/>
                  <a:pt x="61" y="433"/>
                  <a:pt x="61" y="433"/>
                </a:cubicBezTo>
                <a:moveTo>
                  <a:pt x="87" y="21"/>
                </a:moveTo>
                <a:cubicBezTo>
                  <a:pt x="87" y="252"/>
                  <a:pt x="87" y="252"/>
                  <a:pt x="87" y="252"/>
                </a:cubicBezTo>
                <a:cubicBezTo>
                  <a:pt x="75" y="267"/>
                  <a:pt x="75" y="267"/>
                  <a:pt x="75" y="267"/>
                </a:cubicBezTo>
                <a:cubicBezTo>
                  <a:pt x="75" y="359"/>
                  <a:pt x="75" y="359"/>
                  <a:pt x="75" y="359"/>
                </a:cubicBezTo>
                <a:cubicBezTo>
                  <a:pt x="87" y="369"/>
                  <a:pt x="87" y="369"/>
                  <a:pt x="87" y="369"/>
                </a:cubicBezTo>
                <a:cubicBezTo>
                  <a:pt x="87" y="469"/>
                  <a:pt x="87" y="469"/>
                  <a:pt x="87" y="469"/>
                </a:cubicBezTo>
                <a:cubicBezTo>
                  <a:pt x="134" y="517"/>
                  <a:pt x="134" y="517"/>
                  <a:pt x="134" y="517"/>
                </a:cubicBezTo>
                <a:cubicBezTo>
                  <a:pt x="134" y="524"/>
                  <a:pt x="134" y="524"/>
                  <a:pt x="134" y="524"/>
                </a:cubicBezTo>
                <a:moveTo>
                  <a:pt x="50" y="6"/>
                </a:moveTo>
                <a:cubicBezTo>
                  <a:pt x="48" y="6"/>
                  <a:pt x="46" y="8"/>
                  <a:pt x="46" y="10"/>
                </a:cubicBezTo>
                <a:cubicBezTo>
                  <a:pt x="46" y="12"/>
                  <a:pt x="48" y="13"/>
                  <a:pt x="50" y="13"/>
                </a:cubicBezTo>
                <a:cubicBezTo>
                  <a:pt x="52" y="13"/>
                  <a:pt x="54" y="12"/>
                  <a:pt x="54" y="10"/>
                </a:cubicBezTo>
                <a:cubicBezTo>
                  <a:pt x="54" y="8"/>
                  <a:pt x="52" y="6"/>
                  <a:pt x="50" y="6"/>
                </a:cubicBezTo>
                <a:close/>
                <a:moveTo>
                  <a:pt x="61" y="49"/>
                </a:moveTo>
                <a:cubicBezTo>
                  <a:pt x="59" y="49"/>
                  <a:pt x="57" y="50"/>
                  <a:pt x="57" y="52"/>
                </a:cubicBezTo>
                <a:cubicBezTo>
                  <a:pt x="57" y="54"/>
                  <a:pt x="59" y="56"/>
                  <a:pt x="61" y="56"/>
                </a:cubicBezTo>
                <a:cubicBezTo>
                  <a:pt x="63" y="56"/>
                  <a:pt x="64" y="54"/>
                  <a:pt x="64" y="52"/>
                </a:cubicBezTo>
                <a:cubicBezTo>
                  <a:pt x="64" y="50"/>
                  <a:pt x="63" y="49"/>
                  <a:pt x="61" y="49"/>
                </a:cubicBezTo>
                <a:close/>
                <a:moveTo>
                  <a:pt x="76" y="51"/>
                </a:moveTo>
                <a:cubicBezTo>
                  <a:pt x="76" y="243"/>
                  <a:pt x="76" y="243"/>
                  <a:pt x="76" y="243"/>
                </a:cubicBezTo>
                <a:cubicBezTo>
                  <a:pt x="72" y="247"/>
                  <a:pt x="61" y="257"/>
                  <a:pt x="61" y="257"/>
                </a:cubicBezTo>
                <a:cubicBezTo>
                  <a:pt x="61" y="364"/>
                  <a:pt x="61" y="364"/>
                  <a:pt x="61" y="364"/>
                </a:cubicBezTo>
                <a:cubicBezTo>
                  <a:pt x="73" y="377"/>
                  <a:pt x="73" y="377"/>
                  <a:pt x="73" y="377"/>
                </a:cubicBezTo>
                <a:cubicBezTo>
                  <a:pt x="73" y="472"/>
                  <a:pt x="73" y="472"/>
                  <a:pt x="73" y="472"/>
                </a:cubicBezTo>
                <a:moveTo>
                  <a:pt x="76" y="45"/>
                </a:moveTo>
                <a:cubicBezTo>
                  <a:pt x="74" y="45"/>
                  <a:pt x="73" y="47"/>
                  <a:pt x="73" y="49"/>
                </a:cubicBezTo>
                <a:cubicBezTo>
                  <a:pt x="73" y="51"/>
                  <a:pt x="74" y="52"/>
                  <a:pt x="76" y="52"/>
                </a:cubicBezTo>
                <a:cubicBezTo>
                  <a:pt x="78" y="52"/>
                  <a:pt x="80" y="51"/>
                  <a:pt x="80" y="49"/>
                </a:cubicBezTo>
                <a:cubicBezTo>
                  <a:pt x="80" y="47"/>
                  <a:pt x="78" y="45"/>
                  <a:pt x="76" y="45"/>
                </a:cubicBezTo>
                <a:close/>
                <a:moveTo>
                  <a:pt x="87" y="15"/>
                </a:moveTo>
                <a:cubicBezTo>
                  <a:pt x="85" y="15"/>
                  <a:pt x="84" y="17"/>
                  <a:pt x="84" y="19"/>
                </a:cubicBezTo>
                <a:cubicBezTo>
                  <a:pt x="84" y="21"/>
                  <a:pt x="85" y="22"/>
                  <a:pt x="87" y="22"/>
                </a:cubicBezTo>
                <a:cubicBezTo>
                  <a:pt x="89" y="22"/>
                  <a:pt x="91" y="21"/>
                  <a:pt x="91" y="19"/>
                </a:cubicBezTo>
                <a:cubicBezTo>
                  <a:pt x="91" y="17"/>
                  <a:pt x="89" y="15"/>
                  <a:pt x="87" y="15"/>
                </a:cubicBezTo>
                <a:close/>
                <a:moveTo>
                  <a:pt x="45" y="474"/>
                </a:moveTo>
                <a:cubicBezTo>
                  <a:pt x="43" y="474"/>
                  <a:pt x="41" y="476"/>
                  <a:pt x="41" y="478"/>
                </a:cubicBezTo>
                <a:cubicBezTo>
                  <a:pt x="41" y="480"/>
                  <a:pt x="43" y="481"/>
                  <a:pt x="45" y="481"/>
                </a:cubicBezTo>
                <a:cubicBezTo>
                  <a:pt x="47" y="481"/>
                  <a:pt x="48" y="480"/>
                  <a:pt x="48" y="478"/>
                </a:cubicBezTo>
                <a:cubicBezTo>
                  <a:pt x="48" y="476"/>
                  <a:pt x="47" y="474"/>
                  <a:pt x="45" y="474"/>
                </a:cubicBezTo>
                <a:close/>
                <a:moveTo>
                  <a:pt x="61" y="431"/>
                </a:moveTo>
                <a:cubicBezTo>
                  <a:pt x="59" y="431"/>
                  <a:pt x="57" y="432"/>
                  <a:pt x="57" y="434"/>
                </a:cubicBezTo>
                <a:cubicBezTo>
                  <a:pt x="57" y="436"/>
                  <a:pt x="59" y="438"/>
                  <a:pt x="61" y="438"/>
                </a:cubicBezTo>
                <a:cubicBezTo>
                  <a:pt x="63" y="438"/>
                  <a:pt x="64" y="436"/>
                  <a:pt x="64" y="434"/>
                </a:cubicBezTo>
                <a:cubicBezTo>
                  <a:pt x="64" y="432"/>
                  <a:pt x="63" y="431"/>
                  <a:pt x="61" y="431"/>
                </a:cubicBezTo>
                <a:close/>
                <a:moveTo>
                  <a:pt x="73" y="470"/>
                </a:moveTo>
                <a:cubicBezTo>
                  <a:pt x="71" y="470"/>
                  <a:pt x="69" y="472"/>
                  <a:pt x="69" y="474"/>
                </a:cubicBezTo>
                <a:cubicBezTo>
                  <a:pt x="69" y="476"/>
                  <a:pt x="71" y="478"/>
                  <a:pt x="73" y="478"/>
                </a:cubicBezTo>
                <a:cubicBezTo>
                  <a:pt x="75" y="478"/>
                  <a:pt x="76" y="476"/>
                  <a:pt x="76" y="474"/>
                </a:cubicBezTo>
                <a:cubicBezTo>
                  <a:pt x="76" y="472"/>
                  <a:pt x="75" y="470"/>
                  <a:pt x="73" y="470"/>
                </a:cubicBezTo>
                <a:close/>
                <a:moveTo>
                  <a:pt x="134" y="522"/>
                </a:moveTo>
                <a:cubicBezTo>
                  <a:pt x="132" y="522"/>
                  <a:pt x="130" y="524"/>
                  <a:pt x="130" y="526"/>
                </a:cubicBezTo>
                <a:cubicBezTo>
                  <a:pt x="130" y="528"/>
                  <a:pt x="132" y="530"/>
                  <a:pt x="134" y="530"/>
                </a:cubicBezTo>
                <a:cubicBezTo>
                  <a:pt x="136" y="530"/>
                  <a:pt x="138" y="528"/>
                  <a:pt x="138" y="526"/>
                </a:cubicBezTo>
                <a:cubicBezTo>
                  <a:pt x="138" y="524"/>
                  <a:pt x="136" y="522"/>
                  <a:pt x="134" y="522"/>
                </a:cubicBezTo>
                <a:close/>
                <a:moveTo>
                  <a:pt x="105" y="52"/>
                </a:moveTo>
                <a:cubicBezTo>
                  <a:pt x="105" y="267"/>
                  <a:pt x="105" y="267"/>
                  <a:pt x="105" y="267"/>
                </a:cubicBezTo>
                <a:cubicBezTo>
                  <a:pt x="97" y="272"/>
                  <a:pt x="97" y="272"/>
                  <a:pt x="97" y="272"/>
                </a:cubicBezTo>
                <a:cubicBezTo>
                  <a:pt x="97" y="438"/>
                  <a:pt x="97" y="438"/>
                  <a:pt x="97" y="438"/>
                </a:cubicBezTo>
                <a:cubicBezTo>
                  <a:pt x="151" y="489"/>
                  <a:pt x="151" y="489"/>
                  <a:pt x="151" y="489"/>
                </a:cubicBezTo>
                <a:cubicBezTo>
                  <a:pt x="151" y="546"/>
                  <a:pt x="151" y="546"/>
                  <a:pt x="151" y="546"/>
                </a:cubicBezTo>
                <a:cubicBezTo>
                  <a:pt x="142" y="551"/>
                  <a:pt x="142" y="551"/>
                  <a:pt x="142" y="551"/>
                </a:cubicBezTo>
                <a:moveTo>
                  <a:pt x="117" y="21"/>
                </a:moveTo>
                <a:cubicBezTo>
                  <a:pt x="117" y="70"/>
                  <a:pt x="117" y="70"/>
                  <a:pt x="117" y="70"/>
                </a:cubicBezTo>
                <a:cubicBezTo>
                  <a:pt x="113" y="75"/>
                  <a:pt x="113" y="75"/>
                  <a:pt x="113" y="75"/>
                </a:cubicBezTo>
                <a:cubicBezTo>
                  <a:pt x="113" y="272"/>
                  <a:pt x="113" y="272"/>
                  <a:pt x="113" y="272"/>
                </a:cubicBezTo>
                <a:cubicBezTo>
                  <a:pt x="105" y="280"/>
                  <a:pt x="105" y="280"/>
                  <a:pt x="105" y="280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59" y="485"/>
                  <a:pt x="159" y="485"/>
                  <a:pt x="159" y="485"/>
                </a:cubicBezTo>
                <a:cubicBezTo>
                  <a:pt x="159" y="566"/>
                  <a:pt x="159" y="566"/>
                  <a:pt x="159" y="566"/>
                </a:cubicBezTo>
                <a:moveTo>
                  <a:pt x="155" y="143"/>
                </a:moveTo>
                <a:cubicBezTo>
                  <a:pt x="134" y="164"/>
                  <a:pt x="134" y="164"/>
                  <a:pt x="134" y="164"/>
                </a:cubicBezTo>
                <a:cubicBezTo>
                  <a:pt x="134" y="379"/>
                  <a:pt x="134" y="379"/>
                  <a:pt x="134" y="379"/>
                </a:cubicBezTo>
                <a:cubicBezTo>
                  <a:pt x="155" y="403"/>
                  <a:pt x="155" y="403"/>
                  <a:pt x="155" y="403"/>
                </a:cubicBezTo>
                <a:cubicBezTo>
                  <a:pt x="155" y="449"/>
                  <a:pt x="155" y="449"/>
                  <a:pt x="155" y="449"/>
                </a:cubicBezTo>
                <a:moveTo>
                  <a:pt x="105" y="46"/>
                </a:moveTo>
                <a:cubicBezTo>
                  <a:pt x="103" y="46"/>
                  <a:pt x="101" y="48"/>
                  <a:pt x="101" y="50"/>
                </a:cubicBezTo>
                <a:cubicBezTo>
                  <a:pt x="101" y="52"/>
                  <a:pt x="103" y="53"/>
                  <a:pt x="105" y="53"/>
                </a:cubicBezTo>
                <a:cubicBezTo>
                  <a:pt x="107" y="53"/>
                  <a:pt x="108" y="52"/>
                  <a:pt x="108" y="50"/>
                </a:cubicBezTo>
                <a:cubicBezTo>
                  <a:pt x="108" y="48"/>
                  <a:pt x="107" y="46"/>
                  <a:pt x="105" y="46"/>
                </a:cubicBezTo>
                <a:close/>
                <a:moveTo>
                  <a:pt x="117" y="15"/>
                </a:moveTo>
                <a:cubicBezTo>
                  <a:pt x="115" y="15"/>
                  <a:pt x="114" y="17"/>
                  <a:pt x="114" y="19"/>
                </a:cubicBezTo>
                <a:cubicBezTo>
                  <a:pt x="114" y="21"/>
                  <a:pt x="115" y="22"/>
                  <a:pt x="117" y="22"/>
                </a:cubicBezTo>
                <a:cubicBezTo>
                  <a:pt x="119" y="22"/>
                  <a:pt x="121" y="21"/>
                  <a:pt x="121" y="19"/>
                </a:cubicBezTo>
                <a:cubicBezTo>
                  <a:pt x="121" y="17"/>
                  <a:pt x="119" y="15"/>
                  <a:pt x="117" y="15"/>
                </a:cubicBezTo>
                <a:close/>
                <a:moveTo>
                  <a:pt x="157" y="137"/>
                </a:moveTo>
                <a:cubicBezTo>
                  <a:pt x="155" y="137"/>
                  <a:pt x="154" y="139"/>
                  <a:pt x="154" y="141"/>
                </a:cubicBezTo>
                <a:cubicBezTo>
                  <a:pt x="154" y="143"/>
                  <a:pt x="155" y="145"/>
                  <a:pt x="157" y="145"/>
                </a:cubicBezTo>
                <a:cubicBezTo>
                  <a:pt x="159" y="145"/>
                  <a:pt x="161" y="143"/>
                  <a:pt x="161" y="141"/>
                </a:cubicBezTo>
                <a:cubicBezTo>
                  <a:pt x="161" y="139"/>
                  <a:pt x="159" y="137"/>
                  <a:pt x="157" y="137"/>
                </a:cubicBezTo>
                <a:close/>
                <a:moveTo>
                  <a:pt x="155" y="449"/>
                </a:moveTo>
                <a:cubicBezTo>
                  <a:pt x="153" y="449"/>
                  <a:pt x="152" y="450"/>
                  <a:pt x="152" y="452"/>
                </a:cubicBezTo>
                <a:cubicBezTo>
                  <a:pt x="152" y="454"/>
                  <a:pt x="153" y="456"/>
                  <a:pt x="155" y="456"/>
                </a:cubicBezTo>
                <a:cubicBezTo>
                  <a:pt x="157" y="456"/>
                  <a:pt x="159" y="454"/>
                  <a:pt x="159" y="452"/>
                </a:cubicBezTo>
                <a:cubicBezTo>
                  <a:pt x="159" y="450"/>
                  <a:pt x="157" y="449"/>
                  <a:pt x="155" y="449"/>
                </a:cubicBezTo>
                <a:close/>
                <a:moveTo>
                  <a:pt x="142" y="555"/>
                </a:moveTo>
                <a:cubicBezTo>
                  <a:pt x="143" y="554"/>
                  <a:pt x="144" y="552"/>
                  <a:pt x="144" y="550"/>
                </a:cubicBezTo>
                <a:cubicBezTo>
                  <a:pt x="143" y="548"/>
                  <a:pt x="141" y="547"/>
                  <a:pt x="139" y="548"/>
                </a:cubicBezTo>
                <a:cubicBezTo>
                  <a:pt x="137" y="549"/>
                  <a:pt x="136" y="551"/>
                  <a:pt x="137" y="553"/>
                </a:cubicBezTo>
                <a:cubicBezTo>
                  <a:pt x="138" y="555"/>
                  <a:pt x="140" y="556"/>
                  <a:pt x="142" y="555"/>
                </a:cubicBezTo>
                <a:close/>
                <a:moveTo>
                  <a:pt x="160" y="572"/>
                </a:moveTo>
                <a:cubicBezTo>
                  <a:pt x="162" y="571"/>
                  <a:pt x="163" y="569"/>
                  <a:pt x="162" y="567"/>
                </a:cubicBezTo>
                <a:cubicBezTo>
                  <a:pt x="161" y="565"/>
                  <a:pt x="159" y="564"/>
                  <a:pt x="157" y="565"/>
                </a:cubicBezTo>
                <a:cubicBezTo>
                  <a:pt x="156" y="566"/>
                  <a:pt x="155" y="568"/>
                  <a:pt x="155" y="570"/>
                </a:cubicBezTo>
                <a:cubicBezTo>
                  <a:pt x="156" y="572"/>
                  <a:pt x="158" y="572"/>
                  <a:pt x="160" y="572"/>
                </a:cubicBezTo>
                <a:close/>
                <a:moveTo>
                  <a:pt x="183" y="491"/>
                </a:moveTo>
                <a:cubicBezTo>
                  <a:pt x="173" y="499"/>
                  <a:pt x="173" y="499"/>
                  <a:pt x="173" y="499"/>
                </a:cubicBezTo>
                <a:cubicBezTo>
                  <a:pt x="173" y="536"/>
                  <a:pt x="173" y="536"/>
                  <a:pt x="173" y="536"/>
                </a:cubicBezTo>
                <a:moveTo>
                  <a:pt x="185" y="485"/>
                </a:moveTo>
                <a:cubicBezTo>
                  <a:pt x="183" y="485"/>
                  <a:pt x="181" y="487"/>
                  <a:pt x="181" y="489"/>
                </a:cubicBezTo>
                <a:cubicBezTo>
                  <a:pt x="181" y="491"/>
                  <a:pt x="183" y="492"/>
                  <a:pt x="185" y="492"/>
                </a:cubicBezTo>
                <a:cubicBezTo>
                  <a:pt x="187" y="492"/>
                  <a:pt x="188" y="491"/>
                  <a:pt x="188" y="489"/>
                </a:cubicBezTo>
                <a:cubicBezTo>
                  <a:pt x="188" y="487"/>
                  <a:pt x="187" y="485"/>
                  <a:pt x="185" y="485"/>
                </a:cubicBezTo>
                <a:close/>
                <a:moveTo>
                  <a:pt x="173" y="535"/>
                </a:moveTo>
                <a:cubicBezTo>
                  <a:pt x="171" y="535"/>
                  <a:pt x="169" y="537"/>
                  <a:pt x="169" y="539"/>
                </a:cubicBezTo>
                <a:cubicBezTo>
                  <a:pt x="169" y="541"/>
                  <a:pt x="171" y="542"/>
                  <a:pt x="173" y="542"/>
                </a:cubicBezTo>
                <a:cubicBezTo>
                  <a:pt x="175" y="542"/>
                  <a:pt x="176" y="541"/>
                  <a:pt x="176" y="539"/>
                </a:cubicBezTo>
                <a:cubicBezTo>
                  <a:pt x="176" y="537"/>
                  <a:pt x="175" y="535"/>
                  <a:pt x="173" y="535"/>
                </a:cubicBezTo>
                <a:close/>
              </a:path>
            </a:pathLst>
          </a:custGeom>
          <a:noFill/>
          <a:ln w="14288" cap="flat">
            <a:solidFill>
              <a:schemeClr val="bg2">
                <a:lumMod val="60000"/>
                <a:lumOff val="4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5" name="Freeform 31"/>
          <p:cNvSpPr>
            <a:spLocks noEditPoints="1"/>
          </p:cNvSpPr>
          <p:nvPr/>
        </p:nvSpPr>
        <p:spPr bwMode="auto">
          <a:xfrm rot="5400000">
            <a:off x="9468121" y="3573222"/>
            <a:ext cx="1337101" cy="4062382"/>
          </a:xfrm>
          <a:custGeom>
            <a:avLst/>
            <a:gdLst>
              <a:gd name="T0" fmla="*/ 18 w 188"/>
              <a:gd name="T1" fmla="*/ 53 h 572"/>
              <a:gd name="T2" fmla="*/ 22 w 188"/>
              <a:gd name="T3" fmla="*/ 57 h 572"/>
              <a:gd name="T4" fmla="*/ 0 w 188"/>
              <a:gd name="T5" fmla="*/ 294 h 572"/>
              <a:gd name="T6" fmla="*/ 7 w 188"/>
              <a:gd name="T7" fmla="*/ 408 h 572"/>
              <a:gd name="T8" fmla="*/ 11 w 188"/>
              <a:gd name="T9" fmla="*/ 411 h 572"/>
              <a:gd name="T10" fmla="*/ 26 w 188"/>
              <a:gd name="T11" fmla="*/ 411 h 572"/>
              <a:gd name="T12" fmla="*/ 26 w 188"/>
              <a:gd name="T13" fmla="*/ 290 h 572"/>
              <a:gd name="T14" fmla="*/ 39 w 188"/>
              <a:gd name="T15" fmla="*/ 23 h 572"/>
              <a:gd name="T16" fmla="*/ 33 w 188"/>
              <a:gd name="T17" fmla="*/ 0 h 572"/>
              <a:gd name="T18" fmla="*/ 36 w 188"/>
              <a:gd name="T19" fmla="*/ 4 h 572"/>
              <a:gd name="T20" fmla="*/ 22 w 188"/>
              <a:gd name="T21" fmla="*/ 422 h 572"/>
              <a:gd name="T22" fmla="*/ 26 w 188"/>
              <a:gd name="T23" fmla="*/ 418 h 572"/>
              <a:gd name="T24" fmla="*/ 39 w 188"/>
              <a:gd name="T25" fmla="*/ 242 h 572"/>
              <a:gd name="T26" fmla="*/ 45 w 188"/>
              <a:gd name="T27" fmla="*/ 475 h 572"/>
              <a:gd name="T28" fmla="*/ 50 w 188"/>
              <a:gd name="T29" fmla="*/ 252 h 572"/>
              <a:gd name="T30" fmla="*/ 61 w 188"/>
              <a:gd name="T31" fmla="*/ 433 h 572"/>
              <a:gd name="T32" fmla="*/ 75 w 188"/>
              <a:gd name="T33" fmla="*/ 267 h 572"/>
              <a:gd name="T34" fmla="*/ 87 w 188"/>
              <a:gd name="T35" fmla="*/ 469 h 572"/>
              <a:gd name="T36" fmla="*/ 50 w 188"/>
              <a:gd name="T37" fmla="*/ 6 h 572"/>
              <a:gd name="T38" fmla="*/ 54 w 188"/>
              <a:gd name="T39" fmla="*/ 10 h 572"/>
              <a:gd name="T40" fmla="*/ 57 w 188"/>
              <a:gd name="T41" fmla="*/ 52 h 572"/>
              <a:gd name="T42" fmla="*/ 61 w 188"/>
              <a:gd name="T43" fmla="*/ 49 h 572"/>
              <a:gd name="T44" fmla="*/ 61 w 188"/>
              <a:gd name="T45" fmla="*/ 257 h 572"/>
              <a:gd name="T46" fmla="*/ 73 w 188"/>
              <a:gd name="T47" fmla="*/ 472 h 572"/>
              <a:gd name="T48" fmla="*/ 76 w 188"/>
              <a:gd name="T49" fmla="*/ 52 h 572"/>
              <a:gd name="T50" fmla="*/ 87 w 188"/>
              <a:gd name="T51" fmla="*/ 15 h 572"/>
              <a:gd name="T52" fmla="*/ 91 w 188"/>
              <a:gd name="T53" fmla="*/ 19 h 572"/>
              <a:gd name="T54" fmla="*/ 41 w 188"/>
              <a:gd name="T55" fmla="*/ 478 h 572"/>
              <a:gd name="T56" fmla="*/ 45 w 188"/>
              <a:gd name="T57" fmla="*/ 474 h 572"/>
              <a:gd name="T58" fmla="*/ 61 w 188"/>
              <a:gd name="T59" fmla="*/ 438 h 572"/>
              <a:gd name="T60" fmla="*/ 73 w 188"/>
              <a:gd name="T61" fmla="*/ 470 h 572"/>
              <a:gd name="T62" fmla="*/ 76 w 188"/>
              <a:gd name="T63" fmla="*/ 474 h 572"/>
              <a:gd name="T64" fmla="*/ 130 w 188"/>
              <a:gd name="T65" fmla="*/ 526 h 572"/>
              <a:gd name="T66" fmla="*/ 134 w 188"/>
              <a:gd name="T67" fmla="*/ 522 h 572"/>
              <a:gd name="T68" fmla="*/ 97 w 188"/>
              <a:gd name="T69" fmla="*/ 272 h 572"/>
              <a:gd name="T70" fmla="*/ 151 w 188"/>
              <a:gd name="T71" fmla="*/ 546 h 572"/>
              <a:gd name="T72" fmla="*/ 117 w 188"/>
              <a:gd name="T73" fmla="*/ 70 h 572"/>
              <a:gd name="T74" fmla="*/ 105 w 188"/>
              <a:gd name="T75" fmla="*/ 280 h 572"/>
              <a:gd name="T76" fmla="*/ 159 w 188"/>
              <a:gd name="T77" fmla="*/ 566 h 572"/>
              <a:gd name="T78" fmla="*/ 134 w 188"/>
              <a:gd name="T79" fmla="*/ 379 h 572"/>
              <a:gd name="T80" fmla="*/ 105 w 188"/>
              <a:gd name="T81" fmla="*/ 46 h 572"/>
              <a:gd name="T82" fmla="*/ 108 w 188"/>
              <a:gd name="T83" fmla="*/ 50 h 572"/>
              <a:gd name="T84" fmla="*/ 114 w 188"/>
              <a:gd name="T85" fmla="*/ 19 h 572"/>
              <a:gd name="T86" fmla="*/ 117 w 188"/>
              <a:gd name="T87" fmla="*/ 15 h 572"/>
              <a:gd name="T88" fmla="*/ 157 w 188"/>
              <a:gd name="T89" fmla="*/ 145 h 572"/>
              <a:gd name="T90" fmla="*/ 155 w 188"/>
              <a:gd name="T91" fmla="*/ 449 h 572"/>
              <a:gd name="T92" fmla="*/ 159 w 188"/>
              <a:gd name="T93" fmla="*/ 452 h 572"/>
              <a:gd name="T94" fmla="*/ 144 w 188"/>
              <a:gd name="T95" fmla="*/ 550 h 572"/>
              <a:gd name="T96" fmla="*/ 142 w 188"/>
              <a:gd name="T97" fmla="*/ 555 h 572"/>
              <a:gd name="T98" fmla="*/ 157 w 188"/>
              <a:gd name="T99" fmla="*/ 565 h 572"/>
              <a:gd name="T100" fmla="*/ 183 w 188"/>
              <a:gd name="T101" fmla="*/ 491 h 572"/>
              <a:gd name="T102" fmla="*/ 185 w 188"/>
              <a:gd name="T103" fmla="*/ 485 h 572"/>
              <a:gd name="T104" fmla="*/ 188 w 188"/>
              <a:gd name="T105" fmla="*/ 489 h 572"/>
              <a:gd name="T106" fmla="*/ 169 w 188"/>
              <a:gd name="T107" fmla="*/ 539 h 572"/>
              <a:gd name="T108" fmla="*/ 173 w 188"/>
              <a:gd name="T109" fmla="*/ 535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88" h="572">
                <a:moveTo>
                  <a:pt x="26" y="53"/>
                </a:moveTo>
                <a:cubicBezTo>
                  <a:pt x="26" y="55"/>
                  <a:pt x="24" y="57"/>
                  <a:pt x="22" y="57"/>
                </a:cubicBezTo>
                <a:cubicBezTo>
                  <a:pt x="20" y="57"/>
                  <a:pt x="18" y="55"/>
                  <a:pt x="18" y="53"/>
                </a:cubicBezTo>
                <a:cubicBezTo>
                  <a:pt x="18" y="51"/>
                  <a:pt x="20" y="50"/>
                  <a:pt x="22" y="50"/>
                </a:cubicBezTo>
                <a:cubicBezTo>
                  <a:pt x="24" y="50"/>
                  <a:pt x="26" y="51"/>
                  <a:pt x="26" y="53"/>
                </a:cubicBezTo>
                <a:close/>
                <a:moveTo>
                  <a:pt x="22" y="57"/>
                </a:moveTo>
                <a:cubicBezTo>
                  <a:pt x="22" y="68"/>
                  <a:pt x="22" y="210"/>
                  <a:pt x="22" y="210"/>
                </a:cubicBezTo>
                <a:cubicBezTo>
                  <a:pt x="0" y="231"/>
                  <a:pt x="0" y="231"/>
                  <a:pt x="0" y="231"/>
                </a:cubicBezTo>
                <a:cubicBezTo>
                  <a:pt x="0" y="241"/>
                  <a:pt x="0" y="294"/>
                  <a:pt x="0" y="294"/>
                </a:cubicBezTo>
                <a:cubicBezTo>
                  <a:pt x="7" y="303"/>
                  <a:pt x="7" y="303"/>
                  <a:pt x="7" y="303"/>
                </a:cubicBezTo>
                <a:cubicBezTo>
                  <a:pt x="7" y="408"/>
                  <a:pt x="7" y="408"/>
                  <a:pt x="7" y="408"/>
                </a:cubicBezTo>
                <a:moveTo>
                  <a:pt x="7" y="408"/>
                </a:moveTo>
                <a:cubicBezTo>
                  <a:pt x="5" y="408"/>
                  <a:pt x="4" y="409"/>
                  <a:pt x="4" y="411"/>
                </a:cubicBezTo>
                <a:cubicBezTo>
                  <a:pt x="4" y="413"/>
                  <a:pt x="5" y="415"/>
                  <a:pt x="7" y="415"/>
                </a:cubicBezTo>
                <a:cubicBezTo>
                  <a:pt x="9" y="415"/>
                  <a:pt x="11" y="413"/>
                  <a:pt x="11" y="411"/>
                </a:cubicBezTo>
                <a:cubicBezTo>
                  <a:pt x="11" y="409"/>
                  <a:pt x="9" y="408"/>
                  <a:pt x="7" y="408"/>
                </a:cubicBezTo>
                <a:close/>
                <a:moveTo>
                  <a:pt x="26" y="420"/>
                </a:moveTo>
                <a:cubicBezTo>
                  <a:pt x="26" y="411"/>
                  <a:pt x="26" y="411"/>
                  <a:pt x="26" y="411"/>
                </a:cubicBezTo>
                <a:cubicBezTo>
                  <a:pt x="15" y="404"/>
                  <a:pt x="15" y="404"/>
                  <a:pt x="15" y="404"/>
                </a:cubicBezTo>
                <a:cubicBezTo>
                  <a:pt x="15" y="300"/>
                  <a:pt x="15" y="300"/>
                  <a:pt x="15" y="300"/>
                </a:cubicBezTo>
                <a:cubicBezTo>
                  <a:pt x="26" y="290"/>
                  <a:pt x="26" y="290"/>
                  <a:pt x="26" y="290"/>
                </a:cubicBezTo>
                <a:cubicBezTo>
                  <a:pt x="26" y="236"/>
                  <a:pt x="26" y="236"/>
                  <a:pt x="26" y="236"/>
                </a:cubicBezTo>
                <a:cubicBezTo>
                  <a:pt x="39" y="224"/>
                  <a:pt x="39" y="224"/>
                  <a:pt x="39" y="224"/>
                </a:cubicBezTo>
                <a:cubicBezTo>
                  <a:pt x="39" y="23"/>
                  <a:pt x="39" y="23"/>
                  <a:pt x="39" y="23"/>
                </a:cubicBezTo>
                <a:cubicBezTo>
                  <a:pt x="32" y="17"/>
                  <a:pt x="32" y="17"/>
                  <a:pt x="32" y="17"/>
                </a:cubicBezTo>
                <a:cubicBezTo>
                  <a:pt x="32" y="8"/>
                  <a:pt x="32" y="8"/>
                  <a:pt x="32" y="8"/>
                </a:cubicBezTo>
                <a:moveTo>
                  <a:pt x="33" y="0"/>
                </a:moveTo>
                <a:cubicBezTo>
                  <a:pt x="31" y="0"/>
                  <a:pt x="29" y="2"/>
                  <a:pt x="29" y="4"/>
                </a:cubicBezTo>
                <a:cubicBezTo>
                  <a:pt x="29" y="6"/>
                  <a:pt x="31" y="8"/>
                  <a:pt x="33" y="8"/>
                </a:cubicBezTo>
                <a:cubicBezTo>
                  <a:pt x="35" y="8"/>
                  <a:pt x="36" y="6"/>
                  <a:pt x="36" y="4"/>
                </a:cubicBezTo>
                <a:cubicBezTo>
                  <a:pt x="36" y="2"/>
                  <a:pt x="35" y="0"/>
                  <a:pt x="33" y="0"/>
                </a:cubicBezTo>
                <a:close/>
                <a:moveTo>
                  <a:pt x="26" y="418"/>
                </a:moveTo>
                <a:cubicBezTo>
                  <a:pt x="24" y="418"/>
                  <a:pt x="22" y="420"/>
                  <a:pt x="22" y="422"/>
                </a:cubicBezTo>
                <a:cubicBezTo>
                  <a:pt x="22" y="424"/>
                  <a:pt x="24" y="426"/>
                  <a:pt x="26" y="426"/>
                </a:cubicBezTo>
                <a:cubicBezTo>
                  <a:pt x="28" y="426"/>
                  <a:pt x="29" y="424"/>
                  <a:pt x="29" y="422"/>
                </a:cubicBezTo>
                <a:cubicBezTo>
                  <a:pt x="29" y="420"/>
                  <a:pt x="28" y="418"/>
                  <a:pt x="26" y="418"/>
                </a:cubicBezTo>
                <a:close/>
                <a:moveTo>
                  <a:pt x="50" y="12"/>
                </a:moveTo>
                <a:cubicBezTo>
                  <a:pt x="50" y="232"/>
                  <a:pt x="50" y="232"/>
                  <a:pt x="50" y="232"/>
                </a:cubicBezTo>
                <a:cubicBezTo>
                  <a:pt x="39" y="242"/>
                  <a:pt x="39" y="242"/>
                  <a:pt x="39" y="242"/>
                </a:cubicBezTo>
                <a:cubicBezTo>
                  <a:pt x="39" y="377"/>
                  <a:pt x="39" y="377"/>
                  <a:pt x="39" y="377"/>
                </a:cubicBezTo>
                <a:cubicBezTo>
                  <a:pt x="45" y="386"/>
                  <a:pt x="45" y="386"/>
                  <a:pt x="45" y="386"/>
                </a:cubicBezTo>
                <a:cubicBezTo>
                  <a:pt x="45" y="475"/>
                  <a:pt x="45" y="475"/>
                  <a:pt x="45" y="475"/>
                </a:cubicBezTo>
                <a:moveTo>
                  <a:pt x="61" y="53"/>
                </a:moveTo>
                <a:cubicBezTo>
                  <a:pt x="61" y="241"/>
                  <a:pt x="61" y="241"/>
                  <a:pt x="61" y="241"/>
                </a:cubicBezTo>
                <a:cubicBezTo>
                  <a:pt x="50" y="252"/>
                  <a:pt x="50" y="252"/>
                  <a:pt x="50" y="252"/>
                </a:cubicBezTo>
                <a:cubicBezTo>
                  <a:pt x="50" y="370"/>
                  <a:pt x="50" y="370"/>
                  <a:pt x="50" y="370"/>
                </a:cubicBezTo>
                <a:cubicBezTo>
                  <a:pt x="61" y="380"/>
                  <a:pt x="61" y="380"/>
                  <a:pt x="61" y="380"/>
                </a:cubicBezTo>
                <a:cubicBezTo>
                  <a:pt x="61" y="433"/>
                  <a:pt x="61" y="433"/>
                  <a:pt x="61" y="433"/>
                </a:cubicBezTo>
                <a:moveTo>
                  <a:pt x="87" y="21"/>
                </a:moveTo>
                <a:cubicBezTo>
                  <a:pt x="87" y="252"/>
                  <a:pt x="87" y="252"/>
                  <a:pt x="87" y="252"/>
                </a:cubicBezTo>
                <a:cubicBezTo>
                  <a:pt x="75" y="267"/>
                  <a:pt x="75" y="267"/>
                  <a:pt x="75" y="267"/>
                </a:cubicBezTo>
                <a:cubicBezTo>
                  <a:pt x="75" y="359"/>
                  <a:pt x="75" y="359"/>
                  <a:pt x="75" y="359"/>
                </a:cubicBezTo>
                <a:cubicBezTo>
                  <a:pt x="87" y="369"/>
                  <a:pt x="87" y="369"/>
                  <a:pt x="87" y="369"/>
                </a:cubicBezTo>
                <a:cubicBezTo>
                  <a:pt x="87" y="469"/>
                  <a:pt x="87" y="469"/>
                  <a:pt x="87" y="469"/>
                </a:cubicBezTo>
                <a:cubicBezTo>
                  <a:pt x="134" y="517"/>
                  <a:pt x="134" y="517"/>
                  <a:pt x="134" y="517"/>
                </a:cubicBezTo>
                <a:cubicBezTo>
                  <a:pt x="134" y="524"/>
                  <a:pt x="134" y="524"/>
                  <a:pt x="134" y="524"/>
                </a:cubicBezTo>
                <a:moveTo>
                  <a:pt x="50" y="6"/>
                </a:moveTo>
                <a:cubicBezTo>
                  <a:pt x="48" y="6"/>
                  <a:pt x="46" y="8"/>
                  <a:pt x="46" y="10"/>
                </a:cubicBezTo>
                <a:cubicBezTo>
                  <a:pt x="46" y="12"/>
                  <a:pt x="48" y="13"/>
                  <a:pt x="50" y="13"/>
                </a:cubicBezTo>
                <a:cubicBezTo>
                  <a:pt x="52" y="13"/>
                  <a:pt x="54" y="12"/>
                  <a:pt x="54" y="10"/>
                </a:cubicBezTo>
                <a:cubicBezTo>
                  <a:pt x="54" y="8"/>
                  <a:pt x="52" y="6"/>
                  <a:pt x="50" y="6"/>
                </a:cubicBezTo>
                <a:close/>
                <a:moveTo>
                  <a:pt x="61" y="49"/>
                </a:moveTo>
                <a:cubicBezTo>
                  <a:pt x="59" y="49"/>
                  <a:pt x="57" y="50"/>
                  <a:pt x="57" y="52"/>
                </a:cubicBezTo>
                <a:cubicBezTo>
                  <a:pt x="57" y="54"/>
                  <a:pt x="59" y="56"/>
                  <a:pt x="61" y="56"/>
                </a:cubicBezTo>
                <a:cubicBezTo>
                  <a:pt x="63" y="56"/>
                  <a:pt x="64" y="54"/>
                  <a:pt x="64" y="52"/>
                </a:cubicBezTo>
                <a:cubicBezTo>
                  <a:pt x="64" y="50"/>
                  <a:pt x="63" y="49"/>
                  <a:pt x="61" y="49"/>
                </a:cubicBezTo>
                <a:close/>
                <a:moveTo>
                  <a:pt x="76" y="51"/>
                </a:moveTo>
                <a:cubicBezTo>
                  <a:pt x="76" y="243"/>
                  <a:pt x="76" y="243"/>
                  <a:pt x="76" y="243"/>
                </a:cubicBezTo>
                <a:cubicBezTo>
                  <a:pt x="72" y="247"/>
                  <a:pt x="61" y="257"/>
                  <a:pt x="61" y="257"/>
                </a:cubicBezTo>
                <a:cubicBezTo>
                  <a:pt x="61" y="364"/>
                  <a:pt x="61" y="364"/>
                  <a:pt x="61" y="364"/>
                </a:cubicBezTo>
                <a:cubicBezTo>
                  <a:pt x="73" y="377"/>
                  <a:pt x="73" y="377"/>
                  <a:pt x="73" y="377"/>
                </a:cubicBezTo>
                <a:cubicBezTo>
                  <a:pt x="73" y="472"/>
                  <a:pt x="73" y="472"/>
                  <a:pt x="73" y="472"/>
                </a:cubicBezTo>
                <a:moveTo>
                  <a:pt x="76" y="45"/>
                </a:moveTo>
                <a:cubicBezTo>
                  <a:pt x="74" y="45"/>
                  <a:pt x="73" y="47"/>
                  <a:pt x="73" y="49"/>
                </a:cubicBezTo>
                <a:cubicBezTo>
                  <a:pt x="73" y="51"/>
                  <a:pt x="74" y="52"/>
                  <a:pt x="76" y="52"/>
                </a:cubicBezTo>
                <a:cubicBezTo>
                  <a:pt x="78" y="52"/>
                  <a:pt x="80" y="51"/>
                  <a:pt x="80" y="49"/>
                </a:cubicBezTo>
                <a:cubicBezTo>
                  <a:pt x="80" y="47"/>
                  <a:pt x="78" y="45"/>
                  <a:pt x="76" y="45"/>
                </a:cubicBezTo>
                <a:close/>
                <a:moveTo>
                  <a:pt x="87" y="15"/>
                </a:moveTo>
                <a:cubicBezTo>
                  <a:pt x="85" y="15"/>
                  <a:pt x="84" y="17"/>
                  <a:pt x="84" y="19"/>
                </a:cubicBezTo>
                <a:cubicBezTo>
                  <a:pt x="84" y="21"/>
                  <a:pt x="85" y="22"/>
                  <a:pt x="87" y="22"/>
                </a:cubicBezTo>
                <a:cubicBezTo>
                  <a:pt x="89" y="22"/>
                  <a:pt x="91" y="21"/>
                  <a:pt x="91" y="19"/>
                </a:cubicBezTo>
                <a:cubicBezTo>
                  <a:pt x="91" y="17"/>
                  <a:pt x="89" y="15"/>
                  <a:pt x="87" y="15"/>
                </a:cubicBezTo>
                <a:close/>
                <a:moveTo>
                  <a:pt x="45" y="474"/>
                </a:moveTo>
                <a:cubicBezTo>
                  <a:pt x="43" y="474"/>
                  <a:pt x="41" y="476"/>
                  <a:pt x="41" y="478"/>
                </a:cubicBezTo>
                <a:cubicBezTo>
                  <a:pt x="41" y="480"/>
                  <a:pt x="43" y="481"/>
                  <a:pt x="45" y="481"/>
                </a:cubicBezTo>
                <a:cubicBezTo>
                  <a:pt x="47" y="481"/>
                  <a:pt x="48" y="480"/>
                  <a:pt x="48" y="478"/>
                </a:cubicBezTo>
                <a:cubicBezTo>
                  <a:pt x="48" y="476"/>
                  <a:pt x="47" y="474"/>
                  <a:pt x="45" y="474"/>
                </a:cubicBezTo>
                <a:close/>
                <a:moveTo>
                  <a:pt x="61" y="431"/>
                </a:moveTo>
                <a:cubicBezTo>
                  <a:pt x="59" y="431"/>
                  <a:pt x="57" y="432"/>
                  <a:pt x="57" y="434"/>
                </a:cubicBezTo>
                <a:cubicBezTo>
                  <a:pt x="57" y="436"/>
                  <a:pt x="59" y="438"/>
                  <a:pt x="61" y="438"/>
                </a:cubicBezTo>
                <a:cubicBezTo>
                  <a:pt x="63" y="438"/>
                  <a:pt x="64" y="436"/>
                  <a:pt x="64" y="434"/>
                </a:cubicBezTo>
                <a:cubicBezTo>
                  <a:pt x="64" y="432"/>
                  <a:pt x="63" y="431"/>
                  <a:pt x="61" y="431"/>
                </a:cubicBezTo>
                <a:close/>
                <a:moveTo>
                  <a:pt x="73" y="470"/>
                </a:moveTo>
                <a:cubicBezTo>
                  <a:pt x="71" y="470"/>
                  <a:pt x="69" y="472"/>
                  <a:pt x="69" y="474"/>
                </a:cubicBezTo>
                <a:cubicBezTo>
                  <a:pt x="69" y="476"/>
                  <a:pt x="71" y="478"/>
                  <a:pt x="73" y="478"/>
                </a:cubicBezTo>
                <a:cubicBezTo>
                  <a:pt x="75" y="478"/>
                  <a:pt x="76" y="476"/>
                  <a:pt x="76" y="474"/>
                </a:cubicBezTo>
                <a:cubicBezTo>
                  <a:pt x="76" y="472"/>
                  <a:pt x="75" y="470"/>
                  <a:pt x="73" y="470"/>
                </a:cubicBezTo>
                <a:close/>
                <a:moveTo>
                  <a:pt x="134" y="522"/>
                </a:moveTo>
                <a:cubicBezTo>
                  <a:pt x="132" y="522"/>
                  <a:pt x="130" y="524"/>
                  <a:pt x="130" y="526"/>
                </a:cubicBezTo>
                <a:cubicBezTo>
                  <a:pt x="130" y="528"/>
                  <a:pt x="132" y="530"/>
                  <a:pt x="134" y="530"/>
                </a:cubicBezTo>
                <a:cubicBezTo>
                  <a:pt x="136" y="530"/>
                  <a:pt x="138" y="528"/>
                  <a:pt x="138" y="526"/>
                </a:cubicBezTo>
                <a:cubicBezTo>
                  <a:pt x="138" y="524"/>
                  <a:pt x="136" y="522"/>
                  <a:pt x="134" y="522"/>
                </a:cubicBezTo>
                <a:close/>
                <a:moveTo>
                  <a:pt x="105" y="52"/>
                </a:moveTo>
                <a:cubicBezTo>
                  <a:pt x="105" y="267"/>
                  <a:pt x="105" y="267"/>
                  <a:pt x="105" y="267"/>
                </a:cubicBezTo>
                <a:cubicBezTo>
                  <a:pt x="97" y="272"/>
                  <a:pt x="97" y="272"/>
                  <a:pt x="97" y="272"/>
                </a:cubicBezTo>
                <a:cubicBezTo>
                  <a:pt x="97" y="438"/>
                  <a:pt x="97" y="438"/>
                  <a:pt x="97" y="438"/>
                </a:cubicBezTo>
                <a:cubicBezTo>
                  <a:pt x="151" y="489"/>
                  <a:pt x="151" y="489"/>
                  <a:pt x="151" y="489"/>
                </a:cubicBezTo>
                <a:cubicBezTo>
                  <a:pt x="151" y="546"/>
                  <a:pt x="151" y="546"/>
                  <a:pt x="151" y="546"/>
                </a:cubicBezTo>
                <a:cubicBezTo>
                  <a:pt x="142" y="551"/>
                  <a:pt x="142" y="551"/>
                  <a:pt x="142" y="551"/>
                </a:cubicBezTo>
                <a:moveTo>
                  <a:pt x="117" y="21"/>
                </a:moveTo>
                <a:cubicBezTo>
                  <a:pt x="117" y="70"/>
                  <a:pt x="117" y="70"/>
                  <a:pt x="117" y="70"/>
                </a:cubicBezTo>
                <a:cubicBezTo>
                  <a:pt x="113" y="75"/>
                  <a:pt x="113" y="75"/>
                  <a:pt x="113" y="75"/>
                </a:cubicBezTo>
                <a:cubicBezTo>
                  <a:pt x="113" y="272"/>
                  <a:pt x="113" y="272"/>
                  <a:pt x="113" y="272"/>
                </a:cubicBezTo>
                <a:cubicBezTo>
                  <a:pt x="105" y="280"/>
                  <a:pt x="105" y="280"/>
                  <a:pt x="105" y="280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59" y="485"/>
                  <a:pt x="159" y="485"/>
                  <a:pt x="159" y="485"/>
                </a:cubicBezTo>
                <a:cubicBezTo>
                  <a:pt x="159" y="566"/>
                  <a:pt x="159" y="566"/>
                  <a:pt x="159" y="566"/>
                </a:cubicBezTo>
                <a:moveTo>
                  <a:pt x="155" y="143"/>
                </a:moveTo>
                <a:cubicBezTo>
                  <a:pt x="134" y="164"/>
                  <a:pt x="134" y="164"/>
                  <a:pt x="134" y="164"/>
                </a:cubicBezTo>
                <a:cubicBezTo>
                  <a:pt x="134" y="379"/>
                  <a:pt x="134" y="379"/>
                  <a:pt x="134" y="379"/>
                </a:cubicBezTo>
                <a:cubicBezTo>
                  <a:pt x="155" y="403"/>
                  <a:pt x="155" y="403"/>
                  <a:pt x="155" y="403"/>
                </a:cubicBezTo>
                <a:cubicBezTo>
                  <a:pt x="155" y="449"/>
                  <a:pt x="155" y="449"/>
                  <a:pt x="155" y="449"/>
                </a:cubicBezTo>
                <a:moveTo>
                  <a:pt x="105" y="46"/>
                </a:moveTo>
                <a:cubicBezTo>
                  <a:pt x="103" y="46"/>
                  <a:pt x="101" y="48"/>
                  <a:pt x="101" y="50"/>
                </a:cubicBezTo>
                <a:cubicBezTo>
                  <a:pt x="101" y="52"/>
                  <a:pt x="103" y="53"/>
                  <a:pt x="105" y="53"/>
                </a:cubicBezTo>
                <a:cubicBezTo>
                  <a:pt x="107" y="53"/>
                  <a:pt x="108" y="52"/>
                  <a:pt x="108" y="50"/>
                </a:cubicBezTo>
                <a:cubicBezTo>
                  <a:pt x="108" y="48"/>
                  <a:pt x="107" y="46"/>
                  <a:pt x="105" y="46"/>
                </a:cubicBezTo>
                <a:close/>
                <a:moveTo>
                  <a:pt x="117" y="15"/>
                </a:moveTo>
                <a:cubicBezTo>
                  <a:pt x="115" y="15"/>
                  <a:pt x="114" y="17"/>
                  <a:pt x="114" y="19"/>
                </a:cubicBezTo>
                <a:cubicBezTo>
                  <a:pt x="114" y="21"/>
                  <a:pt x="115" y="22"/>
                  <a:pt x="117" y="22"/>
                </a:cubicBezTo>
                <a:cubicBezTo>
                  <a:pt x="119" y="22"/>
                  <a:pt x="121" y="21"/>
                  <a:pt x="121" y="19"/>
                </a:cubicBezTo>
                <a:cubicBezTo>
                  <a:pt x="121" y="17"/>
                  <a:pt x="119" y="15"/>
                  <a:pt x="117" y="15"/>
                </a:cubicBezTo>
                <a:close/>
                <a:moveTo>
                  <a:pt x="157" y="137"/>
                </a:moveTo>
                <a:cubicBezTo>
                  <a:pt x="155" y="137"/>
                  <a:pt x="154" y="139"/>
                  <a:pt x="154" y="141"/>
                </a:cubicBezTo>
                <a:cubicBezTo>
                  <a:pt x="154" y="143"/>
                  <a:pt x="155" y="145"/>
                  <a:pt x="157" y="145"/>
                </a:cubicBezTo>
                <a:cubicBezTo>
                  <a:pt x="159" y="145"/>
                  <a:pt x="161" y="143"/>
                  <a:pt x="161" y="141"/>
                </a:cubicBezTo>
                <a:cubicBezTo>
                  <a:pt x="161" y="139"/>
                  <a:pt x="159" y="137"/>
                  <a:pt x="157" y="137"/>
                </a:cubicBezTo>
                <a:close/>
                <a:moveTo>
                  <a:pt x="155" y="449"/>
                </a:moveTo>
                <a:cubicBezTo>
                  <a:pt x="153" y="449"/>
                  <a:pt x="152" y="450"/>
                  <a:pt x="152" y="452"/>
                </a:cubicBezTo>
                <a:cubicBezTo>
                  <a:pt x="152" y="454"/>
                  <a:pt x="153" y="456"/>
                  <a:pt x="155" y="456"/>
                </a:cubicBezTo>
                <a:cubicBezTo>
                  <a:pt x="157" y="456"/>
                  <a:pt x="159" y="454"/>
                  <a:pt x="159" y="452"/>
                </a:cubicBezTo>
                <a:cubicBezTo>
                  <a:pt x="159" y="450"/>
                  <a:pt x="157" y="449"/>
                  <a:pt x="155" y="449"/>
                </a:cubicBezTo>
                <a:close/>
                <a:moveTo>
                  <a:pt x="142" y="555"/>
                </a:moveTo>
                <a:cubicBezTo>
                  <a:pt x="143" y="554"/>
                  <a:pt x="144" y="552"/>
                  <a:pt x="144" y="550"/>
                </a:cubicBezTo>
                <a:cubicBezTo>
                  <a:pt x="143" y="548"/>
                  <a:pt x="141" y="547"/>
                  <a:pt x="139" y="548"/>
                </a:cubicBezTo>
                <a:cubicBezTo>
                  <a:pt x="137" y="549"/>
                  <a:pt x="136" y="551"/>
                  <a:pt x="137" y="553"/>
                </a:cubicBezTo>
                <a:cubicBezTo>
                  <a:pt x="138" y="555"/>
                  <a:pt x="140" y="556"/>
                  <a:pt x="142" y="555"/>
                </a:cubicBezTo>
                <a:close/>
                <a:moveTo>
                  <a:pt x="160" y="572"/>
                </a:moveTo>
                <a:cubicBezTo>
                  <a:pt x="162" y="571"/>
                  <a:pt x="163" y="569"/>
                  <a:pt x="162" y="567"/>
                </a:cubicBezTo>
                <a:cubicBezTo>
                  <a:pt x="161" y="565"/>
                  <a:pt x="159" y="564"/>
                  <a:pt x="157" y="565"/>
                </a:cubicBezTo>
                <a:cubicBezTo>
                  <a:pt x="156" y="566"/>
                  <a:pt x="155" y="568"/>
                  <a:pt x="155" y="570"/>
                </a:cubicBezTo>
                <a:cubicBezTo>
                  <a:pt x="156" y="572"/>
                  <a:pt x="158" y="572"/>
                  <a:pt x="160" y="572"/>
                </a:cubicBezTo>
                <a:close/>
                <a:moveTo>
                  <a:pt x="183" y="491"/>
                </a:moveTo>
                <a:cubicBezTo>
                  <a:pt x="173" y="499"/>
                  <a:pt x="173" y="499"/>
                  <a:pt x="173" y="499"/>
                </a:cubicBezTo>
                <a:cubicBezTo>
                  <a:pt x="173" y="536"/>
                  <a:pt x="173" y="536"/>
                  <a:pt x="173" y="536"/>
                </a:cubicBezTo>
                <a:moveTo>
                  <a:pt x="185" y="485"/>
                </a:moveTo>
                <a:cubicBezTo>
                  <a:pt x="183" y="485"/>
                  <a:pt x="181" y="487"/>
                  <a:pt x="181" y="489"/>
                </a:cubicBezTo>
                <a:cubicBezTo>
                  <a:pt x="181" y="491"/>
                  <a:pt x="183" y="492"/>
                  <a:pt x="185" y="492"/>
                </a:cubicBezTo>
                <a:cubicBezTo>
                  <a:pt x="187" y="492"/>
                  <a:pt x="188" y="491"/>
                  <a:pt x="188" y="489"/>
                </a:cubicBezTo>
                <a:cubicBezTo>
                  <a:pt x="188" y="487"/>
                  <a:pt x="187" y="485"/>
                  <a:pt x="185" y="485"/>
                </a:cubicBezTo>
                <a:close/>
                <a:moveTo>
                  <a:pt x="173" y="535"/>
                </a:moveTo>
                <a:cubicBezTo>
                  <a:pt x="171" y="535"/>
                  <a:pt x="169" y="537"/>
                  <a:pt x="169" y="539"/>
                </a:cubicBezTo>
                <a:cubicBezTo>
                  <a:pt x="169" y="541"/>
                  <a:pt x="171" y="542"/>
                  <a:pt x="173" y="542"/>
                </a:cubicBezTo>
                <a:cubicBezTo>
                  <a:pt x="175" y="542"/>
                  <a:pt x="176" y="541"/>
                  <a:pt x="176" y="539"/>
                </a:cubicBezTo>
                <a:cubicBezTo>
                  <a:pt x="176" y="537"/>
                  <a:pt x="175" y="535"/>
                  <a:pt x="173" y="535"/>
                </a:cubicBezTo>
                <a:close/>
              </a:path>
            </a:pathLst>
          </a:custGeom>
          <a:noFill/>
          <a:ln w="14288" cap="flat">
            <a:solidFill>
              <a:schemeClr val="bg2">
                <a:lumMod val="60000"/>
                <a:lumOff val="4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26" name="Freeform 31"/>
          <p:cNvSpPr>
            <a:spLocks noEditPoints="1"/>
          </p:cNvSpPr>
          <p:nvPr/>
        </p:nvSpPr>
        <p:spPr bwMode="auto">
          <a:xfrm rot="5400000">
            <a:off x="5216623" y="3308185"/>
            <a:ext cx="1597171" cy="4852526"/>
          </a:xfrm>
          <a:custGeom>
            <a:avLst/>
            <a:gdLst>
              <a:gd name="T0" fmla="*/ 18 w 188"/>
              <a:gd name="T1" fmla="*/ 53 h 572"/>
              <a:gd name="T2" fmla="*/ 22 w 188"/>
              <a:gd name="T3" fmla="*/ 57 h 572"/>
              <a:gd name="T4" fmla="*/ 0 w 188"/>
              <a:gd name="T5" fmla="*/ 294 h 572"/>
              <a:gd name="T6" fmla="*/ 7 w 188"/>
              <a:gd name="T7" fmla="*/ 408 h 572"/>
              <a:gd name="T8" fmla="*/ 11 w 188"/>
              <a:gd name="T9" fmla="*/ 411 h 572"/>
              <a:gd name="T10" fmla="*/ 26 w 188"/>
              <a:gd name="T11" fmla="*/ 411 h 572"/>
              <a:gd name="T12" fmla="*/ 26 w 188"/>
              <a:gd name="T13" fmla="*/ 290 h 572"/>
              <a:gd name="T14" fmla="*/ 39 w 188"/>
              <a:gd name="T15" fmla="*/ 23 h 572"/>
              <a:gd name="T16" fmla="*/ 33 w 188"/>
              <a:gd name="T17" fmla="*/ 0 h 572"/>
              <a:gd name="T18" fmla="*/ 36 w 188"/>
              <a:gd name="T19" fmla="*/ 4 h 572"/>
              <a:gd name="T20" fmla="*/ 22 w 188"/>
              <a:gd name="T21" fmla="*/ 422 h 572"/>
              <a:gd name="T22" fmla="*/ 26 w 188"/>
              <a:gd name="T23" fmla="*/ 418 h 572"/>
              <a:gd name="T24" fmla="*/ 39 w 188"/>
              <a:gd name="T25" fmla="*/ 242 h 572"/>
              <a:gd name="T26" fmla="*/ 45 w 188"/>
              <a:gd name="T27" fmla="*/ 475 h 572"/>
              <a:gd name="T28" fmla="*/ 50 w 188"/>
              <a:gd name="T29" fmla="*/ 252 h 572"/>
              <a:gd name="T30" fmla="*/ 61 w 188"/>
              <a:gd name="T31" fmla="*/ 433 h 572"/>
              <a:gd name="T32" fmla="*/ 75 w 188"/>
              <a:gd name="T33" fmla="*/ 267 h 572"/>
              <a:gd name="T34" fmla="*/ 87 w 188"/>
              <a:gd name="T35" fmla="*/ 469 h 572"/>
              <a:gd name="T36" fmla="*/ 50 w 188"/>
              <a:gd name="T37" fmla="*/ 6 h 572"/>
              <a:gd name="T38" fmla="*/ 54 w 188"/>
              <a:gd name="T39" fmla="*/ 10 h 572"/>
              <a:gd name="T40" fmla="*/ 57 w 188"/>
              <a:gd name="T41" fmla="*/ 52 h 572"/>
              <a:gd name="T42" fmla="*/ 61 w 188"/>
              <a:gd name="T43" fmla="*/ 49 h 572"/>
              <a:gd name="T44" fmla="*/ 61 w 188"/>
              <a:gd name="T45" fmla="*/ 257 h 572"/>
              <a:gd name="T46" fmla="*/ 73 w 188"/>
              <a:gd name="T47" fmla="*/ 472 h 572"/>
              <a:gd name="T48" fmla="*/ 76 w 188"/>
              <a:gd name="T49" fmla="*/ 52 h 572"/>
              <a:gd name="T50" fmla="*/ 87 w 188"/>
              <a:gd name="T51" fmla="*/ 15 h 572"/>
              <a:gd name="T52" fmla="*/ 91 w 188"/>
              <a:gd name="T53" fmla="*/ 19 h 572"/>
              <a:gd name="T54" fmla="*/ 41 w 188"/>
              <a:gd name="T55" fmla="*/ 478 h 572"/>
              <a:gd name="T56" fmla="*/ 45 w 188"/>
              <a:gd name="T57" fmla="*/ 474 h 572"/>
              <a:gd name="T58" fmla="*/ 61 w 188"/>
              <a:gd name="T59" fmla="*/ 438 h 572"/>
              <a:gd name="T60" fmla="*/ 73 w 188"/>
              <a:gd name="T61" fmla="*/ 470 h 572"/>
              <a:gd name="T62" fmla="*/ 76 w 188"/>
              <a:gd name="T63" fmla="*/ 474 h 572"/>
              <a:gd name="T64" fmla="*/ 130 w 188"/>
              <a:gd name="T65" fmla="*/ 526 h 572"/>
              <a:gd name="T66" fmla="*/ 134 w 188"/>
              <a:gd name="T67" fmla="*/ 522 h 572"/>
              <a:gd name="T68" fmla="*/ 97 w 188"/>
              <a:gd name="T69" fmla="*/ 272 h 572"/>
              <a:gd name="T70" fmla="*/ 151 w 188"/>
              <a:gd name="T71" fmla="*/ 546 h 572"/>
              <a:gd name="T72" fmla="*/ 117 w 188"/>
              <a:gd name="T73" fmla="*/ 70 h 572"/>
              <a:gd name="T74" fmla="*/ 105 w 188"/>
              <a:gd name="T75" fmla="*/ 280 h 572"/>
              <a:gd name="T76" fmla="*/ 159 w 188"/>
              <a:gd name="T77" fmla="*/ 566 h 572"/>
              <a:gd name="T78" fmla="*/ 134 w 188"/>
              <a:gd name="T79" fmla="*/ 379 h 572"/>
              <a:gd name="T80" fmla="*/ 105 w 188"/>
              <a:gd name="T81" fmla="*/ 46 h 572"/>
              <a:gd name="T82" fmla="*/ 108 w 188"/>
              <a:gd name="T83" fmla="*/ 50 h 572"/>
              <a:gd name="T84" fmla="*/ 114 w 188"/>
              <a:gd name="T85" fmla="*/ 19 h 572"/>
              <a:gd name="T86" fmla="*/ 117 w 188"/>
              <a:gd name="T87" fmla="*/ 15 h 572"/>
              <a:gd name="T88" fmla="*/ 157 w 188"/>
              <a:gd name="T89" fmla="*/ 145 h 572"/>
              <a:gd name="T90" fmla="*/ 155 w 188"/>
              <a:gd name="T91" fmla="*/ 449 h 572"/>
              <a:gd name="T92" fmla="*/ 159 w 188"/>
              <a:gd name="T93" fmla="*/ 452 h 572"/>
              <a:gd name="T94" fmla="*/ 144 w 188"/>
              <a:gd name="T95" fmla="*/ 550 h 572"/>
              <a:gd name="T96" fmla="*/ 142 w 188"/>
              <a:gd name="T97" fmla="*/ 555 h 572"/>
              <a:gd name="T98" fmla="*/ 157 w 188"/>
              <a:gd name="T99" fmla="*/ 565 h 572"/>
              <a:gd name="T100" fmla="*/ 183 w 188"/>
              <a:gd name="T101" fmla="*/ 491 h 572"/>
              <a:gd name="T102" fmla="*/ 185 w 188"/>
              <a:gd name="T103" fmla="*/ 485 h 572"/>
              <a:gd name="T104" fmla="*/ 188 w 188"/>
              <a:gd name="T105" fmla="*/ 489 h 572"/>
              <a:gd name="T106" fmla="*/ 169 w 188"/>
              <a:gd name="T107" fmla="*/ 539 h 572"/>
              <a:gd name="T108" fmla="*/ 173 w 188"/>
              <a:gd name="T109" fmla="*/ 535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88" h="572">
                <a:moveTo>
                  <a:pt x="26" y="53"/>
                </a:moveTo>
                <a:cubicBezTo>
                  <a:pt x="26" y="55"/>
                  <a:pt x="24" y="57"/>
                  <a:pt x="22" y="57"/>
                </a:cubicBezTo>
                <a:cubicBezTo>
                  <a:pt x="20" y="57"/>
                  <a:pt x="18" y="55"/>
                  <a:pt x="18" y="53"/>
                </a:cubicBezTo>
                <a:cubicBezTo>
                  <a:pt x="18" y="51"/>
                  <a:pt x="20" y="50"/>
                  <a:pt x="22" y="50"/>
                </a:cubicBezTo>
                <a:cubicBezTo>
                  <a:pt x="24" y="50"/>
                  <a:pt x="26" y="51"/>
                  <a:pt x="26" y="53"/>
                </a:cubicBezTo>
                <a:close/>
                <a:moveTo>
                  <a:pt x="22" y="57"/>
                </a:moveTo>
                <a:cubicBezTo>
                  <a:pt x="22" y="68"/>
                  <a:pt x="22" y="210"/>
                  <a:pt x="22" y="210"/>
                </a:cubicBezTo>
                <a:cubicBezTo>
                  <a:pt x="0" y="231"/>
                  <a:pt x="0" y="231"/>
                  <a:pt x="0" y="231"/>
                </a:cubicBezTo>
                <a:cubicBezTo>
                  <a:pt x="0" y="241"/>
                  <a:pt x="0" y="294"/>
                  <a:pt x="0" y="294"/>
                </a:cubicBezTo>
                <a:cubicBezTo>
                  <a:pt x="7" y="303"/>
                  <a:pt x="7" y="303"/>
                  <a:pt x="7" y="303"/>
                </a:cubicBezTo>
                <a:cubicBezTo>
                  <a:pt x="7" y="408"/>
                  <a:pt x="7" y="408"/>
                  <a:pt x="7" y="408"/>
                </a:cubicBezTo>
                <a:moveTo>
                  <a:pt x="7" y="408"/>
                </a:moveTo>
                <a:cubicBezTo>
                  <a:pt x="5" y="408"/>
                  <a:pt x="4" y="409"/>
                  <a:pt x="4" y="411"/>
                </a:cubicBezTo>
                <a:cubicBezTo>
                  <a:pt x="4" y="413"/>
                  <a:pt x="5" y="415"/>
                  <a:pt x="7" y="415"/>
                </a:cubicBezTo>
                <a:cubicBezTo>
                  <a:pt x="9" y="415"/>
                  <a:pt x="11" y="413"/>
                  <a:pt x="11" y="411"/>
                </a:cubicBezTo>
                <a:cubicBezTo>
                  <a:pt x="11" y="409"/>
                  <a:pt x="9" y="408"/>
                  <a:pt x="7" y="408"/>
                </a:cubicBezTo>
                <a:close/>
                <a:moveTo>
                  <a:pt x="26" y="420"/>
                </a:moveTo>
                <a:cubicBezTo>
                  <a:pt x="26" y="411"/>
                  <a:pt x="26" y="411"/>
                  <a:pt x="26" y="411"/>
                </a:cubicBezTo>
                <a:cubicBezTo>
                  <a:pt x="15" y="404"/>
                  <a:pt x="15" y="404"/>
                  <a:pt x="15" y="404"/>
                </a:cubicBezTo>
                <a:cubicBezTo>
                  <a:pt x="15" y="300"/>
                  <a:pt x="15" y="300"/>
                  <a:pt x="15" y="300"/>
                </a:cubicBezTo>
                <a:cubicBezTo>
                  <a:pt x="26" y="290"/>
                  <a:pt x="26" y="290"/>
                  <a:pt x="26" y="290"/>
                </a:cubicBezTo>
                <a:cubicBezTo>
                  <a:pt x="26" y="236"/>
                  <a:pt x="26" y="236"/>
                  <a:pt x="26" y="236"/>
                </a:cubicBezTo>
                <a:cubicBezTo>
                  <a:pt x="39" y="224"/>
                  <a:pt x="39" y="224"/>
                  <a:pt x="39" y="224"/>
                </a:cubicBezTo>
                <a:cubicBezTo>
                  <a:pt x="39" y="23"/>
                  <a:pt x="39" y="23"/>
                  <a:pt x="39" y="23"/>
                </a:cubicBezTo>
                <a:cubicBezTo>
                  <a:pt x="32" y="17"/>
                  <a:pt x="32" y="17"/>
                  <a:pt x="32" y="17"/>
                </a:cubicBezTo>
                <a:cubicBezTo>
                  <a:pt x="32" y="8"/>
                  <a:pt x="32" y="8"/>
                  <a:pt x="32" y="8"/>
                </a:cubicBezTo>
                <a:moveTo>
                  <a:pt x="33" y="0"/>
                </a:moveTo>
                <a:cubicBezTo>
                  <a:pt x="31" y="0"/>
                  <a:pt x="29" y="2"/>
                  <a:pt x="29" y="4"/>
                </a:cubicBezTo>
                <a:cubicBezTo>
                  <a:pt x="29" y="6"/>
                  <a:pt x="31" y="8"/>
                  <a:pt x="33" y="8"/>
                </a:cubicBezTo>
                <a:cubicBezTo>
                  <a:pt x="35" y="8"/>
                  <a:pt x="36" y="6"/>
                  <a:pt x="36" y="4"/>
                </a:cubicBezTo>
                <a:cubicBezTo>
                  <a:pt x="36" y="2"/>
                  <a:pt x="35" y="0"/>
                  <a:pt x="33" y="0"/>
                </a:cubicBezTo>
                <a:close/>
                <a:moveTo>
                  <a:pt x="26" y="418"/>
                </a:moveTo>
                <a:cubicBezTo>
                  <a:pt x="24" y="418"/>
                  <a:pt x="22" y="420"/>
                  <a:pt x="22" y="422"/>
                </a:cubicBezTo>
                <a:cubicBezTo>
                  <a:pt x="22" y="424"/>
                  <a:pt x="24" y="426"/>
                  <a:pt x="26" y="426"/>
                </a:cubicBezTo>
                <a:cubicBezTo>
                  <a:pt x="28" y="426"/>
                  <a:pt x="29" y="424"/>
                  <a:pt x="29" y="422"/>
                </a:cubicBezTo>
                <a:cubicBezTo>
                  <a:pt x="29" y="420"/>
                  <a:pt x="28" y="418"/>
                  <a:pt x="26" y="418"/>
                </a:cubicBezTo>
                <a:close/>
                <a:moveTo>
                  <a:pt x="50" y="12"/>
                </a:moveTo>
                <a:cubicBezTo>
                  <a:pt x="50" y="232"/>
                  <a:pt x="50" y="232"/>
                  <a:pt x="50" y="232"/>
                </a:cubicBezTo>
                <a:cubicBezTo>
                  <a:pt x="39" y="242"/>
                  <a:pt x="39" y="242"/>
                  <a:pt x="39" y="242"/>
                </a:cubicBezTo>
                <a:cubicBezTo>
                  <a:pt x="39" y="377"/>
                  <a:pt x="39" y="377"/>
                  <a:pt x="39" y="377"/>
                </a:cubicBezTo>
                <a:cubicBezTo>
                  <a:pt x="45" y="386"/>
                  <a:pt x="45" y="386"/>
                  <a:pt x="45" y="386"/>
                </a:cubicBezTo>
                <a:cubicBezTo>
                  <a:pt x="45" y="475"/>
                  <a:pt x="45" y="475"/>
                  <a:pt x="45" y="475"/>
                </a:cubicBezTo>
                <a:moveTo>
                  <a:pt x="61" y="53"/>
                </a:moveTo>
                <a:cubicBezTo>
                  <a:pt x="61" y="241"/>
                  <a:pt x="61" y="241"/>
                  <a:pt x="61" y="241"/>
                </a:cubicBezTo>
                <a:cubicBezTo>
                  <a:pt x="50" y="252"/>
                  <a:pt x="50" y="252"/>
                  <a:pt x="50" y="252"/>
                </a:cubicBezTo>
                <a:cubicBezTo>
                  <a:pt x="50" y="370"/>
                  <a:pt x="50" y="370"/>
                  <a:pt x="50" y="370"/>
                </a:cubicBezTo>
                <a:cubicBezTo>
                  <a:pt x="61" y="380"/>
                  <a:pt x="61" y="380"/>
                  <a:pt x="61" y="380"/>
                </a:cubicBezTo>
                <a:cubicBezTo>
                  <a:pt x="61" y="433"/>
                  <a:pt x="61" y="433"/>
                  <a:pt x="61" y="433"/>
                </a:cubicBezTo>
                <a:moveTo>
                  <a:pt x="87" y="21"/>
                </a:moveTo>
                <a:cubicBezTo>
                  <a:pt x="87" y="252"/>
                  <a:pt x="87" y="252"/>
                  <a:pt x="87" y="252"/>
                </a:cubicBezTo>
                <a:cubicBezTo>
                  <a:pt x="75" y="267"/>
                  <a:pt x="75" y="267"/>
                  <a:pt x="75" y="267"/>
                </a:cubicBezTo>
                <a:cubicBezTo>
                  <a:pt x="75" y="359"/>
                  <a:pt x="75" y="359"/>
                  <a:pt x="75" y="359"/>
                </a:cubicBezTo>
                <a:cubicBezTo>
                  <a:pt x="87" y="369"/>
                  <a:pt x="87" y="369"/>
                  <a:pt x="87" y="369"/>
                </a:cubicBezTo>
                <a:cubicBezTo>
                  <a:pt x="87" y="469"/>
                  <a:pt x="87" y="469"/>
                  <a:pt x="87" y="469"/>
                </a:cubicBezTo>
                <a:cubicBezTo>
                  <a:pt x="134" y="517"/>
                  <a:pt x="134" y="517"/>
                  <a:pt x="134" y="517"/>
                </a:cubicBezTo>
                <a:cubicBezTo>
                  <a:pt x="134" y="524"/>
                  <a:pt x="134" y="524"/>
                  <a:pt x="134" y="524"/>
                </a:cubicBezTo>
                <a:moveTo>
                  <a:pt x="50" y="6"/>
                </a:moveTo>
                <a:cubicBezTo>
                  <a:pt x="48" y="6"/>
                  <a:pt x="46" y="8"/>
                  <a:pt x="46" y="10"/>
                </a:cubicBezTo>
                <a:cubicBezTo>
                  <a:pt x="46" y="12"/>
                  <a:pt x="48" y="13"/>
                  <a:pt x="50" y="13"/>
                </a:cubicBezTo>
                <a:cubicBezTo>
                  <a:pt x="52" y="13"/>
                  <a:pt x="54" y="12"/>
                  <a:pt x="54" y="10"/>
                </a:cubicBezTo>
                <a:cubicBezTo>
                  <a:pt x="54" y="8"/>
                  <a:pt x="52" y="6"/>
                  <a:pt x="50" y="6"/>
                </a:cubicBezTo>
                <a:close/>
                <a:moveTo>
                  <a:pt x="61" y="49"/>
                </a:moveTo>
                <a:cubicBezTo>
                  <a:pt x="59" y="49"/>
                  <a:pt x="57" y="50"/>
                  <a:pt x="57" y="52"/>
                </a:cubicBezTo>
                <a:cubicBezTo>
                  <a:pt x="57" y="54"/>
                  <a:pt x="59" y="56"/>
                  <a:pt x="61" y="56"/>
                </a:cubicBezTo>
                <a:cubicBezTo>
                  <a:pt x="63" y="56"/>
                  <a:pt x="64" y="54"/>
                  <a:pt x="64" y="52"/>
                </a:cubicBezTo>
                <a:cubicBezTo>
                  <a:pt x="64" y="50"/>
                  <a:pt x="63" y="49"/>
                  <a:pt x="61" y="49"/>
                </a:cubicBezTo>
                <a:close/>
                <a:moveTo>
                  <a:pt x="76" y="51"/>
                </a:moveTo>
                <a:cubicBezTo>
                  <a:pt x="76" y="243"/>
                  <a:pt x="76" y="243"/>
                  <a:pt x="76" y="243"/>
                </a:cubicBezTo>
                <a:cubicBezTo>
                  <a:pt x="72" y="247"/>
                  <a:pt x="61" y="257"/>
                  <a:pt x="61" y="257"/>
                </a:cubicBezTo>
                <a:cubicBezTo>
                  <a:pt x="61" y="364"/>
                  <a:pt x="61" y="364"/>
                  <a:pt x="61" y="364"/>
                </a:cubicBezTo>
                <a:cubicBezTo>
                  <a:pt x="73" y="377"/>
                  <a:pt x="73" y="377"/>
                  <a:pt x="73" y="377"/>
                </a:cubicBezTo>
                <a:cubicBezTo>
                  <a:pt x="73" y="472"/>
                  <a:pt x="73" y="472"/>
                  <a:pt x="73" y="472"/>
                </a:cubicBezTo>
                <a:moveTo>
                  <a:pt x="76" y="45"/>
                </a:moveTo>
                <a:cubicBezTo>
                  <a:pt x="74" y="45"/>
                  <a:pt x="73" y="47"/>
                  <a:pt x="73" y="49"/>
                </a:cubicBezTo>
                <a:cubicBezTo>
                  <a:pt x="73" y="51"/>
                  <a:pt x="74" y="52"/>
                  <a:pt x="76" y="52"/>
                </a:cubicBezTo>
                <a:cubicBezTo>
                  <a:pt x="78" y="52"/>
                  <a:pt x="80" y="51"/>
                  <a:pt x="80" y="49"/>
                </a:cubicBezTo>
                <a:cubicBezTo>
                  <a:pt x="80" y="47"/>
                  <a:pt x="78" y="45"/>
                  <a:pt x="76" y="45"/>
                </a:cubicBezTo>
                <a:close/>
                <a:moveTo>
                  <a:pt x="87" y="15"/>
                </a:moveTo>
                <a:cubicBezTo>
                  <a:pt x="85" y="15"/>
                  <a:pt x="84" y="17"/>
                  <a:pt x="84" y="19"/>
                </a:cubicBezTo>
                <a:cubicBezTo>
                  <a:pt x="84" y="21"/>
                  <a:pt x="85" y="22"/>
                  <a:pt x="87" y="22"/>
                </a:cubicBezTo>
                <a:cubicBezTo>
                  <a:pt x="89" y="22"/>
                  <a:pt x="91" y="21"/>
                  <a:pt x="91" y="19"/>
                </a:cubicBezTo>
                <a:cubicBezTo>
                  <a:pt x="91" y="17"/>
                  <a:pt x="89" y="15"/>
                  <a:pt x="87" y="15"/>
                </a:cubicBezTo>
                <a:close/>
                <a:moveTo>
                  <a:pt x="45" y="474"/>
                </a:moveTo>
                <a:cubicBezTo>
                  <a:pt x="43" y="474"/>
                  <a:pt x="41" y="476"/>
                  <a:pt x="41" y="478"/>
                </a:cubicBezTo>
                <a:cubicBezTo>
                  <a:pt x="41" y="480"/>
                  <a:pt x="43" y="481"/>
                  <a:pt x="45" y="481"/>
                </a:cubicBezTo>
                <a:cubicBezTo>
                  <a:pt x="47" y="481"/>
                  <a:pt x="48" y="480"/>
                  <a:pt x="48" y="478"/>
                </a:cubicBezTo>
                <a:cubicBezTo>
                  <a:pt x="48" y="476"/>
                  <a:pt x="47" y="474"/>
                  <a:pt x="45" y="474"/>
                </a:cubicBezTo>
                <a:close/>
                <a:moveTo>
                  <a:pt x="61" y="431"/>
                </a:moveTo>
                <a:cubicBezTo>
                  <a:pt x="59" y="431"/>
                  <a:pt x="57" y="432"/>
                  <a:pt x="57" y="434"/>
                </a:cubicBezTo>
                <a:cubicBezTo>
                  <a:pt x="57" y="436"/>
                  <a:pt x="59" y="438"/>
                  <a:pt x="61" y="438"/>
                </a:cubicBezTo>
                <a:cubicBezTo>
                  <a:pt x="63" y="438"/>
                  <a:pt x="64" y="436"/>
                  <a:pt x="64" y="434"/>
                </a:cubicBezTo>
                <a:cubicBezTo>
                  <a:pt x="64" y="432"/>
                  <a:pt x="63" y="431"/>
                  <a:pt x="61" y="431"/>
                </a:cubicBezTo>
                <a:close/>
                <a:moveTo>
                  <a:pt x="73" y="470"/>
                </a:moveTo>
                <a:cubicBezTo>
                  <a:pt x="71" y="470"/>
                  <a:pt x="69" y="472"/>
                  <a:pt x="69" y="474"/>
                </a:cubicBezTo>
                <a:cubicBezTo>
                  <a:pt x="69" y="476"/>
                  <a:pt x="71" y="478"/>
                  <a:pt x="73" y="478"/>
                </a:cubicBezTo>
                <a:cubicBezTo>
                  <a:pt x="75" y="478"/>
                  <a:pt x="76" y="476"/>
                  <a:pt x="76" y="474"/>
                </a:cubicBezTo>
                <a:cubicBezTo>
                  <a:pt x="76" y="472"/>
                  <a:pt x="75" y="470"/>
                  <a:pt x="73" y="470"/>
                </a:cubicBezTo>
                <a:close/>
                <a:moveTo>
                  <a:pt x="134" y="522"/>
                </a:moveTo>
                <a:cubicBezTo>
                  <a:pt x="132" y="522"/>
                  <a:pt x="130" y="524"/>
                  <a:pt x="130" y="526"/>
                </a:cubicBezTo>
                <a:cubicBezTo>
                  <a:pt x="130" y="528"/>
                  <a:pt x="132" y="530"/>
                  <a:pt x="134" y="530"/>
                </a:cubicBezTo>
                <a:cubicBezTo>
                  <a:pt x="136" y="530"/>
                  <a:pt x="138" y="528"/>
                  <a:pt x="138" y="526"/>
                </a:cubicBezTo>
                <a:cubicBezTo>
                  <a:pt x="138" y="524"/>
                  <a:pt x="136" y="522"/>
                  <a:pt x="134" y="522"/>
                </a:cubicBezTo>
                <a:close/>
                <a:moveTo>
                  <a:pt x="105" y="52"/>
                </a:moveTo>
                <a:cubicBezTo>
                  <a:pt x="105" y="267"/>
                  <a:pt x="105" y="267"/>
                  <a:pt x="105" y="267"/>
                </a:cubicBezTo>
                <a:cubicBezTo>
                  <a:pt x="97" y="272"/>
                  <a:pt x="97" y="272"/>
                  <a:pt x="97" y="272"/>
                </a:cubicBezTo>
                <a:cubicBezTo>
                  <a:pt x="97" y="438"/>
                  <a:pt x="97" y="438"/>
                  <a:pt x="97" y="438"/>
                </a:cubicBezTo>
                <a:cubicBezTo>
                  <a:pt x="151" y="489"/>
                  <a:pt x="151" y="489"/>
                  <a:pt x="151" y="489"/>
                </a:cubicBezTo>
                <a:cubicBezTo>
                  <a:pt x="151" y="546"/>
                  <a:pt x="151" y="546"/>
                  <a:pt x="151" y="546"/>
                </a:cubicBezTo>
                <a:cubicBezTo>
                  <a:pt x="142" y="551"/>
                  <a:pt x="142" y="551"/>
                  <a:pt x="142" y="551"/>
                </a:cubicBezTo>
                <a:moveTo>
                  <a:pt x="117" y="21"/>
                </a:moveTo>
                <a:cubicBezTo>
                  <a:pt x="117" y="70"/>
                  <a:pt x="117" y="70"/>
                  <a:pt x="117" y="70"/>
                </a:cubicBezTo>
                <a:cubicBezTo>
                  <a:pt x="113" y="75"/>
                  <a:pt x="113" y="75"/>
                  <a:pt x="113" y="75"/>
                </a:cubicBezTo>
                <a:cubicBezTo>
                  <a:pt x="113" y="272"/>
                  <a:pt x="113" y="272"/>
                  <a:pt x="113" y="272"/>
                </a:cubicBezTo>
                <a:cubicBezTo>
                  <a:pt x="105" y="280"/>
                  <a:pt x="105" y="280"/>
                  <a:pt x="105" y="280"/>
                </a:cubicBezTo>
                <a:cubicBezTo>
                  <a:pt x="105" y="434"/>
                  <a:pt x="105" y="434"/>
                  <a:pt x="105" y="434"/>
                </a:cubicBezTo>
                <a:cubicBezTo>
                  <a:pt x="159" y="485"/>
                  <a:pt x="159" y="485"/>
                  <a:pt x="159" y="485"/>
                </a:cubicBezTo>
                <a:cubicBezTo>
                  <a:pt x="159" y="566"/>
                  <a:pt x="159" y="566"/>
                  <a:pt x="159" y="566"/>
                </a:cubicBezTo>
                <a:moveTo>
                  <a:pt x="155" y="143"/>
                </a:moveTo>
                <a:cubicBezTo>
                  <a:pt x="134" y="164"/>
                  <a:pt x="134" y="164"/>
                  <a:pt x="134" y="164"/>
                </a:cubicBezTo>
                <a:cubicBezTo>
                  <a:pt x="134" y="379"/>
                  <a:pt x="134" y="379"/>
                  <a:pt x="134" y="379"/>
                </a:cubicBezTo>
                <a:cubicBezTo>
                  <a:pt x="155" y="403"/>
                  <a:pt x="155" y="403"/>
                  <a:pt x="155" y="403"/>
                </a:cubicBezTo>
                <a:cubicBezTo>
                  <a:pt x="155" y="449"/>
                  <a:pt x="155" y="449"/>
                  <a:pt x="155" y="449"/>
                </a:cubicBezTo>
                <a:moveTo>
                  <a:pt x="105" y="46"/>
                </a:moveTo>
                <a:cubicBezTo>
                  <a:pt x="103" y="46"/>
                  <a:pt x="101" y="48"/>
                  <a:pt x="101" y="50"/>
                </a:cubicBezTo>
                <a:cubicBezTo>
                  <a:pt x="101" y="52"/>
                  <a:pt x="103" y="53"/>
                  <a:pt x="105" y="53"/>
                </a:cubicBezTo>
                <a:cubicBezTo>
                  <a:pt x="107" y="53"/>
                  <a:pt x="108" y="52"/>
                  <a:pt x="108" y="50"/>
                </a:cubicBezTo>
                <a:cubicBezTo>
                  <a:pt x="108" y="48"/>
                  <a:pt x="107" y="46"/>
                  <a:pt x="105" y="46"/>
                </a:cubicBezTo>
                <a:close/>
                <a:moveTo>
                  <a:pt x="117" y="15"/>
                </a:moveTo>
                <a:cubicBezTo>
                  <a:pt x="115" y="15"/>
                  <a:pt x="114" y="17"/>
                  <a:pt x="114" y="19"/>
                </a:cubicBezTo>
                <a:cubicBezTo>
                  <a:pt x="114" y="21"/>
                  <a:pt x="115" y="22"/>
                  <a:pt x="117" y="22"/>
                </a:cubicBezTo>
                <a:cubicBezTo>
                  <a:pt x="119" y="22"/>
                  <a:pt x="121" y="21"/>
                  <a:pt x="121" y="19"/>
                </a:cubicBezTo>
                <a:cubicBezTo>
                  <a:pt x="121" y="17"/>
                  <a:pt x="119" y="15"/>
                  <a:pt x="117" y="15"/>
                </a:cubicBezTo>
                <a:close/>
                <a:moveTo>
                  <a:pt x="157" y="137"/>
                </a:moveTo>
                <a:cubicBezTo>
                  <a:pt x="155" y="137"/>
                  <a:pt x="154" y="139"/>
                  <a:pt x="154" y="141"/>
                </a:cubicBezTo>
                <a:cubicBezTo>
                  <a:pt x="154" y="143"/>
                  <a:pt x="155" y="145"/>
                  <a:pt x="157" y="145"/>
                </a:cubicBezTo>
                <a:cubicBezTo>
                  <a:pt x="159" y="145"/>
                  <a:pt x="161" y="143"/>
                  <a:pt x="161" y="141"/>
                </a:cubicBezTo>
                <a:cubicBezTo>
                  <a:pt x="161" y="139"/>
                  <a:pt x="159" y="137"/>
                  <a:pt x="157" y="137"/>
                </a:cubicBezTo>
                <a:close/>
                <a:moveTo>
                  <a:pt x="155" y="449"/>
                </a:moveTo>
                <a:cubicBezTo>
                  <a:pt x="153" y="449"/>
                  <a:pt x="152" y="450"/>
                  <a:pt x="152" y="452"/>
                </a:cubicBezTo>
                <a:cubicBezTo>
                  <a:pt x="152" y="454"/>
                  <a:pt x="153" y="456"/>
                  <a:pt x="155" y="456"/>
                </a:cubicBezTo>
                <a:cubicBezTo>
                  <a:pt x="157" y="456"/>
                  <a:pt x="159" y="454"/>
                  <a:pt x="159" y="452"/>
                </a:cubicBezTo>
                <a:cubicBezTo>
                  <a:pt x="159" y="450"/>
                  <a:pt x="157" y="449"/>
                  <a:pt x="155" y="449"/>
                </a:cubicBezTo>
                <a:close/>
                <a:moveTo>
                  <a:pt x="142" y="555"/>
                </a:moveTo>
                <a:cubicBezTo>
                  <a:pt x="143" y="554"/>
                  <a:pt x="144" y="552"/>
                  <a:pt x="144" y="550"/>
                </a:cubicBezTo>
                <a:cubicBezTo>
                  <a:pt x="143" y="548"/>
                  <a:pt x="141" y="547"/>
                  <a:pt x="139" y="548"/>
                </a:cubicBezTo>
                <a:cubicBezTo>
                  <a:pt x="137" y="549"/>
                  <a:pt x="136" y="551"/>
                  <a:pt x="137" y="553"/>
                </a:cubicBezTo>
                <a:cubicBezTo>
                  <a:pt x="138" y="555"/>
                  <a:pt x="140" y="556"/>
                  <a:pt x="142" y="555"/>
                </a:cubicBezTo>
                <a:close/>
                <a:moveTo>
                  <a:pt x="160" y="572"/>
                </a:moveTo>
                <a:cubicBezTo>
                  <a:pt x="162" y="571"/>
                  <a:pt x="163" y="569"/>
                  <a:pt x="162" y="567"/>
                </a:cubicBezTo>
                <a:cubicBezTo>
                  <a:pt x="161" y="565"/>
                  <a:pt x="159" y="564"/>
                  <a:pt x="157" y="565"/>
                </a:cubicBezTo>
                <a:cubicBezTo>
                  <a:pt x="156" y="566"/>
                  <a:pt x="155" y="568"/>
                  <a:pt x="155" y="570"/>
                </a:cubicBezTo>
                <a:cubicBezTo>
                  <a:pt x="156" y="572"/>
                  <a:pt x="158" y="572"/>
                  <a:pt x="160" y="572"/>
                </a:cubicBezTo>
                <a:close/>
                <a:moveTo>
                  <a:pt x="183" y="491"/>
                </a:moveTo>
                <a:cubicBezTo>
                  <a:pt x="173" y="499"/>
                  <a:pt x="173" y="499"/>
                  <a:pt x="173" y="499"/>
                </a:cubicBezTo>
                <a:cubicBezTo>
                  <a:pt x="173" y="536"/>
                  <a:pt x="173" y="536"/>
                  <a:pt x="173" y="536"/>
                </a:cubicBezTo>
                <a:moveTo>
                  <a:pt x="185" y="485"/>
                </a:moveTo>
                <a:cubicBezTo>
                  <a:pt x="183" y="485"/>
                  <a:pt x="181" y="487"/>
                  <a:pt x="181" y="489"/>
                </a:cubicBezTo>
                <a:cubicBezTo>
                  <a:pt x="181" y="491"/>
                  <a:pt x="183" y="492"/>
                  <a:pt x="185" y="492"/>
                </a:cubicBezTo>
                <a:cubicBezTo>
                  <a:pt x="187" y="492"/>
                  <a:pt x="188" y="491"/>
                  <a:pt x="188" y="489"/>
                </a:cubicBezTo>
                <a:cubicBezTo>
                  <a:pt x="188" y="487"/>
                  <a:pt x="187" y="485"/>
                  <a:pt x="185" y="485"/>
                </a:cubicBezTo>
                <a:close/>
                <a:moveTo>
                  <a:pt x="173" y="535"/>
                </a:moveTo>
                <a:cubicBezTo>
                  <a:pt x="171" y="535"/>
                  <a:pt x="169" y="537"/>
                  <a:pt x="169" y="539"/>
                </a:cubicBezTo>
                <a:cubicBezTo>
                  <a:pt x="169" y="541"/>
                  <a:pt x="171" y="542"/>
                  <a:pt x="173" y="542"/>
                </a:cubicBezTo>
                <a:cubicBezTo>
                  <a:pt x="175" y="542"/>
                  <a:pt x="176" y="541"/>
                  <a:pt x="176" y="539"/>
                </a:cubicBezTo>
                <a:cubicBezTo>
                  <a:pt x="176" y="537"/>
                  <a:pt x="175" y="535"/>
                  <a:pt x="173" y="535"/>
                </a:cubicBezTo>
                <a:close/>
              </a:path>
            </a:pathLst>
          </a:custGeom>
          <a:noFill/>
          <a:ln w="14288" cap="flat">
            <a:solidFill>
              <a:schemeClr val="bg2">
                <a:lumMod val="60000"/>
                <a:lumOff val="40000"/>
              </a:schemeClr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16106"/>
          <a:stretch/>
        </p:blipFill>
        <p:spPr>
          <a:xfrm>
            <a:off x="5084280" y="5127163"/>
            <a:ext cx="2595033" cy="1329113"/>
          </a:xfrm>
          <a:prstGeom prst="rect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5"/>
          <a:srcRect t="11944"/>
          <a:stretch/>
        </p:blipFill>
        <p:spPr>
          <a:xfrm>
            <a:off x="1072318" y="5127163"/>
            <a:ext cx="2615995" cy="1333008"/>
          </a:xfrm>
          <a:prstGeom prst="rect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</p:pic>
      <p:sp>
        <p:nvSpPr>
          <p:cNvPr id="17" name="Заголовок 1"/>
          <p:cNvSpPr txBox="1">
            <a:spLocks/>
          </p:cNvSpPr>
          <p:nvPr/>
        </p:nvSpPr>
        <p:spPr>
          <a:xfrm>
            <a:off x="7610340" y="4190251"/>
            <a:ext cx="3145392" cy="3727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l"/>
            <a:r>
              <a:rPr lang="ru-RU" sz="28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Кравченко К.Ю.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75280" y="5127163"/>
            <a:ext cx="2591284" cy="1329113"/>
          </a:xfrm>
          <a:prstGeom prst="rect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</p:pic>
      <p:cxnSp>
        <p:nvCxnSpPr>
          <p:cNvPr id="4" name="Прямая соединительная линия 3"/>
          <p:cNvCxnSpPr/>
          <p:nvPr/>
        </p:nvCxnSpPr>
        <p:spPr>
          <a:xfrm>
            <a:off x="-22550" y="4378819"/>
            <a:ext cx="76328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10254343" y="4378819"/>
            <a:ext cx="1913520" cy="0"/>
          </a:xfrm>
          <a:prstGeom prst="line">
            <a:avLst/>
          </a:prstGeom>
          <a:ln>
            <a:solidFill>
              <a:srgbClr val="FF26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9836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524110" y="282355"/>
            <a:ext cx="1120697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600" dirty="0">
                <a:latin typeface="+mn-lt"/>
              </a:rPr>
              <a:t>GARTHER’s </a:t>
            </a:r>
            <a:r>
              <a:rPr lang="ru-RU" sz="3600" dirty="0">
                <a:latin typeface="+mn-lt"/>
              </a:rPr>
              <a:t>«</a:t>
            </a:r>
            <a:r>
              <a:rPr lang="en-US" sz="3600" dirty="0">
                <a:latin typeface="+mn-lt"/>
              </a:rPr>
              <a:t>HYPE CYCLE</a:t>
            </a:r>
            <a:r>
              <a:rPr lang="ru-RU" sz="3600" dirty="0">
                <a:latin typeface="+mn-lt"/>
              </a:rPr>
              <a:t>»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9891134" y="6242945"/>
            <a:ext cx="101475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00" dirty="0">
                <a:latin typeface="+mn-lt"/>
              </a:rPr>
              <a:t>Время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68714" y="1153307"/>
            <a:ext cx="12675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00" dirty="0">
                <a:latin typeface="+mn-lt"/>
              </a:rPr>
              <a:t>Ожидания</a:t>
            </a:r>
          </a:p>
        </p:txBody>
      </p:sp>
      <p:cxnSp>
        <p:nvCxnSpPr>
          <p:cNvPr id="37" name="Прямая со стрелкой 36"/>
          <p:cNvCxnSpPr/>
          <p:nvPr/>
        </p:nvCxnSpPr>
        <p:spPr>
          <a:xfrm flipV="1">
            <a:off x="1821975" y="1153307"/>
            <a:ext cx="0" cy="5229238"/>
          </a:xfrm>
          <a:prstGeom prst="straightConnector1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37"/>
          <p:cNvCxnSpPr/>
          <p:nvPr/>
        </p:nvCxnSpPr>
        <p:spPr>
          <a:xfrm>
            <a:off x="1821975" y="6382545"/>
            <a:ext cx="7950287" cy="0"/>
          </a:xfrm>
          <a:prstGeom prst="straightConnector1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41"/>
          <a:stretch/>
        </p:blipFill>
        <p:spPr>
          <a:xfrm>
            <a:off x="1904896" y="1145777"/>
            <a:ext cx="7784445" cy="5186381"/>
          </a:xfrm>
          <a:prstGeom prst="rect">
            <a:avLst/>
          </a:prstGeom>
        </p:spPr>
      </p:pic>
      <p:sp>
        <p:nvSpPr>
          <p:cNvPr id="47" name="TextBox 46"/>
          <p:cNvSpPr txBox="1"/>
          <p:nvPr/>
        </p:nvSpPr>
        <p:spPr>
          <a:xfrm>
            <a:off x="7675042" y="2370605"/>
            <a:ext cx="332969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00" dirty="0">
                <a:solidFill>
                  <a:srgbClr val="1D46F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БАЗОВАЯ АВТОМАТИЗАЦИЯ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547835" y="1351913"/>
            <a:ext cx="290798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Пик чрезмерных ожиданий</a:t>
            </a:r>
          </a:p>
        </p:txBody>
      </p:sp>
      <p:sp>
        <p:nvSpPr>
          <p:cNvPr id="5" name="Полилиния 4"/>
          <p:cNvSpPr/>
          <p:nvPr/>
        </p:nvSpPr>
        <p:spPr>
          <a:xfrm>
            <a:off x="7666567" y="2700801"/>
            <a:ext cx="3106986" cy="365783"/>
          </a:xfrm>
          <a:custGeom>
            <a:avLst/>
            <a:gdLst>
              <a:gd name="connsiteX0" fmla="*/ 2620537 w 2620537"/>
              <a:gd name="connsiteY0" fmla="*/ 0 h 591014"/>
              <a:gd name="connsiteX1" fmla="*/ 0 w 2620537"/>
              <a:gd name="connsiteY1" fmla="*/ 0 h 591014"/>
              <a:gd name="connsiteX2" fmla="*/ 0 w 2620537"/>
              <a:gd name="connsiteY2" fmla="*/ 591014 h 591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20537" h="591014">
                <a:moveTo>
                  <a:pt x="2620537" y="0"/>
                </a:moveTo>
                <a:lnTo>
                  <a:pt x="0" y="0"/>
                </a:lnTo>
                <a:lnTo>
                  <a:pt x="0" y="591014"/>
                </a:lnTo>
              </a:path>
            </a:pathLst>
          </a:custGeom>
          <a:noFill/>
          <a:ln w="6350">
            <a:solidFill>
              <a:schemeClr val="bg2">
                <a:lumMod val="60000"/>
                <a:lumOff val="40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318ADCAB-66C9-A845-9D8A-66E5EFBFD2D1}"/>
              </a:ext>
            </a:extLst>
          </p:cNvPr>
          <p:cNvSpPr/>
          <p:nvPr/>
        </p:nvSpPr>
        <p:spPr>
          <a:xfrm rot="5246570">
            <a:off x="7047795" y="1621719"/>
            <a:ext cx="664281" cy="3113119"/>
          </a:xfrm>
          <a:prstGeom prst="ellipse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TextBox 17"/>
          <p:cNvSpPr txBox="1"/>
          <p:nvPr/>
        </p:nvSpPr>
        <p:spPr>
          <a:xfrm>
            <a:off x="2308786" y="5855538"/>
            <a:ext cx="28398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Триггер инновации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7291727" y="3223439"/>
            <a:ext cx="231573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Плато продуктивности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695282" y="4145822"/>
            <a:ext cx="231573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Склон просветления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663593" y="5347273"/>
            <a:ext cx="263719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ru-RU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Впадина разочарований</a:t>
            </a:r>
          </a:p>
        </p:txBody>
      </p:sp>
    </p:spTree>
    <p:extLst>
      <p:ext uri="{BB962C8B-B14F-4D97-AF65-F5344CB8AC3E}">
        <p14:creationId xmlns:p14="http://schemas.microsoft.com/office/powerpoint/2010/main" val="1563537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524110" y="282355"/>
            <a:ext cx="1120697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600" dirty="0">
                <a:latin typeface="+mn-lt"/>
              </a:rPr>
              <a:t>GARTHER’s </a:t>
            </a:r>
            <a:r>
              <a:rPr lang="ru-RU" sz="3600" dirty="0">
                <a:latin typeface="+mn-lt"/>
              </a:rPr>
              <a:t>«</a:t>
            </a:r>
            <a:r>
              <a:rPr lang="en-US" sz="3600" dirty="0">
                <a:latin typeface="+mn-lt"/>
              </a:rPr>
              <a:t>HYPE CYCLE</a:t>
            </a:r>
            <a:r>
              <a:rPr lang="ru-RU" sz="3600" dirty="0">
                <a:latin typeface="+mn-lt"/>
              </a:rPr>
              <a:t>»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9891134" y="6242945"/>
            <a:ext cx="101475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00" dirty="0">
                <a:latin typeface="+mn-lt"/>
              </a:rPr>
              <a:t>Время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68714" y="1153307"/>
            <a:ext cx="12675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00" dirty="0">
                <a:latin typeface="+mn-lt"/>
              </a:rPr>
              <a:t>Ожидания</a:t>
            </a:r>
          </a:p>
        </p:txBody>
      </p:sp>
      <p:cxnSp>
        <p:nvCxnSpPr>
          <p:cNvPr id="37" name="Прямая со стрелкой 36"/>
          <p:cNvCxnSpPr/>
          <p:nvPr/>
        </p:nvCxnSpPr>
        <p:spPr>
          <a:xfrm flipV="1">
            <a:off x="1821975" y="1153307"/>
            <a:ext cx="0" cy="5229238"/>
          </a:xfrm>
          <a:prstGeom prst="straightConnector1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37"/>
          <p:cNvCxnSpPr/>
          <p:nvPr/>
        </p:nvCxnSpPr>
        <p:spPr>
          <a:xfrm>
            <a:off x="1821975" y="6382545"/>
            <a:ext cx="7950287" cy="0"/>
          </a:xfrm>
          <a:prstGeom prst="straightConnector1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41"/>
          <a:stretch/>
        </p:blipFill>
        <p:spPr>
          <a:xfrm>
            <a:off x="1904896" y="1145777"/>
            <a:ext cx="7784445" cy="5186381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4072777" y="2480677"/>
            <a:ext cx="220475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00" dirty="0">
                <a:solidFill>
                  <a:srgbClr val="FF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ЦИФРОВИЗАЦИЯ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7675042" y="2370605"/>
            <a:ext cx="332969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00" dirty="0">
                <a:solidFill>
                  <a:srgbClr val="1D46F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БАЗОВАЯ АВТОМАТИЗАЦИЯ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547835" y="1351913"/>
            <a:ext cx="290798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Пик чрезмерных ожиданий</a:t>
            </a:r>
          </a:p>
        </p:txBody>
      </p:sp>
      <p:sp>
        <p:nvSpPr>
          <p:cNvPr id="5" name="Полилиния 4"/>
          <p:cNvSpPr/>
          <p:nvPr/>
        </p:nvSpPr>
        <p:spPr>
          <a:xfrm>
            <a:off x="7666567" y="2700801"/>
            <a:ext cx="3106986" cy="365783"/>
          </a:xfrm>
          <a:custGeom>
            <a:avLst/>
            <a:gdLst>
              <a:gd name="connsiteX0" fmla="*/ 2620537 w 2620537"/>
              <a:gd name="connsiteY0" fmla="*/ 0 h 591014"/>
              <a:gd name="connsiteX1" fmla="*/ 0 w 2620537"/>
              <a:gd name="connsiteY1" fmla="*/ 0 h 591014"/>
              <a:gd name="connsiteX2" fmla="*/ 0 w 2620537"/>
              <a:gd name="connsiteY2" fmla="*/ 591014 h 591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20537" h="591014">
                <a:moveTo>
                  <a:pt x="2620537" y="0"/>
                </a:moveTo>
                <a:lnTo>
                  <a:pt x="0" y="0"/>
                </a:lnTo>
                <a:lnTo>
                  <a:pt x="0" y="591014"/>
                </a:lnTo>
              </a:path>
            </a:pathLst>
          </a:custGeom>
          <a:noFill/>
          <a:ln w="6350">
            <a:solidFill>
              <a:schemeClr val="bg2">
                <a:lumMod val="60000"/>
                <a:lumOff val="40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 flipH="1">
            <a:off x="3766300" y="2828147"/>
            <a:ext cx="2378022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Овал 21">
            <a:extLst>
              <a:ext uri="{FF2B5EF4-FFF2-40B4-BE49-F238E27FC236}">
                <a16:creationId xmlns:a16="http://schemas.microsoft.com/office/drawing/2014/main" id="{318ADCAB-66C9-A845-9D8A-66E5EFBFD2D1}"/>
              </a:ext>
            </a:extLst>
          </p:cNvPr>
          <p:cNvSpPr/>
          <p:nvPr/>
        </p:nvSpPr>
        <p:spPr>
          <a:xfrm rot="5246570">
            <a:off x="7047795" y="1621719"/>
            <a:ext cx="664281" cy="3113119"/>
          </a:xfrm>
          <a:prstGeom prst="ellipse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олилиния 26">
            <a:extLst>
              <a:ext uri="{FF2B5EF4-FFF2-40B4-BE49-F238E27FC236}">
                <a16:creationId xmlns:a16="http://schemas.microsoft.com/office/drawing/2014/main" id="{035DBA30-217C-E346-BD32-CA13A142F662}"/>
              </a:ext>
            </a:extLst>
          </p:cNvPr>
          <p:cNvSpPr/>
          <p:nvPr/>
        </p:nvSpPr>
        <p:spPr>
          <a:xfrm rot="2899782">
            <a:off x="2363573" y="2887965"/>
            <a:ext cx="3423555" cy="1888116"/>
          </a:xfrm>
          <a:custGeom>
            <a:avLst/>
            <a:gdLst>
              <a:gd name="connsiteX0" fmla="*/ 52269 w 3423555"/>
              <a:gd name="connsiteY0" fmla="*/ 158810 h 1888116"/>
              <a:gd name="connsiteX1" fmla="*/ 1846659 w 3423555"/>
              <a:gd name="connsiteY1" fmla="*/ 463641 h 1888116"/>
              <a:gd name="connsiteX2" fmla="*/ 2160656 w 3423555"/>
              <a:gd name="connsiteY2" fmla="*/ 627946 h 1888116"/>
              <a:gd name="connsiteX3" fmla="*/ 2406197 w 3423555"/>
              <a:gd name="connsiteY3" fmla="*/ 778133 h 1888116"/>
              <a:gd name="connsiteX4" fmla="*/ 2407567 w 3423555"/>
              <a:gd name="connsiteY4" fmla="*/ 753147 h 1888116"/>
              <a:gd name="connsiteX5" fmla="*/ 2910348 w 3423555"/>
              <a:gd name="connsiteY5" fmla="*/ 0 h 1888116"/>
              <a:gd name="connsiteX6" fmla="*/ 3423555 w 3423555"/>
              <a:gd name="connsiteY6" fmla="*/ 943244 h 1888116"/>
              <a:gd name="connsiteX7" fmla="*/ 3197287 w 3423555"/>
              <a:gd name="connsiteY7" fmla="*/ 1725397 h 1888116"/>
              <a:gd name="connsiteX8" fmla="*/ 3177365 w 3423555"/>
              <a:gd name="connsiteY8" fmla="*/ 1745271 h 1888116"/>
              <a:gd name="connsiteX9" fmla="*/ 3151276 w 3423555"/>
              <a:gd name="connsiteY9" fmla="*/ 1782912 h 1888116"/>
              <a:gd name="connsiteX10" fmla="*/ 3102978 w 3423555"/>
              <a:gd name="connsiteY10" fmla="*/ 1821695 h 1888116"/>
              <a:gd name="connsiteX11" fmla="*/ 3046897 w 3423555"/>
              <a:gd name="connsiteY11" fmla="*/ 1848429 h 1888116"/>
              <a:gd name="connsiteX12" fmla="*/ 3013777 w 3423555"/>
              <a:gd name="connsiteY12" fmla="*/ 1867325 h 1888116"/>
              <a:gd name="connsiteX13" fmla="*/ 2910348 w 3423555"/>
              <a:gd name="connsiteY13" fmla="*/ 1886488 h 1888116"/>
              <a:gd name="connsiteX14" fmla="*/ 2881811 w 3423555"/>
              <a:gd name="connsiteY14" fmla="*/ 1883840 h 1888116"/>
              <a:gd name="connsiteX15" fmla="*/ 2876734 w 3423555"/>
              <a:gd name="connsiteY15" fmla="*/ 1884541 h 1888116"/>
              <a:gd name="connsiteX16" fmla="*/ 1356886 w 3423555"/>
              <a:gd name="connsiteY16" fmla="*/ 1478081 h 1888116"/>
              <a:gd name="connsiteX17" fmla="*/ 19060 w 3423555"/>
              <a:gd name="connsiteY17" fmla="*/ 206726 h 1888116"/>
              <a:gd name="connsiteX18" fmla="*/ 52269 w 3423555"/>
              <a:gd name="connsiteY18" fmla="*/ 158810 h 1888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423555" h="1888116">
                <a:moveTo>
                  <a:pt x="52269" y="158810"/>
                </a:moveTo>
                <a:cubicBezTo>
                  <a:pt x="256806" y="-57827"/>
                  <a:pt x="1027183" y="67997"/>
                  <a:pt x="1846659" y="463641"/>
                </a:cubicBezTo>
                <a:cubicBezTo>
                  <a:pt x="1955923" y="516393"/>
                  <a:pt x="2060887" y="571446"/>
                  <a:pt x="2160656" y="627946"/>
                </a:cubicBezTo>
                <a:lnTo>
                  <a:pt x="2406197" y="778133"/>
                </a:lnTo>
                <a:lnTo>
                  <a:pt x="2407567" y="753147"/>
                </a:lnTo>
                <a:cubicBezTo>
                  <a:pt x="2455422" y="323328"/>
                  <a:pt x="2662342" y="0"/>
                  <a:pt x="2910348" y="0"/>
                </a:cubicBezTo>
                <a:cubicBezTo>
                  <a:pt x="3193784" y="0"/>
                  <a:pt x="3423555" y="422305"/>
                  <a:pt x="3423555" y="943244"/>
                </a:cubicBezTo>
                <a:cubicBezTo>
                  <a:pt x="3423555" y="1268831"/>
                  <a:pt x="3333800" y="1555889"/>
                  <a:pt x="3197287" y="1725397"/>
                </a:cubicBezTo>
                <a:lnTo>
                  <a:pt x="3177365" y="1745271"/>
                </a:lnTo>
                <a:lnTo>
                  <a:pt x="3151276" y="1782912"/>
                </a:lnTo>
                <a:cubicBezTo>
                  <a:pt x="3137641" y="1797354"/>
                  <a:pt x="3121490" y="1810275"/>
                  <a:pt x="3102978" y="1821695"/>
                </a:cubicBezTo>
                <a:lnTo>
                  <a:pt x="3046897" y="1848429"/>
                </a:lnTo>
                <a:lnTo>
                  <a:pt x="3013777" y="1867325"/>
                </a:lnTo>
                <a:cubicBezTo>
                  <a:pt x="2980369" y="1879889"/>
                  <a:pt x="2945778" y="1886488"/>
                  <a:pt x="2910348" y="1886488"/>
                </a:cubicBezTo>
                <a:lnTo>
                  <a:pt x="2881811" y="1883840"/>
                </a:lnTo>
                <a:lnTo>
                  <a:pt x="2876734" y="1884541"/>
                </a:lnTo>
                <a:cubicBezTo>
                  <a:pt x="2532381" y="1913256"/>
                  <a:pt x="1957836" y="1768220"/>
                  <a:pt x="1356886" y="1478081"/>
                </a:cubicBezTo>
                <a:cubicBezTo>
                  <a:pt x="482778" y="1056061"/>
                  <a:pt x="-116187" y="486856"/>
                  <a:pt x="19060" y="206726"/>
                </a:cubicBezTo>
                <a:cubicBezTo>
                  <a:pt x="27513" y="189217"/>
                  <a:pt x="38634" y="173253"/>
                  <a:pt x="52269" y="158810"/>
                </a:cubicBezTo>
                <a:close/>
              </a:path>
            </a:pathLst>
          </a:cu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21" name="TextBox 20"/>
          <p:cNvSpPr txBox="1"/>
          <p:nvPr/>
        </p:nvSpPr>
        <p:spPr>
          <a:xfrm>
            <a:off x="7291727" y="3223439"/>
            <a:ext cx="231573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Плато продуктивности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308786" y="5855538"/>
            <a:ext cx="28398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Триггер инновации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695282" y="4145822"/>
            <a:ext cx="231573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Склон просветления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3663593" y="5347273"/>
            <a:ext cx="263719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ru-RU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Впадина разочарований</a:t>
            </a:r>
          </a:p>
        </p:txBody>
      </p:sp>
    </p:spTree>
    <p:extLst>
      <p:ext uri="{BB962C8B-B14F-4D97-AF65-F5344CB8AC3E}">
        <p14:creationId xmlns:p14="http://schemas.microsoft.com/office/powerpoint/2010/main" val="1886633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524110" y="282355"/>
            <a:ext cx="1120697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600" dirty="0">
                <a:latin typeface="+mn-lt"/>
              </a:rPr>
              <a:t>GARTHER’s </a:t>
            </a:r>
            <a:r>
              <a:rPr lang="ru-RU" sz="3600" dirty="0">
                <a:latin typeface="+mn-lt"/>
              </a:rPr>
              <a:t>«</a:t>
            </a:r>
            <a:r>
              <a:rPr lang="en-US" sz="3600" dirty="0">
                <a:latin typeface="+mn-lt"/>
              </a:rPr>
              <a:t>HYPE CYCLE</a:t>
            </a:r>
            <a:r>
              <a:rPr lang="ru-RU" sz="3600" dirty="0">
                <a:latin typeface="+mn-lt"/>
              </a:rPr>
              <a:t>»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9891134" y="6242945"/>
            <a:ext cx="101475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00" dirty="0">
                <a:latin typeface="+mn-lt"/>
              </a:rPr>
              <a:t>Время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68714" y="1153307"/>
            <a:ext cx="126752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00" dirty="0">
                <a:latin typeface="+mn-lt"/>
              </a:rPr>
              <a:t>Ожидания</a:t>
            </a:r>
          </a:p>
        </p:txBody>
      </p:sp>
      <p:cxnSp>
        <p:nvCxnSpPr>
          <p:cNvPr id="37" name="Прямая со стрелкой 36"/>
          <p:cNvCxnSpPr/>
          <p:nvPr/>
        </p:nvCxnSpPr>
        <p:spPr>
          <a:xfrm flipV="1">
            <a:off x="1821975" y="1153307"/>
            <a:ext cx="0" cy="5229238"/>
          </a:xfrm>
          <a:prstGeom prst="straightConnector1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37"/>
          <p:cNvCxnSpPr/>
          <p:nvPr/>
        </p:nvCxnSpPr>
        <p:spPr>
          <a:xfrm>
            <a:off x="1821975" y="6382545"/>
            <a:ext cx="7950287" cy="0"/>
          </a:xfrm>
          <a:prstGeom prst="straightConnector1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41"/>
          <a:stretch/>
        </p:blipFill>
        <p:spPr>
          <a:xfrm>
            <a:off x="1904896" y="1145777"/>
            <a:ext cx="7784445" cy="5186381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4072777" y="2480677"/>
            <a:ext cx="220475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00" dirty="0">
                <a:solidFill>
                  <a:srgbClr val="FF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ЦИФРОВИЗАЦИЯ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7675042" y="2370605"/>
            <a:ext cx="332969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00" dirty="0">
                <a:solidFill>
                  <a:srgbClr val="1D46F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БАЗОВАЯ АВТОМАТИЗАЦИЯ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547835" y="1351913"/>
            <a:ext cx="290798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Пик чрезмерных ожиданий</a:t>
            </a:r>
          </a:p>
        </p:txBody>
      </p:sp>
      <p:sp>
        <p:nvSpPr>
          <p:cNvPr id="5" name="Полилиния 4"/>
          <p:cNvSpPr/>
          <p:nvPr/>
        </p:nvSpPr>
        <p:spPr>
          <a:xfrm>
            <a:off x="7666567" y="2700801"/>
            <a:ext cx="3106986" cy="365783"/>
          </a:xfrm>
          <a:custGeom>
            <a:avLst/>
            <a:gdLst>
              <a:gd name="connsiteX0" fmla="*/ 2620537 w 2620537"/>
              <a:gd name="connsiteY0" fmla="*/ 0 h 591014"/>
              <a:gd name="connsiteX1" fmla="*/ 0 w 2620537"/>
              <a:gd name="connsiteY1" fmla="*/ 0 h 591014"/>
              <a:gd name="connsiteX2" fmla="*/ 0 w 2620537"/>
              <a:gd name="connsiteY2" fmla="*/ 591014 h 5910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20537" h="591014">
                <a:moveTo>
                  <a:pt x="2620537" y="0"/>
                </a:moveTo>
                <a:lnTo>
                  <a:pt x="0" y="0"/>
                </a:lnTo>
                <a:lnTo>
                  <a:pt x="0" y="591014"/>
                </a:lnTo>
              </a:path>
            </a:pathLst>
          </a:custGeom>
          <a:noFill/>
          <a:ln w="6350">
            <a:solidFill>
              <a:schemeClr val="bg2">
                <a:lumMod val="60000"/>
                <a:lumOff val="40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 flipH="1">
            <a:off x="3766300" y="2828147"/>
            <a:ext cx="2378022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Овал 21">
            <a:extLst>
              <a:ext uri="{FF2B5EF4-FFF2-40B4-BE49-F238E27FC236}">
                <a16:creationId xmlns:a16="http://schemas.microsoft.com/office/drawing/2014/main" id="{318ADCAB-66C9-A845-9D8A-66E5EFBFD2D1}"/>
              </a:ext>
            </a:extLst>
          </p:cNvPr>
          <p:cNvSpPr/>
          <p:nvPr/>
        </p:nvSpPr>
        <p:spPr>
          <a:xfrm rot="5246570">
            <a:off x="7047795" y="1621719"/>
            <a:ext cx="664281" cy="3113119"/>
          </a:xfrm>
          <a:prstGeom prst="ellipse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олилиния 26">
            <a:extLst>
              <a:ext uri="{FF2B5EF4-FFF2-40B4-BE49-F238E27FC236}">
                <a16:creationId xmlns:a16="http://schemas.microsoft.com/office/drawing/2014/main" id="{035DBA30-217C-E346-BD32-CA13A142F662}"/>
              </a:ext>
            </a:extLst>
          </p:cNvPr>
          <p:cNvSpPr/>
          <p:nvPr/>
        </p:nvSpPr>
        <p:spPr>
          <a:xfrm rot="2899782">
            <a:off x="2363573" y="2887965"/>
            <a:ext cx="3423555" cy="1888116"/>
          </a:xfrm>
          <a:custGeom>
            <a:avLst/>
            <a:gdLst>
              <a:gd name="connsiteX0" fmla="*/ 52269 w 3423555"/>
              <a:gd name="connsiteY0" fmla="*/ 158810 h 1888116"/>
              <a:gd name="connsiteX1" fmla="*/ 1846659 w 3423555"/>
              <a:gd name="connsiteY1" fmla="*/ 463641 h 1888116"/>
              <a:gd name="connsiteX2" fmla="*/ 2160656 w 3423555"/>
              <a:gd name="connsiteY2" fmla="*/ 627946 h 1888116"/>
              <a:gd name="connsiteX3" fmla="*/ 2406197 w 3423555"/>
              <a:gd name="connsiteY3" fmla="*/ 778133 h 1888116"/>
              <a:gd name="connsiteX4" fmla="*/ 2407567 w 3423555"/>
              <a:gd name="connsiteY4" fmla="*/ 753147 h 1888116"/>
              <a:gd name="connsiteX5" fmla="*/ 2910348 w 3423555"/>
              <a:gd name="connsiteY5" fmla="*/ 0 h 1888116"/>
              <a:gd name="connsiteX6" fmla="*/ 3423555 w 3423555"/>
              <a:gd name="connsiteY6" fmla="*/ 943244 h 1888116"/>
              <a:gd name="connsiteX7" fmla="*/ 3197287 w 3423555"/>
              <a:gd name="connsiteY7" fmla="*/ 1725397 h 1888116"/>
              <a:gd name="connsiteX8" fmla="*/ 3177365 w 3423555"/>
              <a:gd name="connsiteY8" fmla="*/ 1745271 h 1888116"/>
              <a:gd name="connsiteX9" fmla="*/ 3151276 w 3423555"/>
              <a:gd name="connsiteY9" fmla="*/ 1782912 h 1888116"/>
              <a:gd name="connsiteX10" fmla="*/ 3102978 w 3423555"/>
              <a:gd name="connsiteY10" fmla="*/ 1821695 h 1888116"/>
              <a:gd name="connsiteX11" fmla="*/ 3046897 w 3423555"/>
              <a:gd name="connsiteY11" fmla="*/ 1848429 h 1888116"/>
              <a:gd name="connsiteX12" fmla="*/ 3013777 w 3423555"/>
              <a:gd name="connsiteY12" fmla="*/ 1867325 h 1888116"/>
              <a:gd name="connsiteX13" fmla="*/ 2910348 w 3423555"/>
              <a:gd name="connsiteY13" fmla="*/ 1886488 h 1888116"/>
              <a:gd name="connsiteX14" fmla="*/ 2881811 w 3423555"/>
              <a:gd name="connsiteY14" fmla="*/ 1883840 h 1888116"/>
              <a:gd name="connsiteX15" fmla="*/ 2876734 w 3423555"/>
              <a:gd name="connsiteY15" fmla="*/ 1884541 h 1888116"/>
              <a:gd name="connsiteX16" fmla="*/ 1356886 w 3423555"/>
              <a:gd name="connsiteY16" fmla="*/ 1478081 h 1888116"/>
              <a:gd name="connsiteX17" fmla="*/ 19060 w 3423555"/>
              <a:gd name="connsiteY17" fmla="*/ 206726 h 1888116"/>
              <a:gd name="connsiteX18" fmla="*/ 52269 w 3423555"/>
              <a:gd name="connsiteY18" fmla="*/ 158810 h 1888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3423555" h="1888116">
                <a:moveTo>
                  <a:pt x="52269" y="158810"/>
                </a:moveTo>
                <a:cubicBezTo>
                  <a:pt x="256806" y="-57827"/>
                  <a:pt x="1027183" y="67997"/>
                  <a:pt x="1846659" y="463641"/>
                </a:cubicBezTo>
                <a:cubicBezTo>
                  <a:pt x="1955923" y="516393"/>
                  <a:pt x="2060887" y="571446"/>
                  <a:pt x="2160656" y="627946"/>
                </a:cubicBezTo>
                <a:lnTo>
                  <a:pt x="2406197" y="778133"/>
                </a:lnTo>
                <a:lnTo>
                  <a:pt x="2407567" y="753147"/>
                </a:lnTo>
                <a:cubicBezTo>
                  <a:pt x="2455422" y="323328"/>
                  <a:pt x="2662342" y="0"/>
                  <a:pt x="2910348" y="0"/>
                </a:cubicBezTo>
                <a:cubicBezTo>
                  <a:pt x="3193784" y="0"/>
                  <a:pt x="3423555" y="422305"/>
                  <a:pt x="3423555" y="943244"/>
                </a:cubicBezTo>
                <a:cubicBezTo>
                  <a:pt x="3423555" y="1268831"/>
                  <a:pt x="3333800" y="1555889"/>
                  <a:pt x="3197287" y="1725397"/>
                </a:cubicBezTo>
                <a:lnTo>
                  <a:pt x="3177365" y="1745271"/>
                </a:lnTo>
                <a:lnTo>
                  <a:pt x="3151276" y="1782912"/>
                </a:lnTo>
                <a:cubicBezTo>
                  <a:pt x="3137641" y="1797354"/>
                  <a:pt x="3121490" y="1810275"/>
                  <a:pt x="3102978" y="1821695"/>
                </a:cubicBezTo>
                <a:lnTo>
                  <a:pt x="3046897" y="1848429"/>
                </a:lnTo>
                <a:lnTo>
                  <a:pt x="3013777" y="1867325"/>
                </a:lnTo>
                <a:cubicBezTo>
                  <a:pt x="2980369" y="1879889"/>
                  <a:pt x="2945778" y="1886488"/>
                  <a:pt x="2910348" y="1886488"/>
                </a:cubicBezTo>
                <a:lnTo>
                  <a:pt x="2881811" y="1883840"/>
                </a:lnTo>
                <a:lnTo>
                  <a:pt x="2876734" y="1884541"/>
                </a:lnTo>
                <a:cubicBezTo>
                  <a:pt x="2532381" y="1913256"/>
                  <a:pt x="1957836" y="1768220"/>
                  <a:pt x="1356886" y="1478081"/>
                </a:cubicBezTo>
                <a:cubicBezTo>
                  <a:pt x="482778" y="1056061"/>
                  <a:pt x="-116187" y="486856"/>
                  <a:pt x="19060" y="206726"/>
                </a:cubicBezTo>
                <a:cubicBezTo>
                  <a:pt x="27513" y="189217"/>
                  <a:pt x="38634" y="173253"/>
                  <a:pt x="52269" y="158810"/>
                </a:cubicBezTo>
                <a:close/>
              </a:path>
            </a:pathLst>
          </a:cu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25" name="TextBox 24"/>
          <p:cNvSpPr txBox="1"/>
          <p:nvPr/>
        </p:nvSpPr>
        <p:spPr>
          <a:xfrm>
            <a:off x="1632279" y="3113809"/>
            <a:ext cx="69880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800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SG</a:t>
            </a:r>
            <a:endParaRPr lang="ru-RU" sz="1800" dirty="0">
              <a:solidFill>
                <a:schemeClr val="tx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1904896" y="3423233"/>
            <a:ext cx="426192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Овал 27">
            <a:extLst>
              <a:ext uri="{FF2B5EF4-FFF2-40B4-BE49-F238E27FC236}">
                <a16:creationId xmlns:a16="http://schemas.microsoft.com/office/drawing/2014/main" id="{0E201F3A-A7B6-9D44-AD51-FED022040F5A}"/>
              </a:ext>
            </a:extLst>
          </p:cNvPr>
          <p:cNvSpPr/>
          <p:nvPr/>
        </p:nvSpPr>
        <p:spPr>
          <a:xfrm rot="721006">
            <a:off x="2188319" y="1607871"/>
            <a:ext cx="714375" cy="3113119"/>
          </a:xfrm>
          <a:prstGeom prst="ellipse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2308786" y="5855538"/>
            <a:ext cx="283984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Триггер инновации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291727" y="3223439"/>
            <a:ext cx="231573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Плато продуктивности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5695282" y="4145822"/>
            <a:ext cx="231573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Склон просветления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3663593" y="5347273"/>
            <a:ext cx="263719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ru-RU" sz="1800" dirty="0">
                <a:latin typeface="Segoe UI Light" panose="020B0502040204020203" pitchFamily="34" charset="0"/>
                <a:cs typeface="Segoe UI Light" panose="020B0502040204020203" pitchFamily="34" charset="0"/>
              </a:rPr>
              <a:t>Впадина разочарований</a:t>
            </a:r>
          </a:p>
        </p:txBody>
      </p:sp>
    </p:spTree>
    <p:extLst>
      <p:ext uri="{BB962C8B-B14F-4D97-AF65-F5344CB8AC3E}">
        <p14:creationId xmlns:p14="http://schemas.microsoft.com/office/powerpoint/2010/main" val="628086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520375"/>
            <a:ext cx="12192000" cy="1359582"/>
          </a:xfrm>
          <a:prstGeom prst="rect">
            <a:avLst/>
          </a:prstGeom>
        </p:spPr>
      </p:pic>
      <p:grpSp>
        <p:nvGrpSpPr>
          <p:cNvPr id="13" name="Группа 12"/>
          <p:cNvGrpSpPr/>
          <p:nvPr/>
        </p:nvGrpSpPr>
        <p:grpSpPr>
          <a:xfrm>
            <a:off x="2503028" y="535208"/>
            <a:ext cx="7006836" cy="5251602"/>
            <a:chOff x="3267307" y="1485004"/>
            <a:chExt cx="5163015" cy="3869664"/>
          </a:xfrm>
          <a:solidFill>
            <a:schemeClr val="bg1"/>
          </a:solidFill>
        </p:grpSpPr>
        <p:sp>
          <p:nvSpPr>
            <p:cNvPr id="20" name="Полилиния 19"/>
            <p:cNvSpPr/>
            <p:nvPr/>
          </p:nvSpPr>
          <p:spPr>
            <a:xfrm>
              <a:off x="4988312" y="1485004"/>
              <a:ext cx="1721005" cy="1292464"/>
            </a:xfrm>
            <a:custGeom>
              <a:avLst/>
              <a:gdLst>
                <a:gd name="connsiteX0" fmla="*/ 0 w 1159119"/>
                <a:gd name="connsiteY0" fmla="*/ 878254 h 878254"/>
                <a:gd name="connsiteX1" fmla="*/ 579560 w 1159119"/>
                <a:gd name="connsiteY1" fmla="*/ 0 h 878254"/>
                <a:gd name="connsiteX2" fmla="*/ 579560 w 1159119"/>
                <a:gd name="connsiteY2" fmla="*/ 0 h 878254"/>
                <a:gd name="connsiteX3" fmla="*/ 1159119 w 1159119"/>
                <a:gd name="connsiteY3" fmla="*/ 878254 h 878254"/>
                <a:gd name="connsiteX4" fmla="*/ 0 w 1159119"/>
                <a:gd name="connsiteY4" fmla="*/ 878254 h 878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9119" h="878254">
                  <a:moveTo>
                    <a:pt x="0" y="878254"/>
                  </a:moveTo>
                  <a:lnTo>
                    <a:pt x="579560" y="0"/>
                  </a:lnTo>
                  <a:lnTo>
                    <a:pt x="579560" y="0"/>
                  </a:lnTo>
                  <a:lnTo>
                    <a:pt x="1159119" y="878254"/>
                  </a:lnTo>
                  <a:lnTo>
                    <a:pt x="0" y="878254"/>
                  </a:lnTo>
                  <a:close/>
                </a:path>
              </a:pathLst>
            </a:custGeom>
            <a:grpFill/>
            <a:ln w="28575">
              <a:solidFill>
                <a:srgbClr val="5B9BD5"/>
              </a:solidFill>
            </a:ln>
            <a:effectLst>
              <a:outerShdw blurRad="38100" dist="12700" dir="5400000" algn="ctr" rotWithShape="0">
                <a:srgbClr val="000000">
                  <a:alpha val="15000"/>
                </a:srgb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700" tIns="12700" rIns="12700" bIns="274320" numCol="1" spcCol="1270" anchor="b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00" b="1" kern="1200" dirty="0">
                  <a:solidFill>
                    <a:srgbClr val="FFFFFF"/>
                  </a:solidFill>
                </a:rPr>
                <a:t>Dynamic</a:t>
              </a:r>
            </a:p>
          </p:txBody>
        </p:sp>
        <p:sp>
          <p:nvSpPr>
            <p:cNvPr id="21" name="Полилиния 20"/>
            <p:cNvSpPr/>
            <p:nvPr/>
          </p:nvSpPr>
          <p:spPr>
            <a:xfrm>
              <a:off x="4127810" y="2777468"/>
              <a:ext cx="3442010" cy="1292464"/>
            </a:xfrm>
            <a:custGeom>
              <a:avLst/>
              <a:gdLst>
                <a:gd name="connsiteX0" fmla="*/ 0 w 2318238"/>
                <a:gd name="connsiteY0" fmla="*/ 878254 h 878254"/>
                <a:gd name="connsiteX1" fmla="*/ 579560 w 2318238"/>
                <a:gd name="connsiteY1" fmla="*/ 0 h 878254"/>
                <a:gd name="connsiteX2" fmla="*/ 1738678 w 2318238"/>
                <a:gd name="connsiteY2" fmla="*/ 0 h 878254"/>
                <a:gd name="connsiteX3" fmla="*/ 2318238 w 2318238"/>
                <a:gd name="connsiteY3" fmla="*/ 878254 h 878254"/>
                <a:gd name="connsiteX4" fmla="*/ 0 w 2318238"/>
                <a:gd name="connsiteY4" fmla="*/ 878254 h 878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8238" h="878254">
                  <a:moveTo>
                    <a:pt x="0" y="878254"/>
                  </a:moveTo>
                  <a:lnTo>
                    <a:pt x="579560" y="0"/>
                  </a:lnTo>
                  <a:lnTo>
                    <a:pt x="1738678" y="0"/>
                  </a:lnTo>
                  <a:lnTo>
                    <a:pt x="2318238" y="878254"/>
                  </a:lnTo>
                  <a:lnTo>
                    <a:pt x="0" y="878254"/>
                  </a:lnTo>
                  <a:close/>
                </a:path>
              </a:pathLst>
            </a:custGeom>
            <a:grpFill/>
            <a:ln w="28575">
              <a:solidFill>
                <a:srgbClr val="FF2649"/>
              </a:solidFill>
            </a:ln>
            <a:effectLst>
              <a:outerShdw blurRad="38100" dist="12700" dir="5400000" algn="ctr" rotWithShape="0">
                <a:srgbClr val="000000">
                  <a:alpha val="15000"/>
                </a:srgb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18391" tIns="12700" rIns="418392" bIns="1270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00" b="1" kern="1200" dirty="0">
                  <a:solidFill>
                    <a:srgbClr val="FFFFFF"/>
                  </a:solidFill>
                </a:rPr>
                <a:t>Commerce</a:t>
              </a:r>
            </a:p>
          </p:txBody>
        </p:sp>
        <p:sp>
          <p:nvSpPr>
            <p:cNvPr id="22" name="Полилиния 21"/>
            <p:cNvSpPr/>
            <p:nvPr/>
          </p:nvSpPr>
          <p:spPr>
            <a:xfrm>
              <a:off x="3267307" y="4062204"/>
              <a:ext cx="5163015" cy="1292464"/>
            </a:xfrm>
            <a:custGeom>
              <a:avLst/>
              <a:gdLst>
                <a:gd name="connsiteX0" fmla="*/ 0 w 3477357"/>
                <a:gd name="connsiteY0" fmla="*/ 878254 h 878254"/>
                <a:gd name="connsiteX1" fmla="*/ 579560 w 3477357"/>
                <a:gd name="connsiteY1" fmla="*/ 0 h 878254"/>
                <a:gd name="connsiteX2" fmla="*/ 2897797 w 3477357"/>
                <a:gd name="connsiteY2" fmla="*/ 0 h 878254"/>
                <a:gd name="connsiteX3" fmla="*/ 3477357 w 3477357"/>
                <a:gd name="connsiteY3" fmla="*/ 878254 h 878254"/>
                <a:gd name="connsiteX4" fmla="*/ 0 w 3477357"/>
                <a:gd name="connsiteY4" fmla="*/ 878254 h 878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77357" h="878254">
                  <a:moveTo>
                    <a:pt x="0" y="878254"/>
                  </a:moveTo>
                  <a:lnTo>
                    <a:pt x="579560" y="0"/>
                  </a:lnTo>
                  <a:lnTo>
                    <a:pt x="2897797" y="0"/>
                  </a:lnTo>
                  <a:lnTo>
                    <a:pt x="3477357" y="878254"/>
                  </a:lnTo>
                  <a:lnTo>
                    <a:pt x="0" y="878254"/>
                  </a:lnTo>
                  <a:close/>
                </a:path>
              </a:pathLst>
            </a:custGeom>
            <a:grpFill/>
            <a:ln w="28575">
              <a:solidFill>
                <a:srgbClr val="1D46F3"/>
              </a:solidFill>
            </a:ln>
            <a:effectLst>
              <a:outerShdw blurRad="38100" dist="12700" dir="5400000" algn="ctr" rotWithShape="0">
                <a:srgbClr val="000000">
                  <a:alpha val="15000"/>
                </a:srgb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21238" tIns="12700" rIns="621237" bIns="1270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00" b="1" kern="1200" dirty="0">
                  <a:solidFill>
                    <a:srgbClr val="FFFFFF"/>
                  </a:solidFill>
                </a:rPr>
                <a:t>Social media</a:t>
              </a:r>
            </a:p>
          </p:txBody>
        </p:sp>
      </p:grpSp>
      <p:sp>
        <p:nvSpPr>
          <p:cNvPr id="25" name="TextBox 24"/>
          <p:cNvSpPr txBox="1"/>
          <p:nvPr/>
        </p:nvSpPr>
        <p:spPr>
          <a:xfrm>
            <a:off x="3395910" y="4761217"/>
            <a:ext cx="532700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800" dirty="0">
                <a:solidFill>
                  <a:srgbClr val="1D46F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БАЗОВАЯ АВТОМАТИЗАЦИЯ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682260" y="3166253"/>
            <a:ext cx="2747220" cy="3759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800" dirty="0">
                <a:solidFill>
                  <a:srgbClr val="FF264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ЦИФРОВИЗАЦИЯ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5077071" y="1505753"/>
            <a:ext cx="1858750" cy="3759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SG</a:t>
            </a:r>
            <a:endParaRPr lang="ru-RU" sz="1800" dirty="0">
              <a:solidFill>
                <a:schemeClr val="tx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42248560-7B54-C241-BB22-ACB653B690EE}"/>
              </a:ext>
            </a:extLst>
          </p:cNvPr>
          <p:cNvSpPr/>
          <p:nvPr/>
        </p:nvSpPr>
        <p:spPr>
          <a:xfrm>
            <a:off x="1161922" y="4144735"/>
            <a:ext cx="1571957" cy="13236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3200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40-60</a:t>
            </a:r>
            <a:endParaRPr lang="ru-RU" sz="3200" dirty="0">
              <a:solidFill>
                <a:schemeClr val="tx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99B68FEA-E488-E148-9AD0-DD4AFB2EB1D0}"/>
              </a:ext>
            </a:extLst>
          </p:cNvPr>
          <p:cNvSpPr/>
          <p:nvPr/>
        </p:nvSpPr>
        <p:spPr>
          <a:xfrm>
            <a:off x="2642603" y="2590602"/>
            <a:ext cx="987774" cy="7093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3200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~1</a:t>
            </a:r>
            <a:r>
              <a:rPr lang="ru-RU" sz="3200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0</a:t>
            </a: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F5587A41-F087-BE4E-82DE-B054898967F1}"/>
              </a:ext>
            </a:extLst>
          </p:cNvPr>
          <p:cNvSpPr/>
          <p:nvPr/>
        </p:nvSpPr>
        <p:spPr>
          <a:xfrm>
            <a:off x="3734697" y="1146338"/>
            <a:ext cx="1342523" cy="4859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3200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~5 (?)</a:t>
            </a:r>
            <a:endParaRPr lang="ru-RU" sz="3200" dirty="0">
              <a:solidFill>
                <a:schemeClr val="tx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>
            <a:off x="264484" y="4017647"/>
            <a:ext cx="3360951" cy="0"/>
          </a:xfrm>
          <a:prstGeom prst="line">
            <a:avLst/>
          </a:prstGeom>
          <a:ln w="635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>
            <a:off x="1345953" y="2289238"/>
            <a:ext cx="3360951" cy="0"/>
          </a:xfrm>
          <a:prstGeom prst="line">
            <a:avLst/>
          </a:prstGeom>
          <a:ln w="635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42248560-7B54-C241-BB22-ACB653B690EE}"/>
              </a:ext>
            </a:extLst>
          </p:cNvPr>
          <p:cNvSpPr/>
          <p:nvPr/>
        </p:nvSpPr>
        <p:spPr>
          <a:xfrm>
            <a:off x="1603389" y="5013691"/>
            <a:ext cx="689023" cy="332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ЛЕТ</a:t>
            </a: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42248560-7B54-C241-BB22-ACB653B690EE}"/>
              </a:ext>
            </a:extLst>
          </p:cNvPr>
          <p:cNvSpPr/>
          <p:nvPr/>
        </p:nvSpPr>
        <p:spPr>
          <a:xfrm>
            <a:off x="2948094" y="3168485"/>
            <a:ext cx="689023" cy="332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ЛЕТ</a:t>
            </a: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42248560-7B54-C241-BB22-ACB653B690EE}"/>
              </a:ext>
            </a:extLst>
          </p:cNvPr>
          <p:cNvSpPr/>
          <p:nvPr/>
        </p:nvSpPr>
        <p:spPr>
          <a:xfrm>
            <a:off x="4061447" y="1608619"/>
            <a:ext cx="689023" cy="332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ЛЕТ</a:t>
            </a:r>
          </a:p>
        </p:txBody>
      </p:sp>
      <p:cxnSp>
        <p:nvCxnSpPr>
          <p:cNvPr id="58" name="Прямая со стрелкой 57">
            <a:extLst>
              <a:ext uri="{FF2B5EF4-FFF2-40B4-BE49-F238E27FC236}">
                <a16:creationId xmlns:a16="http://schemas.microsoft.com/office/drawing/2014/main" id="{CB37F956-4434-404C-B504-F93581ECFF0A}"/>
              </a:ext>
            </a:extLst>
          </p:cNvPr>
          <p:cNvCxnSpPr/>
          <p:nvPr/>
        </p:nvCxnSpPr>
        <p:spPr>
          <a:xfrm flipV="1">
            <a:off x="2389552" y="4059969"/>
            <a:ext cx="1080840" cy="1615059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Овал 16"/>
          <p:cNvSpPr/>
          <p:nvPr/>
        </p:nvSpPr>
        <p:spPr>
          <a:xfrm>
            <a:off x="6759614" y="1875704"/>
            <a:ext cx="617727" cy="617727"/>
          </a:xfrm>
          <a:prstGeom prst="ellipse">
            <a:avLst/>
          </a:prstGeom>
          <a:solidFill>
            <a:srgbClr val="FF2649"/>
          </a:solidFill>
          <a:ln>
            <a:solidFill>
              <a:srgbClr val="FF26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Овал 59"/>
          <p:cNvSpPr/>
          <p:nvPr/>
        </p:nvSpPr>
        <p:spPr>
          <a:xfrm>
            <a:off x="7934949" y="3587006"/>
            <a:ext cx="617727" cy="617727"/>
          </a:xfrm>
          <a:prstGeom prst="ellipse">
            <a:avLst/>
          </a:prstGeom>
          <a:solidFill>
            <a:srgbClr val="FFD44B"/>
          </a:solidFill>
          <a:ln>
            <a:solidFill>
              <a:srgbClr val="FFD4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Овал 60"/>
          <p:cNvSpPr/>
          <p:nvPr/>
        </p:nvSpPr>
        <p:spPr>
          <a:xfrm>
            <a:off x="9161465" y="5416151"/>
            <a:ext cx="617727" cy="617727"/>
          </a:xfrm>
          <a:prstGeom prst="ellipse">
            <a:avLst/>
          </a:prstGeom>
          <a:gradFill>
            <a:gsLst>
              <a:gs pos="0">
                <a:schemeClr val="accent6"/>
              </a:gs>
              <a:gs pos="27602">
                <a:schemeClr val="accent6"/>
              </a:gs>
              <a:gs pos="74000">
                <a:srgbClr val="FFD44B"/>
              </a:gs>
              <a:gs pos="83000">
                <a:srgbClr val="FFD44B"/>
              </a:gs>
              <a:gs pos="100000">
                <a:srgbClr val="FFD44B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69" name="Прямая со стрелкой 68">
            <a:extLst>
              <a:ext uri="{FF2B5EF4-FFF2-40B4-BE49-F238E27FC236}">
                <a16:creationId xmlns:a16="http://schemas.microsoft.com/office/drawing/2014/main" id="{CB37F956-4434-404C-B504-F93581ECFF0A}"/>
              </a:ext>
            </a:extLst>
          </p:cNvPr>
          <p:cNvCxnSpPr/>
          <p:nvPr/>
        </p:nvCxnSpPr>
        <p:spPr>
          <a:xfrm flipV="1">
            <a:off x="3529869" y="2360267"/>
            <a:ext cx="1080840" cy="1615059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4254842" y="6245200"/>
            <a:ext cx="3609144" cy="372452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И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М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П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О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Р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Т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О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З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А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М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Е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Щ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Е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Н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И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Е</a:t>
            </a:r>
          </a:p>
        </p:txBody>
      </p:sp>
    </p:spTree>
    <p:extLst>
      <p:ext uri="{BB962C8B-B14F-4D97-AF65-F5344CB8AC3E}">
        <p14:creationId xmlns:p14="http://schemas.microsoft.com/office/powerpoint/2010/main" val="3762813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520375"/>
            <a:ext cx="12192000" cy="1359582"/>
          </a:xfrm>
          <a:prstGeom prst="rect">
            <a:avLst/>
          </a:prstGeom>
        </p:spPr>
      </p:pic>
      <p:grpSp>
        <p:nvGrpSpPr>
          <p:cNvPr id="13" name="Группа 12"/>
          <p:cNvGrpSpPr/>
          <p:nvPr/>
        </p:nvGrpSpPr>
        <p:grpSpPr>
          <a:xfrm>
            <a:off x="2503028" y="535208"/>
            <a:ext cx="7006836" cy="5251602"/>
            <a:chOff x="3267307" y="1485004"/>
            <a:chExt cx="5163015" cy="3869664"/>
          </a:xfrm>
          <a:solidFill>
            <a:schemeClr val="bg1"/>
          </a:solidFill>
        </p:grpSpPr>
        <p:sp>
          <p:nvSpPr>
            <p:cNvPr id="20" name="Полилиния 19"/>
            <p:cNvSpPr/>
            <p:nvPr/>
          </p:nvSpPr>
          <p:spPr>
            <a:xfrm>
              <a:off x="4988312" y="1485004"/>
              <a:ext cx="1721005" cy="1292464"/>
            </a:xfrm>
            <a:custGeom>
              <a:avLst/>
              <a:gdLst>
                <a:gd name="connsiteX0" fmla="*/ 0 w 1159119"/>
                <a:gd name="connsiteY0" fmla="*/ 878254 h 878254"/>
                <a:gd name="connsiteX1" fmla="*/ 579560 w 1159119"/>
                <a:gd name="connsiteY1" fmla="*/ 0 h 878254"/>
                <a:gd name="connsiteX2" fmla="*/ 579560 w 1159119"/>
                <a:gd name="connsiteY2" fmla="*/ 0 h 878254"/>
                <a:gd name="connsiteX3" fmla="*/ 1159119 w 1159119"/>
                <a:gd name="connsiteY3" fmla="*/ 878254 h 878254"/>
                <a:gd name="connsiteX4" fmla="*/ 0 w 1159119"/>
                <a:gd name="connsiteY4" fmla="*/ 878254 h 878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9119" h="878254">
                  <a:moveTo>
                    <a:pt x="0" y="878254"/>
                  </a:moveTo>
                  <a:lnTo>
                    <a:pt x="579560" y="0"/>
                  </a:lnTo>
                  <a:lnTo>
                    <a:pt x="579560" y="0"/>
                  </a:lnTo>
                  <a:lnTo>
                    <a:pt x="1159119" y="878254"/>
                  </a:lnTo>
                  <a:lnTo>
                    <a:pt x="0" y="878254"/>
                  </a:lnTo>
                  <a:close/>
                </a:path>
              </a:pathLst>
            </a:custGeom>
            <a:grpFill/>
            <a:ln w="28575">
              <a:solidFill>
                <a:srgbClr val="5B9BD5"/>
              </a:solidFill>
            </a:ln>
            <a:effectLst>
              <a:outerShdw blurRad="38100" dist="12700" dir="5400000" algn="ctr" rotWithShape="0">
                <a:srgbClr val="000000">
                  <a:alpha val="15000"/>
                </a:srgb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700" tIns="12700" rIns="12700" bIns="274320" numCol="1" spcCol="1270" anchor="b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00" b="1" kern="1200" dirty="0">
                  <a:solidFill>
                    <a:srgbClr val="FFFFFF"/>
                  </a:solidFill>
                </a:rPr>
                <a:t>Dynamic</a:t>
              </a:r>
            </a:p>
          </p:txBody>
        </p:sp>
        <p:sp>
          <p:nvSpPr>
            <p:cNvPr id="21" name="Полилиния 20"/>
            <p:cNvSpPr/>
            <p:nvPr/>
          </p:nvSpPr>
          <p:spPr>
            <a:xfrm>
              <a:off x="4127810" y="2777468"/>
              <a:ext cx="3442010" cy="1292464"/>
            </a:xfrm>
            <a:custGeom>
              <a:avLst/>
              <a:gdLst>
                <a:gd name="connsiteX0" fmla="*/ 0 w 2318238"/>
                <a:gd name="connsiteY0" fmla="*/ 878254 h 878254"/>
                <a:gd name="connsiteX1" fmla="*/ 579560 w 2318238"/>
                <a:gd name="connsiteY1" fmla="*/ 0 h 878254"/>
                <a:gd name="connsiteX2" fmla="*/ 1738678 w 2318238"/>
                <a:gd name="connsiteY2" fmla="*/ 0 h 878254"/>
                <a:gd name="connsiteX3" fmla="*/ 2318238 w 2318238"/>
                <a:gd name="connsiteY3" fmla="*/ 878254 h 878254"/>
                <a:gd name="connsiteX4" fmla="*/ 0 w 2318238"/>
                <a:gd name="connsiteY4" fmla="*/ 878254 h 878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8238" h="878254">
                  <a:moveTo>
                    <a:pt x="0" y="878254"/>
                  </a:moveTo>
                  <a:lnTo>
                    <a:pt x="579560" y="0"/>
                  </a:lnTo>
                  <a:lnTo>
                    <a:pt x="1738678" y="0"/>
                  </a:lnTo>
                  <a:lnTo>
                    <a:pt x="2318238" y="878254"/>
                  </a:lnTo>
                  <a:lnTo>
                    <a:pt x="0" y="878254"/>
                  </a:lnTo>
                  <a:close/>
                </a:path>
              </a:pathLst>
            </a:custGeom>
            <a:grpFill/>
            <a:ln w="28575">
              <a:solidFill>
                <a:srgbClr val="FF2649"/>
              </a:solidFill>
            </a:ln>
            <a:effectLst>
              <a:outerShdw blurRad="38100" dist="12700" dir="5400000" algn="ctr" rotWithShape="0">
                <a:srgbClr val="000000">
                  <a:alpha val="15000"/>
                </a:srgb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18391" tIns="12700" rIns="418392" bIns="1270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00" b="1" kern="1200" dirty="0">
                  <a:solidFill>
                    <a:srgbClr val="FFFFFF"/>
                  </a:solidFill>
                </a:rPr>
                <a:t>Commerce</a:t>
              </a:r>
            </a:p>
          </p:txBody>
        </p:sp>
        <p:sp>
          <p:nvSpPr>
            <p:cNvPr id="22" name="Полилиния 21"/>
            <p:cNvSpPr/>
            <p:nvPr/>
          </p:nvSpPr>
          <p:spPr>
            <a:xfrm>
              <a:off x="3267307" y="4062204"/>
              <a:ext cx="5163015" cy="1292464"/>
            </a:xfrm>
            <a:custGeom>
              <a:avLst/>
              <a:gdLst>
                <a:gd name="connsiteX0" fmla="*/ 0 w 3477357"/>
                <a:gd name="connsiteY0" fmla="*/ 878254 h 878254"/>
                <a:gd name="connsiteX1" fmla="*/ 579560 w 3477357"/>
                <a:gd name="connsiteY1" fmla="*/ 0 h 878254"/>
                <a:gd name="connsiteX2" fmla="*/ 2897797 w 3477357"/>
                <a:gd name="connsiteY2" fmla="*/ 0 h 878254"/>
                <a:gd name="connsiteX3" fmla="*/ 3477357 w 3477357"/>
                <a:gd name="connsiteY3" fmla="*/ 878254 h 878254"/>
                <a:gd name="connsiteX4" fmla="*/ 0 w 3477357"/>
                <a:gd name="connsiteY4" fmla="*/ 878254 h 878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77357" h="878254">
                  <a:moveTo>
                    <a:pt x="0" y="878254"/>
                  </a:moveTo>
                  <a:lnTo>
                    <a:pt x="579560" y="0"/>
                  </a:lnTo>
                  <a:lnTo>
                    <a:pt x="2897797" y="0"/>
                  </a:lnTo>
                  <a:lnTo>
                    <a:pt x="3477357" y="878254"/>
                  </a:lnTo>
                  <a:lnTo>
                    <a:pt x="0" y="878254"/>
                  </a:lnTo>
                  <a:close/>
                </a:path>
              </a:pathLst>
            </a:custGeom>
            <a:grpFill/>
            <a:ln w="28575">
              <a:solidFill>
                <a:srgbClr val="1D46F3"/>
              </a:solidFill>
            </a:ln>
            <a:effectLst>
              <a:outerShdw blurRad="38100" dist="12700" dir="5400000" algn="ctr" rotWithShape="0">
                <a:srgbClr val="000000">
                  <a:alpha val="15000"/>
                </a:srgb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21238" tIns="12700" rIns="621237" bIns="1270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00" b="1" kern="1200" dirty="0">
                  <a:solidFill>
                    <a:srgbClr val="FFFFFF"/>
                  </a:solidFill>
                </a:rPr>
                <a:t>Social media</a:t>
              </a:r>
            </a:p>
          </p:txBody>
        </p:sp>
      </p:grpSp>
      <p:sp>
        <p:nvSpPr>
          <p:cNvPr id="25" name="TextBox 24"/>
          <p:cNvSpPr txBox="1"/>
          <p:nvPr/>
        </p:nvSpPr>
        <p:spPr>
          <a:xfrm>
            <a:off x="3395910" y="4761217"/>
            <a:ext cx="532700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800" dirty="0">
                <a:solidFill>
                  <a:srgbClr val="1D46F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БАЗОВАЯ АВТОМАТИЗАЦИЯ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682260" y="3166253"/>
            <a:ext cx="2747220" cy="3759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800" dirty="0">
                <a:solidFill>
                  <a:srgbClr val="FF264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ЦИФРОВИЗАЦИЯ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5077071" y="1505753"/>
            <a:ext cx="1858750" cy="3759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SG</a:t>
            </a:r>
            <a:endParaRPr lang="ru-RU" sz="1800" dirty="0">
              <a:solidFill>
                <a:schemeClr val="tx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42248560-7B54-C241-BB22-ACB653B690EE}"/>
              </a:ext>
            </a:extLst>
          </p:cNvPr>
          <p:cNvSpPr/>
          <p:nvPr/>
        </p:nvSpPr>
        <p:spPr>
          <a:xfrm>
            <a:off x="1161922" y="4144735"/>
            <a:ext cx="1571957" cy="13236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3200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40-60</a:t>
            </a:r>
            <a:endParaRPr lang="ru-RU" sz="3200" dirty="0">
              <a:solidFill>
                <a:schemeClr val="tx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99B68FEA-E488-E148-9AD0-DD4AFB2EB1D0}"/>
              </a:ext>
            </a:extLst>
          </p:cNvPr>
          <p:cNvSpPr/>
          <p:nvPr/>
        </p:nvSpPr>
        <p:spPr>
          <a:xfrm>
            <a:off x="2642603" y="2590602"/>
            <a:ext cx="987774" cy="7093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3200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~1</a:t>
            </a:r>
            <a:r>
              <a:rPr lang="ru-RU" sz="3200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0</a:t>
            </a: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F5587A41-F087-BE4E-82DE-B054898967F1}"/>
              </a:ext>
            </a:extLst>
          </p:cNvPr>
          <p:cNvSpPr/>
          <p:nvPr/>
        </p:nvSpPr>
        <p:spPr>
          <a:xfrm>
            <a:off x="3734697" y="1146338"/>
            <a:ext cx="1342523" cy="4859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3200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~5 (?)</a:t>
            </a:r>
            <a:endParaRPr lang="ru-RU" sz="3200" dirty="0">
              <a:solidFill>
                <a:schemeClr val="tx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>
            <a:off x="264484" y="4017647"/>
            <a:ext cx="3360951" cy="0"/>
          </a:xfrm>
          <a:prstGeom prst="line">
            <a:avLst/>
          </a:prstGeom>
          <a:ln w="635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>
            <a:off x="1345953" y="2289238"/>
            <a:ext cx="3360951" cy="0"/>
          </a:xfrm>
          <a:prstGeom prst="line">
            <a:avLst/>
          </a:prstGeom>
          <a:ln w="635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42248560-7B54-C241-BB22-ACB653B690EE}"/>
              </a:ext>
            </a:extLst>
          </p:cNvPr>
          <p:cNvSpPr/>
          <p:nvPr/>
        </p:nvSpPr>
        <p:spPr>
          <a:xfrm>
            <a:off x="1603389" y="5013691"/>
            <a:ext cx="689023" cy="332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ЛЕТ</a:t>
            </a: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42248560-7B54-C241-BB22-ACB653B690EE}"/>
              </a:ext>
            </a:extLst>
          </p:cNvPr>
          <p:cNvSpPr/>
          <p:nvPr/>
        </p:nvSpPr>
        <p:spPr>
          <a:xfrm>
            <a:off x="2948094" y="3168485"/>
            <a:ext cx="689023" cy="332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ЛЕТ</a:t>
            </a: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42248560-7B54-C241-BB22-ACB653B690EE}"/>
              </a:ext>
            </a:extLst>
          </p:cNvPr>
          <p:cNvSpPr/>
          <p:nvPr/>
        </p:nvSpPr>
        <p:spPr>
          <a:xfrm>
            <a:off x="4061447" y="1608619"/>
            <a:ext cx="689023" cy="332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ЛЕТ</a:t>
            </a:r>
          </a:p>
        </p:txBody>
      </p:sp>
      <p:cxnSp>
        <p:nvCxnSpPr>
          <p:cNvPr id="58" name="Прямая со стрелкой 57">
            <a:extLst>
              <a:ext uri="{FF2B5EF4-FFF2-40B4-BE49-F238E27FC236}">
                <a16:creationId xmlns:a16="http://schemas.microsoft.com/office/drawing/2014/main" id="{CB37F956-4434-404C-B504-F93581ECFF0A}"/>
              </a:ext>
            </a:extLst>
          </p:cNvPr>
          <p:cNvCxnSpPr/>
          <p:nvPr/>
        </p:nvCxnSpPr>
        <p:spPr>
          <a:xfrm flipV="1">
            <a:off x="2389552" y="4059969"/>
            <a:ext cx="1080840" cy="1615059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Овал 16"/>
          <p:cNvSpPr/>
          <p:nvPr/>
        </p:nvSpPr>
        <p:spPr>
          <a:xfrm>
            <a:off x="6759614" y="1875704"/>
            <a:ext cx="617727" cy="617727"/>
          </a:xfrm>
          <a:prstGeom prst="ellipse">
            <a:avLst/>
          </a:prstGeom>
          <a:solidFill>
            <a:srgbClr val="FF2649"/>
          </a:solidFill>
          <a:ln>
            <a:solidFill>
              <a:srgbClr val="FF26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Овал 59"/>
          <p:cNvSpPr/>
          <p:nvPr/>
        </p:nvSpPr>
        <p:spPr>
          <a:xfrm>
            <a:off x="7934949" y="3587006"/>
            <a:ext cx="617727" cy="617727"/>
          </a:xfrm>
          <a:prstGeom prst="ellipse">
            <a:avLst/>
          </a:prstGeom>
          <a:solidFill>
            <a:srgbClr val="FFD44B"/>
          </a:solidFill>
          <a:ln>
            <a:solidFill>
              <a:srgbClr val="FFD4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Овал 60"/>
          <p:cNvSpPr/>
          <p:nvPr/>
        </p:nvSpPr>
        <p:spPr>
          <a:xfrm>
            <a:off x="9161465" y="5416151"/>
            <a:ext cx="617727" cy="617727"/>
          </a:xfrm>
          <a:prstGeom prst="ellipse">
            <a:avLst/>
          </a:prstGeom>
          <a:gradFill>
            <a:gsLst>
              <a:gs pos="0">
                <a:schemeClr val="accent6"/>
              </a:gs>
              <a:gs pos="27602">
                <a:schemeClr val="accent6"/>
              </a:gs>
              <a:gs pos="74000">
                <a:srgbClr val="FFD44B"/>
              </a:gs>
              <a:gs pos="83000">
                <a:srgbClr val="FFD44B"/>
              </a:gs>
              <a:gs pos="100000">
                <a:srgbClr val="FFD44B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69" name="Прямая со стрелкой 68">
            <a:extLst>
              <a:ext uri="{FF2B5EF4-FFF2-40B4-BE49-F238E27FC236}">
                <a16:creationId xmlns:a16="http://schemas.microsoft.com/office/drawing/2014/main" id="{CB37F956-4434-404C-B504-F93581ECFF0A}"/>
              </a:ext>
            </a:extLst>
          </p:cNvPr>
          <p:cNvCxnSpPr/>
          <p:nvPr/>
        </p:nvCxnSpPr>
        <p:spPr>
          <a:xfrm flipV="1">
            <a:off x="3529869" y="2360267"/>
            <a:ext cx="1080840" cy="1615059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4254842" y="6245200"/>
            <a:ext cx="3609144" cy="372452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И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М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П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О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Р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Т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О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З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А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М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Е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Щ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Е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Н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И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Е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8995558" y="3525953"/>
            <a:ext cx="219809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Данные, кадры, культура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8995558" y="3871795"/>
            <a:ext cx="219809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Новые бизнес-модели</a:t>
            </a:r>
          </a:p>
        </p:txBody>
      </p:sp>
      <p:grpSp>
        <p:nvGrpSpPr>
          <p:cNvPr id="74" name="Группа 73"/>
          <p:cNvGrpSpPr/>
          <p:nvPr/>
        </p:nvGrpSpPr>
        <p:grpSpPr>
          <a:xfrm>
            <a:off x="8695637" y="3896377"/>
            <a:ext cx="198627" cy="197057"/>
            <a:chOff x="4921250" y="4779963"/>
            <a:chExt cx="803275" cy="796925"/>
          </a:xfrm>
          <a:solidFill>
            <a:srgbClr val="FE5757"/>
          </a:solidFill>
        </p:grpSpPr>
        <p:sp>
          <p:nvSpPr>
            <p:cNvPr id="75" name="Rectangle 9">
              <a:extLst>
                <a:ext uri="{FF2B5EF4-FFF2-40B4-BE49-F238E27FC236}">
                  <a16:creationId xmlns:a16="http://schemas.microsoft.com/office/drawing/2014/main" id="{4887542C-54CD-4836-967D-33C2D14A74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83200" y="4779963"/>
              <a:ext cx="79375" cy="796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rgbClr val="FE5757"/>
                </a:solidFill>
              </a:endParaRPr>
            </a:p>
          </p:txBody>
        </p:sp>
        <p:sp>
          <p:nvSpPr>
            <p:cNvPr id="76" name="Rectangle 10">
              <a:extLst>
                <a:ext uri="{FF2B5EF4-FFF2-40B4-BE49-F238E27FC236}">
                  <a16:creationId xmlns:a16="http://schemas.microsoft.com/office/drawing/2014/main" id="{F78A7F65-01C9-4A8C-BF5B-41E3DAC962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1250" y="5168900"/>
              <a:ext cx="803275" cy="777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rgbClr val="FE5757"/>
                </a:solidFill>
              </a:endParaRPr>
            </a:p>
          </p:txBody>
        </p:sp>
      </p:grpSp>
      <p:grpSp>
        <p:nvGrpSpPr>
          <p:cNvPr id="77" name="Группа 76"/>
          <p:cNvGrpSpPr/>
          <p:nvPr/>
        </p:nvGrpSpPr>
        <p:grpSpPr>
          <a:xfrm>
            <a:off x="8695637" y="3550535"/>
            <a:ext cx="198627" cy="197057"/>
            <a:chOff x="4921250" y="4779963"/>
            <a:chExt cx="803275" cy="796925"/>
          </a:xfrm>
          <a:solidFill>
            <a:srgbClr val="FE5757"/>
          </a:solidFill>
        </p:grpSpPr>
        <p:sp>
          <p:nvSpPr>
            <p:cNvPr id="78" name="Rectangle 9">
              <a:extLst>
                <a:ext uri="{FF2B5EF4-FFF2-40B4-BE49-F238E27FC236}">
                  <a16:creationId xmlns:a16="http://schemas.microsoft.com/office/drawing/2014/main" id="{4887542C-54CD-4836-967D-33C2D14A74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83200" y="4779963"/>
              <a:ext cx="79375" cy="796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rgbClr val="FE5757"/>
                </a:solidFill>
              </a:endParaRPr>
            </a:p>
          </p:txBody>
        </p:sp>
        <p:sp>
          <p:nvSpPr>
            <p:cNvPr id="79" name="Rectangle 10">
              <a:extLst>
                <a:ext uri="{FF2B5EF4-FFF2-40B4-BE49-F238E27FC236}">
                  <a16:creationId xmlns:a16="http://schemas.microsoft.com/office/drawing/2014/main" id="{F78A7F65-01C9-4A8C-BF5B-41E3DAC962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1250" y="5168900"/>
              <a:ext cx="803275" cy="777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rgbClr val="FE5757"/>
                </a:solidFill>
              </a:endParaRPr>
            </a:p>
          </p:txBody>
        </p:sp>
      </p:grpSp>
      <p:grpSp>
        <p:nvGrpSpPr>
          <p:cNvPr id="80" name="Gruppieren 49"/>
          <p:cNvGrpSpPr>
            <a:grpSpLocks/>
          </p:cNvGrpSpPr>
          <p:nvPr/>
        </p:nvGrpSpPr>
        <p:grpSpPr bwMode="auto">
          <a:xfrm flipH="1">
            <a:off x="8663959" y="4252731"/>
            <a:ext cx="771945" cy="1093798"/>
            <a:chOff x="7256115" y="4729967"/>
            <a:chExt cx="486765" cy="689977"/>
          </a:xfrm>
        </p:grpSpPr>
        <p:sp>
          <p:nvSpPr>
            <p:cNvPr id="81" name="Freeform 94"/>
            <p:cNvSpPr>
              <a:spLocks/>
            </p:cNvSpPr>
            <p:nvPr/>
          </p:nvSpPr>
          <p:spPr bwMode="gray">
            <a:xfrm>
              <a:off x="7256115" y="4800855"/>
              <a:ext cx="368618" cy="619089"/>
            </a:xfrm>
            <a:custGeom>
              <a:avLst/>
              <a:gdLst>
                <a:gd name="T0" fmla="*/ 2147483646 w 78"/>
                <a:gd name="T1" fmla="*/ 2147483646 h 131"/>
                <a:gd name="T2" fmla="*/ 2147483646 w 78"/>
                <a:gd name="T3" fmla="*/ 2147483646 h 131"/>
                <a:gd name="T4" fmla="*/ 2147483646 w 78"/>
                <a:gd name="T5" fmla="*/ 0 h 13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8" h="131">
                  <a:moveTo>
                    <a:pt x="7" y="131"/>
                  </a:moveTo>
                  <a:cubicBezTo>
                    <a:pt x="0" y="117"/>
                    <a:pt x="8" y="86"/>
                    <a:pt x="11" y="69"/>
                  </a:cubicBezTo>
                  <a:cubicBezTo>
                    <a:pt x="18" y="34"/>
                    <a:pt x="46" y="11"/>
                    <a:pt x="78" y="0"/>
                  </a:cubicBezTo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82" name="Freeform 95"/>
            <p:cNvSpPr>
              <a:spLocks/>
            </p:cNvSpPr>
            <p:nvPr/>
          </p:nvSpPr>
          <p:spPr bwMode="gray">
            <a:xfrm>
              <a:off x="7454602" y="4729967"/>
              <a:ext cx="288278" cy="212664"/>
            </a:xfrm>
            <a:custGeom>
              <a:avLst/>
              <a:gdLst>
                <a:gd name="T0" fmla="*/ 0 w 61"/>
                <a:gd name="T1" fmla="*/ 2147483646 h 45"/>
                <a:gd name="T2" fmla="*/ 2147483646 w 61"/>
                <a:gd name="T3" fmla="*/ 0 h 45"/>
                <a:gd name="T4" fmla="*/ 2147483646 w 61"/>
                <a:gd name="T5" fmla="*/ 2147483646 h 45"/>
                <a:gd name="T6" fmla="*/ 2147483646 w 61"/>
                <a:gd name="T7" fmla="*/ 2147483646 h 4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1" h="45">
                  <a:moveTo>
                    <a:pt x="0" y="6"/>
                  </a:moveTo>
                  <a:cubicBezTo>
                    <a:pt x="21" y="4"/>
                    <a:pt x="41" y="3"/>
                    <a:pt x="61" y="0"/>
                  </a:cubicBezTo>
                  <a:cubicBezTo>
                    <a:pt x="47" y="14"/>
                    <a:pt x="32" y="28"/>
                    <a:pt x="21" y="45"/>
                  </a:cubicBezTo>
                  <a:cubicBezTo>
                    <a:pt x="22" y="42"/>
                    <a:pt x="24" y="42"/>
                    <a:pt x="27" y="38"/>
                  </a:cubicBezTo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087167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520375"/>
            <a:ext cx="12192000" cy="1359582"/>
          </a:xfrm>
          <a:prstGeom prst="rect">
            <a:avLst/>
          </a:prstGeom>
        </p:spPr>
      </p:pic>
      <p:grpSp>
        <p:nvGrpSpPr>
          <p:cNvPr id="13" name="Группа 12"/>
          <p:cNvGrpSpPr/>
          <p:nvPr/>
        </p:nvGrpSpPr>
        <p:grpSpPr>
          <a:xfrm>
            <a:off x="2503028" y="535208"/>
            <a:ext cx="7006836" cy="5251602"/>
            <a:chOff x="3267307" y="1485004"/>
            <a:chExt cx="5163015" cy="3869664"/>
          </a:xfrm>
          <a:solidFill>
            <a:schemeClr val="bg1"/>
          </a:solidFill>
        </p:grpSpPr>
        <p:sp>
          <p:nvSpPr>
            <p:cNvPr id="20" name="Полилиния 19"/>
            <p:cNvSpPr/>
            <p:nvPr/>
          </p:nvSpPr>
          <p:spPr>
            <a:xfrm>
              <a:off x="4988312" y="1485004"/>
              <a:ext cx="1721005" cy="1292464"/>
            </a:xfrm>
            <a:custGeom>
              <a:avLst/>
              <a:gdLst>
                <a:gd name="connsiteX0" fmla="*/ 0 w 1159119"/>
                <a:gd name="connsiteY0" fmla="*/ 878254 h 878254"/>
                <a:gd name="connsiteX1" fmla="*/ 579560 w 1159119"/>
                <a:gd name="connsiteY1" fmla="*/ 0 h 878254"/>
                <a:gd name="connsiteX2" fmla="*/ 579560 w 1159119"/>
                <a:gd name="connsiteY2" fmla="*/ 0 h 878254"/>
                <a:gd name="connsiteX3" fmla="*/ 1159119 w 1159119"/>
                <a:gd name="connsiteY3" fmla="*/ 878254 h 878254"/>
                <a:gd name="connsiteX4" fmla="*/ 0 w 1159119"/>
                <a:gd name="connsiteY4" fmla="*/ 878254 h 878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9119" h="878254">
                  <a:moveTo>
                    <a:pt x="0" y="878254"/>
                  </a:moveTo>
                  <a:lnTo>
                    <a:pt x="579560" y="0"/>
                  </a:lnTo>
                  <a:lnTo>
                    <a:pt x="579560" y="0"/>
                  </a:lnTo>
                  <a:lnTo>
                    <a:pt x="1159119" y="878254"/>
                  </a:lnTo>
                  <a:lnTo>
                    <a:pt x="0" y="878254"/>
                  </a:lnTo>
                  <a:close/>
                </a:path>
              </a:pathLst>
            </a:custGeom>
            <a:grpFill/>
            <a:ln w="28575">
              <a:solidFill>
                <a:srgbClr val="5B9BD5"/>
              </a:solidFill>
            </a:ln>
            <a:effectLst>
              <a:outerShdw blurRad="38100" dist="12700" dir="5400000" algn="ctr" rotWithShape="0">
                <a:srgbClr val="000000">
                  <a:alpha val="15000"/>
                </a:srgb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700" tIns="12700" rIns="12700" bIns="274320" numCol="1" spcCol="1270" anchor="b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00" b="1" kern="1200" dirty="0">
                  <a:solidFill>
                    <a:srgbClr val="FFFFFF"/>
                  </a:solidFill>
                </a:rPr>
                <a:t>Dynamic</a:t>
              </a:r>
            </a:p>
          </p:txBody>
        </p:sp>
        <p:sp>
          <p:nvSpPr>
            <p:cNvPr id="21" name="Полилиния 20"/>
            <p:cNvSpPr/>
            <p:nvPr/>
          </p:nvSpPr>
          <p:spPr>
            <a:xfrm>
              <a:off x="4127810" y="2777468"/>
              <a:ext cx="3442010" cy="1292464"/>
            </a:xfrm>
            <a:custGeom>
              <a:avLst/>
              <a:gdLst>
                <a:gd name="connsiteX0" fmla="*/ 0 w 2318238"/>
                <a:gd name="connsiteY0" fmla="*/ 878254 h 878254"/>
                <a:gd name="connsiteX1" fmla="*/ 579560 w 2318238"/>
                <a:gd name="connsiteY1" fmla="*/ 0 h 878254"/>
                <a:gd name="connsiteX2" fmla="*/ 1738678 w 2318238"/>
                <a:gd name="connsiteY2" fmla="*/ 0 h 878254"/>
                <a:gd name="connsiteX3" fmla="*/ 2318238 w 2318238"/>
                <a:gd name="connsiteY3" fmla="*/ 878254 h 878254"/>
                <a:gd name="connsiteX4" fmla="*/ 0 w 2318238"/>
                <a:gd name="connsiteY4" fmla="*/ 878254 h 878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8238" h="878254">
                  <a:moveTo>
                    <a:pt x="0" y="878254"/>
                  </a:moveTo>
                  <a:lnTo>
                    <a:pt x="579560" y="0"/>
                  </a:lnTo>
                  <a:lnTo>
                    <a:pt x="1738678" y="0"/>
                  </a:lnTo>
                  <a:lnTo>
                    <a:pt x="2318238" y="878254"/>
                  </a:lnTo>
                  <a:lnTo>
                    <a:pt x="0" y="878254"/>
                  </a:lnTo>
                  <a:close/>
                </a:path>
              </a:pathLst>
            </a:custGeom>
            <a:grpFill/>
            <a:ln w="28575">
              <a:solidFill>
                <a:srgbClr val="FF2649"/>
              </a:solidFill>
            </a:ln>
            <a:effectLst>
              <a:outerShdw blurRad="38100" dist="12700" dir="5400000" algn="ctr" rotWithShape="0">
                <a:srgbClr val="000000">
                  <a:alpha val="15000"/>
                </a:srgb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18391" tIns="12700" rIns="418392" bIns="1270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00" b="1" kern="1200" dirty="0">
                  <a:solidFill>
                    <a:srgbClr val="FFFFFF"/>
                  </a:solidFill>
                </a:rPr>
                <a:t>Commerce</a:t>
              </a:r>
            </a:p>
          </p:txBody>
        </p:sp>
        <p:sp>
          <p:nvSpPr>
            <p:cNvPr id="22" name="Полилиния 21"/>
            <p:cNvSpPr/>
            <p:nvPr/>
          </p:nvSpPr>
          <p:spPr>
            <a:xfrm>
              <a:off x="3267307" y="4062204"/>
              <a:ext cx="5163015" cy="1292464"/>
            </a:xfrm>
            <a:custGeom>
              <a:avLst/>
              <a:gdLst>
                <a:gd name="connsiteX0" fmla="*/ 0 w 3477357"/>
                <a:gd name="connsiteY0" fmla="*/ 878254 h 878254"/>
                <a:gd name="connsiteX1" fmla="*/ 579560 w 3477357"/>
                <a:gd name="connsiteY1" fmla="*/ 0 h 878254"/>
                <a:gd name="connsiteX2" fmla="*/ 2897797 w 3477357"/>
                <a:gd name="connsiteY2" fmla="*/ 0 h 878254"/>
                <a:gd name="connsiteX3" fmla="*/ 3477357 w 3477357"/>
                <a:gd name="connsiteY3" fmla="*/ 878254 h 878254"/>
                <a:gd name="connsiteX4" fmla="*/ 0 w 3477357"/>
                <a:gd name="connsiteY4" fmla="*/ 878254 h 878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77357" h="878254">
                  <a:moveTo>
                    <a:pt x="0" y="878254"/>
                  </a:moveTo>
                  <a:lnTo>
                    <a:pt x="579560" y="0"/>
                  </a:lnTo>
                  <a:lnTo>
                    <a:pt x="2897797" y="0"/>
                  </a:lnTo>
                  <a:lnTo>
                    <a:pt x="3477357" y="878254"/>
                  </a:lnTo>
                  <a:lnTo>
                    <a:pt x="0" y="878254"/>
                  </a:lnTo>
                  <a:close/>
                </a:path>
              </a:pathLst>
            </a:custGeom>
            <a:grpFill/>
            <a:ln w="28575">
              <a:solidFill>
                <a:srgbClr val="1D46F3"/>
              </a:solidFill>
            </a:ln>
            <a:effectLst>
              <a:outerShdw blurRad="38100" dist="12700" dir="5400000" algn="ctr" rotWithShape="0">
                <a:srgbClr val="000000">
                  <a:alpha val="15000"/>
                </a:srgb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21238" tIns="12700" rIns="621237" bIns="1270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00" b="1" kern="1200" dirty="0">
                  <a:solidFill>
                    <a:srgbClr val="FFFFFF"/>
                  </a:solidFill>
                </a:rPr>
                <a:t>Social media</a:t>
              </a:r>
            </a:p>
          </p:txBody>
        </p:sp>
      </p:grpSp>
      <p:sp>
        <p:nvSpPr>
          <p:cNvPr id="25" name="TextBox 24"/>
          <p:cNvSpPr txBox="1"/>
          <p:nvPr/>
        </p:nvSpPr>
        <p:spPr>
          <a:xfrm>
            <a:off x="3395910" y="4761217"/>
            <a:ext cx="532700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800" dirty="0">
                <a:solidFill>
                  <a:srgbClr val="1D46F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БАЗОВАЯ АВТОМАТИЗАЦИЯ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682260" y="3166253"/>
            <a:ext cx="2747220" cy="3759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800" dirty="0">
                <a:solidFill>
                  <a:srgbClr val="FF264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ЦИФРОВИЗАЦИЯ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5077071" y="1505753"/>
            <a:ext cx="1858750" cy="3759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800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SG</a:t>
            </a:r>
            <a:endParaRPr lang="ru-RU" sz="1800" dirty="0">
              <a:solidFill>
                <a:schemeClr val="tx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42248560-7B54-C241-BB22-ACB653B690EE}"/>
              </a:ext>
            </a:extLst>
          </p:cNvPr>
          <p:cNvSpPr/>
          <p:nvPr/>
        </p:nvSpPr>
        <p:spPr>
          <a:xfrm>
            <a:off x="1161922" y="4144735"/>
            <a:ext cx="1571957" cy="13236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3200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40-60</a:t>
            </a:r>
            <a:endParaRPr lang="ru-RU" sz="3200" dirty="0">
              <a:solidFill>
                <a:schemeClr val="tx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99B68FEA-E488-E148-9AD0-DD4AFB2EB1D0}"/>
              </a:ext>
            </a:extLst>
          </p:cNvPr>
          <p:cNvSpPr/>
          <p:nvPr/>
        </p:nvSpPr>
        <p:spPr>
          <a:xfrm>
            <a:off x="2642603" y="2590602"/>
            <a:ext cx="987774" cy="7093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3200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~1</a:t>
            </a:r>
            <a:r>
              <a:rPr lang="ru-RU" sz="3200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0</a:t>
            </a: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F5587A41-F087-BE4E-82DE-B054898967F1}"/>
              </a:ext>
            </a:extLst>
          </p:cNvPr>
          <p:cNvSpPr/>
          <p:nvPr/>
        </p:nvSpPr>
        <p:spPr>
          <a:xfrm>
            <a:off x="3734697" y="1146338"/>
            <a:ext cx="1342523" cy="4859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en-US" sz="3200" dirty="0">
                <a:solidFill>
                  <a:schemeClr val="tx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~5 (?)</a:t>
            </a:r>
            <a:endParaRPr lang="ru-RU" sz="3200" dirty="0">
              <a:solidFill>
                <a:schemeClr val="tx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>
            <a:off x="264484" y="4017647"/>
            <a:ext cx="3360951" cy="0"/>
          </a:xfrm>
          <a:prstGeom prst="line">
            <a:avLst/>
          </a:prstGeom>
          <a:ln w="635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>
            <a:off x="1345953" y="2289238"/>
            <a:ext cx="3360951" cy="0"/>
          </a:xfrm>
          <a:prstGeom prst="line">
            <a:avLst/>
          </a:prstGeom>
          <a:ln w="635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42248560-7B54-C241-BB22-ACB653B690EE}"/>
              </a:ext>
            </a:extLst>
          </p:cNvPr>
          <p:cNvSpPr/>
          <p:nvPr/>
        </p:nvSpPr>
        <p:spPr>
          <a:xfrm>
            <a:off x="1603389" y="5013691"/>
            <a:ext cx="689023" cy="332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ЛЕТ</a:t>
            </a: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42248560-7B54-C241-BB22-ACB653B690EE}"/>
              </a:ext>
            </a:extLst>
          </p:cNvPr>
          <p:cNvSpPr/>
          <p:nvPr/>
        </p:nvSpPr>
        <p:spPr>
          <a:xfrm>
            <a:off x="2948094" y="3168485"/>
            <a:ext cx="689023" cy="332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ЛЕТ</a:t>
            </a: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42248560-7B54-C241-BB22-ACB653B690EE}"/>
              </a:ext>
            </a:extLst>
          </p:cNvPr>
          <p:cNvSpPr/>
          <p:nvPr/>
        </p:nvSpPr>
        <p:spPr>
          <a:xfrm>
            <a:off x="4061447" y="1608619"/>
            <a:ext cx="689023" cy="332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ru-RU" sz="1600" dirty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ЛЕТ</a:t>
            </a:r>
          </a:p>
        </p:txBody>
      </p:sp>
      <p:cxnSp>
        <p:nvCxnSpPr>
          <p:cNvPr id="58" name="Прямая со стрелкой 57">
            <a:extLst>
              <a:ext uri="{FF2B5EF4-FFF2-40B4-BE49-F238E27FC236}">
                <a16:creationId xmlns:a16="http://schemas.microsoft.com/office/drawing/2014/main" id="{CB37F956-4434-404C-B504-F93581ECFF0A}"/>
              </a:ext>
            </a:extLst>
          </p:cNvPr>
          <p:cNvCxnSpPr/>
          <p:nvPr/>
        </p:nvCxnSpPr>
        <p:spPr>
          <a:xfrm flipV="1">
            <a:off x="2389552" y="4059969"/>
            <a:ext cx="1080840" cy="1615059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Овал 16"/>
          <p:cNvSpPr/>
          <p:nvPr/>
        </p:nvSpPr>
        <p:spPr>
          <a:xfrm>
            <a:off x="6759614" y="1875704"/>
            <a:ext cx="617727" cy="617727"/>
          </a:xfrm>
          <a:prstGeom prst="ellipse">
            <a:avLst/>
          </a:prstGeom>
          <a:solidFill>
            <a:srgbClr val="FF2649"/>
          </a:solidFill>
          <a:ln>
            <a:solidFill>
              <a:srgbClr val="FF26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Овал 59"/>
          <p:cNvSpPr/>
          <p:nvPr/>
        </p:nvSpPr>
        <p:spPr>
          <a:xfrm>
            <a:off x="7934949" y="3587006"/>
            <a:ext cx="617727" cy="617727"/>
          </a:xfrm>
          <a:prstGeom prst="ellipse">
            <a:avLst/>
          </a:prstGeom>
          <a:solidFill>
            <a:srgbClr val="FFD44B"/>
          </a:solidFill>
          <a:ln>
            <a:solidFill>
              <a:srgbClr val="FFD4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Овал 60"/>
          <p:cNvSpPr/>
          <p:nvPr/>
        </p:nvSpPr>
        <p:spPr>
          <a:xfrm>
            <a:off x="9161465" y="5416151"/>
            <a:ext cx="617727" cy="617727"/>
          </a:xfrm>
          <a:prstGeom prst="ellipse">
            <a:avLst/>
          </a:prstGeom>
          <a:gradFill>
            <a:gsLst>
              <a:gs pos="0">
                <a:schemeClr val="accent6"/>
              </a:gs>
              <a:gs pos="27602">
                <a:schemeClr val="accent6"/>
              </a:gs>
              <a:gs pos="74000">
                <a:srgbClr val="FFD44B"/>
              </a:gs>
              <a:gs pos="83000">
                <a:srgbClr val="FFD44B"/>
              </a:gs>
              <a:gs pos="100000">
                <a:srgbClr val="FFD44B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69" name="Прямая со стрелкой 68">
            <a:extLst>
              <a:ext uri="{FF2B5EF4-FFF2-40B4-BE49-F238E27FC236}">
                <a16:creationId xmlns:a16="http://schemas.microsoft.com/office/drawing/2014/main" id="{CB37F956-4434-404C-B504-F93581ECFF0A}"/>
              </a:ext>
            </a:extLst>
          </p:cNvPr>
          <p:cNvCxnSpPr/>
          <p:nvPr/>
        </p:nvCxnSpPr>
        <p:spPr>
          <a:xfrm flipV="1">
            <a:off x="3529869" y="2360267"/>
            <a:ext cx="1080840" cy="1615059"/>
          </a:xfrm>
          <a:prstGeom prst="straightConnector1">
            <a:avLst/>
          </a:prstGeom>
          <a:ln w="19050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7E677BD6-E76A-1F4D-BEA0-27C416BD952C}"/>
              </a:ext>
            </a:extLst>
          </p:cNvPr>
          <p:cNvSpPr txBox="1"/>
          <p:nvPr/>
        </p:nvSpPr>
        <p:spPr>
          <a:xfrm>
            <a:off x="7637209" y="1885936"/>
            <a:ext cx="40453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600">
                <a:solidFill>
                  <a:srgbClr val="000000"/>
                </a:solidFill>
                <a:latin typeface="Segoe UI Light" panose="020B0502040204020203" pitchFamily="34" charset="0"/>
                <a:ea typeface="Arial"/>
                <a:cs typeface="Segoe UI Light" panose="020B0502040204020203" pitchFamily="34" charset="0"/>
              </a:defRPr>
            </a:lvl1pPr>
            <a:lvl2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2pPr>
            <a:lvl3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3pPr>
            <a:lvl4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4pPr>
            <a:lvl5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5pPr>
            <a:lvl6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6pPr>
            <a:lvl7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7pPr>
            <a:lvl8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8pPr>
            <a:lvl9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9pPr>
          </a:lstStyle>
          <a:p>
            <a:pPr algn="ctr"/>
            <a:r>
              <a:rPr lang="ru-RU" sz="3600" dirty="0"/>
              <a:t>?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4254842" y="6245200"/>
            <a:ext cx="3609144" cy="372452"/>
          </a:xfrm>
          <a:prstGeom prst="rect">
            <a:avLst/>
          </a:prstGeom>
          <a:noFill/>
          <a:ln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И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М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П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О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Р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Т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О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З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А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М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Е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Щ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Е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Н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И</a:t>
            </a:r>
            <a:r>
              <a:rPr lang="en-US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>
                <a:solidFill>
                  <a:srgbClr val="212E3C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Е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8995558" y="3525953"/>
            <a:ext cx="219809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Данные, кадры, культура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8995558" y="3871795"/>
            <a:ext cx="219809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>
                <a:latin typeface="Segoe UI Light" panose="020B0502040204020203" pitchFamily="34" charset="0"/>
                <a:cs typeface="Segoe UI Light" panose="020B0502040204020203" pitchFamily="34" charset="0"/>
              </a:rPr>
              <a:t>Новые бизнес-модели</a:t>
            </a:r>
          </a:p>
        </p:txBody>
      </p:sp>
      <p:grpSp>
        <p:nvGrpSpPr>
          <p:cNvPr id="66" name="Группа 65"/>
          <p:cNvGrpSpPr/>
          <p:nvPr/>
        </p:nvGrpSpPr>
        <p:grpSpPr>
          <a:xfrm>
            <a:off x="8695637" y="3896377"/>
            <a:ext cx="198627" cy="197057"/>
            <a:chOff x="4921250" y="4779963"/>
            <a:chExt cx="803275" cy="796925"/>
          </a:xfrm>
          <a:solidFill>
            <a:srgbClr val="FE5757"/>
          </a:solidFill>
        </p:grpSpPr>
        <p:sp>
          <p:nvSpPr>
            <p:cNvPr id="67" name="Rectangle 9">
              <a:extLst>
                <a:ext uri="{FF2B5EF4-FFF2-40B4-BE49-F238E27FC236}">
                  <a16:creationId xmlns:a16="http://schemas.microsoft.com/office/drawing/2014/main" id="{4887542C-54CD-4836-967D-33C2D14A74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83200" y="4779963"/>
              <a:ext cx="79375" cy="796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rgbClr val="FE5757"/>
                </a:solidFill>
              </a:endParaRPr>
            </a:p>
          </p:txBody>
        </p:sp>
        <p:sp>
          <p:nvSpPr>
            <p:cNvPr id="68" name="Rectangle 10">
              <a:extLst>
                <a:ext uri="{FF2B5EF4-FFF2-40B4-BE49-F238E27FC236}">
                  <a16:creationId xmlns:a16="http://schemas.microsoft.com/office/drawing/2014/main" id="{F78A7F65-01C9-4A8C-BF5B-41E3DAC962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1250" y="5168900"/>
              <a:ext cx="803275" cy="777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rgbClr val="FE5757"/>
                </a:solidFill>
              </a:endParaRPr>
            </a:p>
          </p:txBody>
        </p:sp>
      </p:grpSp>
      <p:grpSp>
        <p:nvGrpSpPr>
          <p:cNvPr id="70" name="Группа 69"/>
          <p:cNvGrpSpPr/>
          <p:nvPr/>
        </p:nvGrpSpPr>
        <p:grpSpPr>
          <a:xfrm>
            <a:off x="8695637" y="3550535"/>
            <a:ext cx="198627" cy="197057"/>
            <a:chOff x="4921250" y="4779963"/>
            <a:chExt cx="803275" cy="796925"/>
          </a:xfrm>
          <a:solidFill>
            <a:srgbClr val="FE5757"/>
          </a:solidFill>
        </p:grpSpPr>
        <p:sp>
          <p:nvSpPr>
            <p:cNvPr id="71" name="Rectangle 9">
              <a:extLst>
                <a:ext uri="{FF2B5EF4-FFF2-40B4-BE49-F238E27FC236}">
                  <a16:creationId xmlns:a16="http://schemas.microsoft.com/office/drawing/2014/main" id="{4887542C-54CD-4836-967D-33C2D14A74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83200" y="4779963"/>
              <a:ext cx="79375" cy="796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rgbClr val="FE5757"/>
                </a:solidFill>
              </a:endParaRPr>
            </a:p>
          </p:txBody>
        </p:sp>
        <p:sp>
          <p:nvSpPr>
            <p:cNvPr id="72" name="Rectangle 10">
              <a:extLst>
                <a:ext uri="{FF2B5EF4-FFF2-40B4-BE49-F238E27FC236}">
                  <a16:creationId xmlns:a16="http://schemas.microsoft.com/office/drawing/2014/main" id="{F78A7F65-01C9-4A8C-BF5B-41E3DAC962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1250" y="5168900"/>
              <a:ext cx="803275" cy="777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rgbClr val="FE5757"/>
                </a:solidFill>
              </a:endParaRPr>
            </a:p>
          </p:txBody>
        </p:sp>
      </p:grpSp>
      <p:grpSp>
        <p:nvGrpSpPr>
          <p:cNvPr id="73" name="Gruppieren 49"/>
          <p:cNvGrpSpPr>
            <a:grpSpLocks/>
          </p:cNvGrpSpPr>
          <p:nvPr/>
        </p:nvGrpSpPr>
        <p:grpSpPr bwMode="auto">
          <a:xfrm flipH="1">
            <a:off x="8663959" y="4252731"/>
            <a:ext cx="771945" cy="1093798"/>
            <a:chOff x="7256115" y="4729967"/>
            <a:chExt cx="486765" cy="689977"/>
          </a:xfrm>
        </p:grpSpPr>
        <p:sp>
          <p:nvSpPr>
            <p:cNvPr id="74" name="Freeform 94"/>
            <p:cNvSpPr>
              <a:spLocks/>
            </p:cNvSpPr>
            <p:nvPr/>
          </p:nvSpPr>
          <p:spPr bwMode="gray">
            <a:xfrm>
              <a:off x="7256115" y="4800855"/>
              <a:ext cx="368618" cy="619089"/>
            </a:xfrm>
            <a:custGeom>
              <a:avLst/>
              <a:gdLst>
                <a:gd name="T0" fmla="*/ 2147483646 w 78"/>
                <a:gd name="T1" fmla="*/ 2147483646 h 131"/>
                <a:gd name="T2" fmla="*/ 2147483646 w 78"/>
                <a:gd name="T3" fmla="*/ 2147483646 h 131"/>
                <a:gd name="T4" fmla="*/ 2147483646 w 78"/>
                <a:gd name="T5" fmla="*/ 0 h 13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8" h="131">
                  <a:moveTo>
                    <a:pt x="7" y="131"/>
                  </a:moveTo>
                  <a:cubicBezTo>
                    <a:pt x="0" y="117"/>
                    <a:pt x="8" y="86"/>
                    <a:pt x="11" y="69"/>
                  </a:cubicBezTo>
                  <a:cubicBezTo>
                    <a:pt x="18" y="34"/>
                    <a:pt x="46" y="11"/>
                    <a:pt x="78" y="0"/>
                  </a:cubicBezTo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5" name="Freeform 95"/>
            <p:cNvSpPr>
              <a:spLocks/>
            </p:cNvSpPr>
            <p:nvPr/>
          </p:nvSpPr>
          <p:spPr bwMode="gray">
            <a:xfrm>
              <a:off x="7454602" y="4729967"/>
              <a:ext cx="288278" cy="212664"/>
            </a:xfrm>
            <a:custGeom>
              <a:avLst/>
              <a:gdLst>
                <a:gd name="T0" fmla="*/ 0 w 61"/>
                <a:gd name="T1" fmla="*/ 2147483646 h 45"/>
                <a:gd name="T2" fmla="*/ 2147483646 w 61"/>
                <a:gd name="T3" fmla="*/ 0 h 45"/>
                <a:gd name="T4" fmla="*/ 2147483646 w 61"/>
                <a:gd name="T5" fmla="*/ 2147483646 h 45"/>
                <a:gd name="T6" fmla="*/ 2147483646 w 61"/>
                <a:gd name="T7" fmla="*/ 2147483646 h 4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1" h="45">
                  <a:moveTo>
                    <a:pt x="0" y="6"/>
                  </a:moveTo>
                  <a:cubicBezTo>
                    <a:pt x="21" y="4"/>
                    <a:pt x="41" y="3"/>
                    <a:pt x="61" y="0"/>
                  </a:cubicBezTo>
                  <a:cubicBezTo>
                    <a:pt x="47" y="14"/>
                    <a:pt x="32" y="28"/>
                    <a:pt x="21" y="45"/>
                  </a:cubicBezTo>
                  <a:cubicBezTo>
                    <a:pt x="22" y="42"/>
                    <a:pt x="24" y="42"/>
                    <a:pt x="27" y="38"/>
                  </a:cubicBezTo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76" name="Gruppieren 49"/>
          <p:cNvGrpSpPr>
            <a:grpSpLocks/>
          </p:cNvGrpSpPr>
          <p:nvPr/>
        </p:nvGrpSpPr>
        <p:grpSpPr bwMode="auto">
          <a:xfrm flipH="1">
            <a:off x="7469698" y="2404162"/>
            <a:ext cx="771945" cy="1093798"/>
            <a:chOff x="7256115" y="4729967"/>
            <a:chExt cx="486765" cy="689977"/>
          </a:xfrm>
        </p:grpSpPr>
        <p:sp>
          <p:nvSpPr>
            <p:cNvPr id="77" name="Freeform 94"/>
            <p:cNvSpPr>
              <a:spLocks/>
            </p:cNvSpPr>
            <p:nvPr/>
          </p:nvSpPr>
          <p:spPr bwMode="gray">
            <a:xfrm>
              <a:off x="7256115" y="4800855"/>
              <a:ext cx="368618" cy="619089"/>
            </a:xfrm>
            <a:custGeom>
              <a:avLst/>
              <a:gdLst>
                <a:gd name="T0" fmla="*/ 2147483646 w 78"/>
                <a:gd name="T1" fmla="*/ 2147483646 h 131"/>
                <a:gd name="T2" fmla="*/ 2147483646 w 78"/>
                <a:gd name="T3" fmla="*/ 2147483646 h 131"/>
                <a:gd name="T4" fmla="*/ 2147483646 w 78"/>
                <a:gd name="T5" fmla="*/ 0 h 13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8" h="131">
                  <a:moveTo>
                    <a:pt x="7" y="131"/>
                  </a:moveTo>
                  <a:cubicBezTo>
                    <a:pt x="0" y="117"/>
                    <a:pt x="8" y="86"/>
                    <a:pt x="11" y="69"/>
                  </a:cubicBezTo>
                  <a:cubicBezTo>
                    <a:pt x="18" y="34"/>
                    <a:pt x="46" y="11"/>
                    <a:pt x="78" y="0"/>
                  </a:cubicBezTo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8" name="Freeform 95"/>
            <p:cNvSpPr>
              <a:spLocks/>
            </p:cNvSpPr>
            <p:nvPr/>
          </p:nvSpPr>
          <p:spPr bwMode="gray">
            <a:xfrm>
              <a:off x="7454602" y="4729967"/>
              <a:ext cx="288278" cy="212664"/>
            </a:xfrm>
            <a:custGeom>
              <a:avLst/>
              <a:gdLst>
                <a:gd name="T0" fmla="*/ 0 w 61"/>
                <a:gd name="T1" fmla="*/ 2147483646 h 45"/>
                <a:gd name="T2" fmla="*/ 2147483646 w 61"/>
                <a:gd name="T3" fmla="*/ 0 h 45"/>
                <a:gd name="T4" fmla="*/ 2147483646 w 61"/>
                <a:gd name="T5" fmla="*/ 2147483646 h 45"/>
                <a:gd name="T6" fmla="*/ 2147483646 w 61"/>
                <a:gd name="T7" fmla="*/ 2147483646 h 4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1" h="45">
                  <a:moveTo>
                    <a:pt x="0" y="6"/>
                  </a:moveTo>
                  <a:cubicBezTo>
                    <a:pt x="21" y="4"/>
                    <a:pt x="41" y="3"/>
                    <a:pt x="61" y="0"/>
                  </a:cubicBezTo>
                  <a:cubicBezTo>
                    <a:pt x="47" y="14"/>
                    <a:pt x="32" y="28"/>
                    <a:pt x="21" y="45"/>
                  </a:cubicBezTo>
                  <a:cubicBezTo>
                    <a:pt x="22" y="42"/>
                    <a:pt x="24" y="42"/>
                    <a:pt x="27" y="38"/>
                  </a:cubicBezTo>
                </a:path>
              </a:pathLst>
            </a:custGeom>
            <a:noFill/>
            <a:ln w="9525" cap="flat">
              <a:solidFill>
                <a:schemeClr val="bg2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55566C02-DFFA-354B-8914-E394B33414EC}"/>
              </a:ext>
            </a:extLst>
          </p:cNvPr>
          <p:cNvGrpSpPr/>
          <p:nvPr/>
        </p:nvGrpSpPr>
        <p:grpSpPr>
          <a:xfrm>
            <a:off x="7487624" y="2054555"/>
            <a:ext cx="198627" cy="197057"/>
            <a:chOff x="4921250" y="4779963"/>
            <a:chExt cx="803275" cy="796925"/>
          </a:xfrm>
          <a:solidFill>
            <a:srgbClr val="FE5757"/>
          </a:solidFill>
        </p:grpSpPr>
        <p:sp>
          <p:nvSpPr>
            <p:cNvPr id="42" name="Rectangle 9">
              <a:extLst>
                <a:ext uri="{FF2B5EF4-FFF2-40B4-BE49-F238E27FC236}">
                  <a16:creationId xmlns:a16="http://schemas.microsoft.com/office/drawing/2014/main" id="{A0648FFA-0C9E-0246-900F-F9BA11892F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83200" y="4779963"/>
              <a:ext cx="79375" cy="796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rgbClr val="FE5757"/>
                </a:solidFill>
              </a:endParaRPr>
            </a:p>
          </p:txBody>
        </p:sp>
        <p:sp>
          <p:nvSpPr>
            <p:cNvPr id="43" name="Rectangle 10">
              <a:extLst>
                <a:ext uri="{FF2B5EF4-FFF2-40B4-BE49-F238E27FC236}">
                  <a16:creationId xmlns:a16="http://schemas.microsoft.com/office/drawing/2014/main" id="{50ED5768-D122-C34D-AE2E-1ABE938B14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1250" y="5168900"/>
              <a:ext cx="803275" cy="777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rgbClr val="FE5757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4612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212E3C"/>
          </a:solidFill>
          <a:ln>
            <a:solidFill>
              <a:srgbClr val="212E3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Google Shape;122;p17"/>
          <p:cNvSpPr txBox="1">
            <a:spLocks noGrp="1"/>
          </p:cNvSpPr>
          <p:nvPr>
            <p:ph type="title"/>
          </p:nvPr>
        </p:nvSpPr>
        <p:spPr>
          <a:xfrm>
            <a:off x="1502550" y="2574925"/>
            <a:ext cx="9186900" cy="136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lvl="0" algn="ctr">
              <a:lnSpc>
                <a:spcPct val="100000"/>
              </a:lnSpc>
              <a:buSzPts val="990"/>
            </a:pPr>
            <a:r>
              <a:rPr lang="ru-RU" sz="6000" b="1" dirty="0">
                <a:solidFill>
                  <a:srgbClr val="FFFFFF"/>
                </a:solidFill>
                <a:latin typeface="Segoe UI Semibold" panose="020B0702040204020203" pitchFamily="34" charset="0"/>
                <a:ea typeface="Open Sans"/>
                <a:cs typeface="Segoe UI Semibold" panose="020B0702040204020203" pitchFamily="34" charset="0"/>
                <a:sym typeface="Open Sans"/>
              </a:rPr>
              <a:t>Готовность </a:t>
            </a:r>
            <a:r>
              <a:rPr lang="en-US" sz="6000" b="1" dirty="0">
                <a:solidFill>
                  <a:srgbClr val="FFFFFF"/>
                </a:solidFill>
                <a:latin typeface="Segoe UI Semibold" panose="020B0702040204020203" pitchFamily="34" charset="0"/>
                <a:ea typeface="Open Sans"/>
                <a:cs typeface="Segoe UI Semibold" panose="020B0702040204020203" pitchFamily="34" charset="0"/>
                <a:sym typeface="Open Sans"/>
              </a:rPr>
              <a:t>VS </a:t>
            </a:r>
            <a:r>
              <a:rPr lang="ru-RU" sz="6000" b="1" dirty="0">
                <a:solidFill>
                  <a:srgbClr val="FFFFFF"/>
                </a:solidFill>
                <a:latin typeface="Segoe UI Semibold" panose="020B0702040204020203" pitchFamily="34" charset="0"/>
                <a:ea typeface="Open Sans"/>
                <a:cs typeface="Segoe UI Semibold" panose="020B0702040204020203" pitchFamily="34" charset="0"/>
                <a:sym typeface="Open Sans"/>
              </a:rPr>
              <a:t>Зрелость</a:t>
            </a:r>
          </a:p>
        </p:txBody>
      </p:sp>
    </p:spTree>
    <p:extLst>
      <p:ext uri="{BB962C8B-B14F-4D97-AF65-F5344CB8AC3E}">
        <p14:creationId xmlns:p14="http://schemas.microsoft.com/office/powerpoint/2010/main" val="857478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UIxqIvbnf9mb009Z45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x06mB9UZaY5vGXby._a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8c2TxHYmWIa8qLHXDCx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x06mB9UZaY5vGXby._a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8c2TxHYmWIa8qLHXDCx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x06mB9UZaY5vGXby._a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8c2TxHYmWIa8qLHXDCx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qyeUFl1BBq.K6pccSlo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HgdayQFZkBN3hcOXExD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x06mB9UZaY5vGXby._a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8c2TxHYmWIa8qLHXDCx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UIxqIvbnf9mb009Z45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x06mB9UZaY5vGXby._a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8c2TxHYmWIa8qLHXDCx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x06mB9UZaY5vGXby._a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8c2TxHYmWIa8qLHXDCx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x06mB9UZaY5vGXby._a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8c2TxHYmWIa8qLHXDCx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qyeUFl1BBq.K6pccSlo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HgdayQFZkBN3hcOXExD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x06mB9UZaY5vGXby._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8c2TxHYmWIa8qLHXDCx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x06mB9UZaY5vGXby._a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8c2TxHYmWIa8qLHXDCx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x06mB9UZaY5vGXby._a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8c2TxHYmWIa8qLHXDCx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UIxqIvbnf9mb009Z45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UIxqIvbnf9mb009Z45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UIxqIvbnf9mb009Z45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UIxqIvbnf9mb009Z45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UIxqIvbnf9mb009Z45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UIxqIvbnf9mb009Z45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UIxqIvbnf9mb009Z45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UIxqIvbnf9mb009Z45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UIxqIvbnf9mb009Z45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UIxqIvbnf9mb009Z4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UIxqIvbnf9mb009Z45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UIxqIvbnf9mb009Z45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UIxqIvbnf9mb009Z45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UIxqIvbnf9mb009Z45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UIxqIvbnf9mb009Z45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UIxqIvbnf9mb009Z45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x06mB9UZaY5vGXby._a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8c2TxHYmWIa8qLHXDCx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x06mB9UZaY5vGXby._a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8c2TxHYmWIa8qLHXDCx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x06mB9UZaY5vGXby._a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8c2TxHYmWIa8qLHXDCx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qyeUFl1BBq.K6pccSlo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HgdayQFZkBN3hcOXEx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UIxqIvbnf9mb009Z45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qyeUFl1BBq.K6pccSlo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HgdayQFZkBN3hcOXExD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qyeUFl1BBq.K6pccSlo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HgdayQFZkBN3hcOXEx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qyeUFl1BBq.K6pccSlo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HgdayQFZkBN3hcOXExD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x06mB9UZaY5vGXby._a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8c2TxHYmWIa8qLHXDCx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x06mB9UZaY5vGXby._a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8c2TxHYmWIa8qLHXDCx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HUIxqIvbnf9mb009Z45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x06mB9UZaY5vGXby._a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8c2TxHYmWIa8qLHXDCx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qyeUFl1BBq.K6pccSlo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HgdayQFZkBN3hcOXExD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x06mB9UZaY5vGXby._a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8c2TxHYmWIa8qLHXDCx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x06mB9UZaY5vGXby._a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8c2TxHYmWIa8qLHXDCx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qyeUFl1BBq.K6pccSlo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HgdayQFZkBN3hcOXEx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PaD91vMnVzjLzXZLezH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x06mB9UZaY5vGXby._a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8c2TxHYmWIa8qLHXDCx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x06mB9UZaY5vGXby._a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8c2TxHYmWIa8qLHXDCx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x06mB9UZaY5vGXby._a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8c2TxHYmWIa8qLHXDCx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x06mB9UZaY5vGXby._a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8c2TxHYmWIa8qLHXDCx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qyeUFl1BBq.K6pccSlo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HgdayQFZkBN3hcOXExD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FSK">
  <a:themeElements>
    <a:clrScheme name="Другая 30">
      <a:dk1>
        <a:srgbClr val="3C3C3C"/>
      </a:dk1>
      <a:lt1>
        <a:srgbClr val="FFFFFF"/>
      </a:lt1>
      <a:dk2>
        <a:srgbClr val="1A2D5F"/>
      </a:dk2>
      <a:lt2>
        <a:srgbClr val="EEECE1"/>
      </a:lt2>
      <a:accent1>
        <a:srgbClr val="0C5B9D"/>
      </a:accent1>
      <a:accent2>
        <a:srgbClr val="4FC5B5"/>
      </a:accent2>
      <a:accent3>
        <a:srgbClr val="D52B1E"/>
      </a:accent3>
      <a:accent4>
        <a:srgbClr val="A5A5A5"/>
      </a:accent4>
      <a:accent5>
        <a:srgbClr val="4F81BD"/>
      </a:accent5>
      <a:accent6>
        <a:srgbClr val="D7603A"/>
      </a:accent6>
      <a:hlink>
        <a:srgbClr val="007FD6"/>
      </a:hlink>
      <a:folHlink>
        <a:srgbClr val="706F6F"/>
      </a:folHlink>
    </a:clrScheme>
    <a:fontScheme name="россети">
      <a:majorFont>
        <a:latin typeface="PF Din Text Cond Pro Medium"/>
        <a:ea typeface=""/>
        <a:cs typeface=""/>
      </a:majorFont>
      <a:minorFont>
        <a:latin typeface="PF Din Text Cond Pro Light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9525">
          <a:solidFill>
            <a:schemeClr val="accent4"/>
          </a:solidFill>
        </a:ln>
      </a:spPr>
      <a:bodyPr rtlCol="0" anchor="ctr"/>
      <a:lstStyle>
        <a:defPPr algn="ctr">
          <a:spcBef>
            <a:spcPts val="600"/>
          </a:spcBef>
          <a:defRPr sz="1400" dirty="0" smtClean="0">
            <a:solidFill>
              <a:schemeClr val="tx1"/>
            </a:solidFill>
            <a:latin typeface="Arial Narrow" panose="020B0606020202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rIns="0" rtlCol="0">
        <a:spAutoFit/>
      </a:bodyPr>
      <a:lstStyle>
        <a:defPPr>
          <a:spcBef>
            <a:spcPts val="600"/>
          </a:spcBef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!RUS_Шаблон_16х9_россети_705" id="{F887FC9F-F531-6942-93E1-0F228C8A2B7E}" vid="{43C3D10E-3BC6-6147-B91A-E0A8079000FD}"/>
    </a:ext>
  </a:extLst>
</a:theme>
</file>

<file path=ppt/theme/theme3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01</TotalTime>
  <Words>1169</Words>
  <Application>Microsoft Office PowerPoint</Application>
  <PresentationFormat>Широкоэкранный</PresentationFormat>
  <Paragraphs>358</Paragraphs>
  <Slides>26</Slides>
  <Notes>2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6</vt:i4>
      </vt:variant>
    </vt:vector>
  </HeadingPairs>
  <TitlesOfParts>
    <vt:vector size="41" baseType="lpstr">
      <vt:lpstr>PF Din Text Cond Pro Medium</vt:lpstr>
      <vt:lpstr>Roboto Light</vt:lpstr>
      <vt:lpstr>Segoe UI Semibold</vt:lpstr>
      <vt:lpstr>PF Din Text Cond Pro Light</vt:lpstr>
      <vt:lpstr>Arial</vt:lpstr>
      <vt:lpstr>PF Din Text Cond Pro</vt:lpstr>
      <vt:lpstr>Open Sans</vt:lpstr>
      <vt:lpstr>Calibri</vt:lpstr>
      <vt:lpstr>Segoe UI Light</vt:lpstr>
      <vt:lpstr>Wingdings</vt:lpstr>
      <vt:lpstr>PF Din Text Cond Pro Обычный</vt:lpstr>
      <vt:lpstr>Arial Narrow</vt:lpstr>
      <vt:lpstr>Тема Office</vt:lpstr>
      <vt:lpstr>FSK</vt:lpstr>
      <vt:lpstr>Слайд think-cell</vt:lpstr>
      <vt:lpstr>Автоматизация  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Готовность VS Зрелость</vt:lpstr>
      <vt:lpstr>Готовность VS Зрелость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Основные направления взаимодействия ПАО Россети с участниками рынка: передача и распределение ЭЭ, технологическое присоединение потребителей, развитие и поддержание объектов электросетевого хозяйства</vt:lpstr>
      <vt:lpstr>Построение ИТ систем и инфраструктуры в электросетевом комплексе регулируется международными стандартами, ГОСТами, НТД Россетей. Референтная архитектура определена на уровне МЭК, на уровне ГОСТ - нет</vt:lpstr>
      <vt:lpstr>Системы предприятий электроэнергетики должны базироваться на МЭК (т.к. ГОСТ Р базируются на МЭК) и быть дополнены недостающими уровнями, отсутствующими в МЭК</vt:lpstr>
      <vt:lpstr>Референтная архитектура ПАО Россети базируется на МЭК 62357 и дополняется HPUM, TOGAF</vt:lpstr>
      <vt:lpstr>Автоматизация  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 секретов создания успешных ИТ-решений  с точки зрения топ-менеджмента</dc:title>
  <dc:creator>Lenovo</dc:creator>
  <cp:lastModifiedBy>Кравченко Константин Юрьевич</cp:lastModifiedBy>
  <cp:revision>205</cp:revision>
  <dcterms:modified xsi:type="dcterms:W3CDTF">2022-02-09T07:09:29Z</dcterms:modified>
</cp:coreProperties>
</file>